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5248" r:id="rId4"/>
    <p:sldMasterId id="2147485305" r:id="rId5"/>
  </p:sldMasterIdLst>
  <p:notesMasterIdLst>
    <p:notesMasterId r:id="rId20"/>
  </p:notesMasterIdLst>
  <p:handoutMasterIdLst>
    <p:handoutMasterId r:id="rId21"/>
  </p:handoutMasterIdLst>
  <p:sldIdLst>
    <p:sldId id="1680" r:id="rId6"/>
    <p:sldId id="1681" r:id="rId7"/>
    <p:sldId id="1682" r:id="rId8"/>
    <p:sldId id="1683" r:id="rId9"/>
    <p:sldId id="1704" r:id="rId10"/>
    <p:sldId id="1706" r:id="rId11"/>
    <p:sldId id="1694" r:id="rId12"/>
    <p:sldId id="1711" r:id="rId13"/>
    <p:sldId id="1703" r:id="rId14"/>
    <p:sldId id="1712" r:id="rId15"/>
    <p:sldId id="1705" r:id="rId16"/>
    <p:sldId id="1709" r:id="rId17"/>
    <p:sldId id="1710" r:id="rId18"/>
    <p:sldId id="1713" r:id="rId19"/>
  </p:sldIdLst>
  <p:sldSz cx="9144000" cy="6858000" type="screen4x3"/>
  <p:notesSz cx="7004050" cy="9296400"/>
  <p:custDataLst>
    <p:tags r:id="rId22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bg1"/>
        </a:solidFill>
        <a:latin typeface="Verdan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88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eu, Monique" initials="MM" lastIdx="30" clrIdx="0">
    <p:extLst>
      <p:ext uri="{19B8F6BF-5375-455C-9EA6-DF929625EA0E}">
        <p15:presenceInfo xmlns:p15="http://schemas.microsoft.com/office/powerpoint/2012/main" userId="S-1-5-21-107827007-1194618527-561332275-151788" providerId="AD"/>
      </p:ext>
    </p:extLst>
  </p:cmAuthor>
  <p:cmAuthor id="2" name="Livingstone, Taryn" initials="LT" lastIdx="120" clrIdx="1">
    <p:extLst>
      <p:ext uri="{19B8F6BF-5375-455C-9EA6-DF929625EA0E}">
        <p15:presenceInfo xmlns:p15="http://schemas.microsoft.com/office/powerpoint/2012/main" userId="S-1-5-21-107827007-1194618527-561332275-315669" providerId="AD"/>
      </p:ext>
    </p:extLst>
  </p:cmAuthor>
  <p:cmAuthor id="3" name="Cher, Andrea" initials="CA" lastIdx="56" clrIdx="2">
    <p:extLst>
      <p:ext uri="{19B8F6BF-5375-455C-9EA6-DF929625EA0E}">
        <p15:presenceInfo xmlns:p15="http://schemas.microsoft.com/office/powerpoint/2012/main" userId="S-1-5-21-107827007-1194618527-561332275-197226" providerId="AD"/>
      </p:ext>
    </p:extLst>
  </p:cmAuthor>
  <p:cmAuthor id="4" name="Madarang, Raphael" initials="MR" lastIdx="12" clrIdx="3">
    <p:extLst>
      <p:ext uri="{19B8F6BF-5375-455C-9EA6-DF929625EA0E}">
        <p15:presenceInfo xmlns:p15="http://schemas.microsoft.com/office/powerpoint/2012/main" userId="S-1-5-21-107827007-1194618527-561332275-337907" providerId="AD"/>
      </p:ext>
    </p:extLst>
  </p:cmAuthor>
  <p:cmAuthor id="5" name="Du, Lily" initials="DL" lastIdx="10" clrIdx="4">
    <p:extLst>
      <p:ext uri="{19B8F6BF-5375-455C-9EA6-DF929625EA0E}">
        <p15:presenceInfo xmlns:p15="http://schemas.microsoft.com/office/powerpoint/2012/main" userId="S-1-5-21-107827007-1194618527-561332275-1289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1261C"/>
    <a:srgbClr val="F9F9F9"/>
    <a:srgbClr val="2E3192"/>
    <a:srgbClr val="DCE7F8"/>
    <a:srgbClr val="FFCDCD"/>
    <a:srgbClr val="1A468C"/>
    <a:srgbClr val="D55757"/>
    <a:srgbClr val="FFB0B0"/>
    <a:srgbClr val="A3B5D1"/>
    <a:srgbClr val="899B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4" autoAdjust="0"/>
    <p:restoredTop sz="95018" autoAdjust="0"/>
  </p:normalViewPr>
  <p:slideViewPr>
    <p:cSldViewPr snapToGrid="0">
      <p:cViewPr varScale="1">
        <p:scale>
          <a:sx n="64" d="100"/>
          <a:sy n="64" d="100"/>
        </p:scale>
        <p:origin x="666" y="60"/>
      </p:cViewPr>
      <p:guideLst>
        <p:guide orient="horz" pos="268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-4038"/>
    </p:cViewPr>
  </p:sorterViewPr>
  <p:notesViewPr>
    <p:cSldViewPr snapToGrid="0">
      <p:cViewPr>
        <p:scale>
          <a:sx n="150" d="100"/>
          <a:sy n="150" d="100"/>
        </p:scale>
        <p:origin x="2478" y="-2220"/>
      </p:cViewPr>
      <p:guideLst>
        <p:guide orient="horz" pos="2928"/>
        <p:guide pos="220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43195" cy="433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69" tIns="45486" rIns="90969" bIns="45486" numCol="1" anchor="t" anchorCtr="0" compatLnSpc="1">
            <a:prstTxWarp prst="textNoShape">
              <a:avLst/>
            </a:prstTxWarp>
          </a:bodyPr>
          <a:lstStyle>
            <a:lvl1pPr defTabSz="907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259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06252" y="1"/>
            <a:ext cx="2962129" cy="433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69" tIns="45486" rIns="90969" bIns="45486" numCol="1" anchor="t" anchorCtr="0" compatLnSpc="1">
            <a:prstTxWarp prst="textNoShape">
              <a:avLst/>
            </a:prstTxWarp>
          </a:bodyPr>
          <a:lstStyle>
            <a:lvl1pPr algn="r" defTabSz="907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E8AFCD49-8D69-436A-86BB-A02489B5B0CD}" type="datetime1">
              <a:rPr lang="en-US" smtClean="0"/>
              <a:t>11/13/2015</a:t>
            </a:fld>
            <a:endParaRPr lang="en-GB"/>
          </a:p>
        </p:txBody>
      </p:sp>
      <p:sp>
        <p:nvSpPr>
          <p:cNvPr id="4259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861781"/>
            <a:ext cx="3043195" cy="43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69" tIns="45486" rIns="90969" bIns="45486" numCol="1" anchor="b" anchorCtr="0" compatLnSpc="1">
            <a:prstTxWarp prst="textNoShape">
              <a:avLst/>
            </a:prstTxWarp>
          </a:bodyPr>
          <a:lstStyle>
            <a:lvl1pPr defTabSz="907600" eaLnBrk="0" hangingPunct="0">
              <a:defRPr sz="1200" b="1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259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06252" y="8861781"/>
            <a:ext cx="2962129" cy="431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69" tIns="45486" rIns="90969" bIns="45486" numCol="1" anchor="b" anchorCtr="0" compatLnSpc="1">
            <a:prstTxWarp prst="textNoShape">
              <a:avLst/>
            </a:prstTxWarp>
          </a:bodyPr>
          <a:lstStyle>
            <a:lvl1pPr algn="r" defTabSz="907600" eaLnBrk="0" hangingPunct="0">
              <a:defRPr sz="1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12F8941-282E-4758-B79A-946C38A2766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32193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3038331" cy="464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31" tIns="45463" rIns="90931" bIns="45463" numCol="1" anchor="t" anchorCtr="0" compatLnSpc="1">
            <a:prstTxWarp prst="textNoShape">
              <a:avLst/>
            </a:prstTxWarp>
          </a:bodyPr>
          <a:lstStyle>
            <a:lvl1pPr defTabSz="907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5721" y="2"/>
            <a:ext cx="3038331" cy="464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31" tIns="45463" rIns="90931" bIns="45463" numCol="1" anchor="t" anchorCtr="0" compatLnSpc="1">
            <a:prstTxWarp prst="textNoShape">
              <a:avLst/>
            </a:prstTxWarp>
          </a:bodyPr>
          <a:lstStyle>
            <a:lvl1pPr algn="r" defTabSz="907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CD99063E-F115-4E01-BE1F-3E7A9E200967}" type="datetime1">
              <a:rPr lang="en-US" altLang="zh-TW" smtClean="0"/>
              <a:t>11/13/2015</a:t>
            </a:fld>
            <a:endParaRPr lang="en-US" altLang="zh-TW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9038" y="698500"/>
            <a:ext cx="4645025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7117" y="4419707"/>
            <a:ext cx="5129819" cy="4178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31" tIns="45463" rIns="90931" bIns="45463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 noProof="0" smtClean="0"/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31422"/>
            <a:ext cx="3038331" cy="464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31" tIns="45463" rIns="90931" bIns="45463" numCol="1" anchor="b" anchorCtr="0" compatLnSpc="1">
            <a:prstTxWarp prst="textNoShape">
              <a:avLst/>
            </a:prstTxWarp>
          </a:bodyPr>
          <a:lstStyle>
            <a:lvl1pPr defTabSz="907600" eaLnBrk="0" hangingPunct="0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937720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buChar char="•"/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E1CA320-2636-4CE4-876D-43BA541A273F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7320759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5E04B37-A935-4D24-B33B-097C92844432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15620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BAB866A-8186-4ACE-B200-4670B1B01237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7151924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D99063E-F115-4E01-BE1F-3E7A9E200967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125035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BAB866A-8186-4ACE-B200-4670B1B01237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65347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6BAB866A-8186-4ACE-B200-4670B1B01237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2648686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D99063E-F115-4E01-BE1F-3E7A9E200967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5577933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5E04B37-A935-4D24-B33B-097C92844432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78696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5E04B37-A935-4D24-B33B-097C92844432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596726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5E04B37-A935-4D24-B33B-097C92844432}" type="datetime1">
              <a:rPr lang="en-US" altLang="zh-TW" smtClean="0"/>
              <a:t>11/13/201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3137213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APL Logistics P51.jpg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52" r="7102"/>
          <a:stretch/>
        </p:blipFill>
        <p:spPr bwMode="auto">
          <a:xfrm>
            <a:off x="-1" y="0"/>
            <a:ext cx="671553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eform 10"/>
          <p:cNvSpPr/>
          <p:nvPr userDrawn="1"/>
        </p:nvSpPr>
        <p:spPr bwMode="auto">
          <a:xfrm>
            <a:off x="1602377" y="4101737"/>
            <a:ext cx="7541622" cy="2756263"/>
          </a:xfrm>
          <a:custGeom>
            <a:avLst/>
            <a:gdLst>
              <a:gd name="connsiteX0" fmla="*/ 6982434 w 6982434"/>
              <a:gd name="connsiteY0" fmla="*/ 0 h 2582696"/>
              <a:gd name="connsiteX1" fmla="*/ 6982434 w 6982434"/>
              <a:gd name="connsiteY1" fmla="*/ 2582696 h 2582696"/>
              <a:gd name="connsiteX2" fmla="*/ 0 w 6982434"/>
              <a:gd name="connsiteY2" fmla="*/ 2582696 h 2582696"/>
              <a:gd name="connsiteX3" fmla="*/ 42881 w 6982434"/>
              <a:gd name="connsiteY3" fmla="*/ 2557257 h 2582696"/>
              <a:gd name="connsiteX4" fmla="*/ 6544830 w 6982434"/>
              <a:gd name="connsiteY4" fmla="*/ 83842 h 2582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82434" h="2582696">
                <a:moveTo>
                  <a:pt x="6982434" y="0"/>
                </a:moveTo>
                <a:lnTo>
                  <a:pt x="6982434" y="2582696"/>
                </a:lnTo>
                <a:lnTo>
                  <a:pt x="0" y="2582696"/>
                </a:lnTo>
                <a:lnTo>
                  <a:pt x="42881" y="2557257"/>
                </a:lnTo>
                <a:cubicBezTo>
                  <a:pt x="2032331" y="1405280"/>
                  <a:pt x="4221112" y="559343"/>
                  <a:pt x="6544830" y="83842"/>
                </a:cubicBezTo>
                <a:close/>
              </a:path>
            </a:pathLst>
          </a:custGeom>
          <a:solidFill>
            <a:srgbClr val="15008B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455613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Tx/>
              <a:buSzTx/>
              <a:buFontTx/>
              <a:buNone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kumimoji="0" lang="en-US" sz="16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209928" name="Rectangle 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572000" y="5734595"/>
            <a:ext cx="4229099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spcBef>
                <a:spcPts val="0"/>
              </a:spcBef>
              <a:buFont typeface="Symbol" pitchFamily="18" charset="2"/>
              <a:buNone/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571999" y="6174740"/>
            <a:ext cx="4229099" cy="246221"/>
          </a:xfrm>
          <a:prstGeom prst="rect">
            <a:avLst/>
          </a:prstGeom>
        </p:spPr>
        <p:txBody>
          <a:bodyPr tIns="0" bIns="0"/>
          <a:lstStyle>
            <a:lvl1pPr marL="0" indent="0">
              <a:buNone/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fld id="{1234D48F-C3F6-422A-91D5-57B19A0AE475}" type="datetime4">
              <a:rPr lang="en-US" smtClean="0"/>
              <a:t>October 6, 2014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sz="quarter"/>
          </p:nvPr>
        </p:nvSpPr>
        <p:spPr>
          <a:xfrm>
            <a:off x="4572000" y="1229423"/>
            <a:ext cx="4229100" cy="1255728"/>
          </a:xfrm>
        </p:spPr>
        <p:txBody>
          <a:bodyPr/>
          <a:lstStyle>
            <a:lvl1pPr>
              <a:defRPr>
                <a:solidFill>
                  <a:srgbClr val="15008B"/>
                </a:solidFill>
              </a:defRPr>
            </a:lvl1pPr>
          </a:lstStyle>
          <a:p>
            <a:pPr algn="r"/>
            <a:r>
              <a:rPr lang="en-US" sz="4400" b="0" dirty="0" smtClean="0">
                <a:solidFill>
                  <a:schemeClr val="accent1"/>
                </a:solidFill>
              </a:rPr>
              <a:t>APL Logistics</a:t>
            </a:r>
            <a:br>
              <a:rPr lang="en-US" sz="4400" b="0" dirty="0" smtClean="0">
                <a:solidFill>
                  <a:schemeClr val="accent1"/>
                </a:solidFill>
              </a:rPr>
            </a:br>
            <a:r>
              <a:rPr lang="en-US" sz="4400" b="0" dirty="0" smtClean="0">
                <a:solidFill>
                  <a:schemeClr val="accent1"/>
                </a:solidFill>
              </a:rPr>
              <a:t>Overview</a:t>
            </a:r>
            <a:endParaRPr lang="en-US" sz="4400" b="0" dirty="0">
              <a:solidFill>
                <a:schemeClr val="accent1"/>
              </a:solidFill>
            </a:endParaRPr>
          </a:p>
        </p:txBody>
      </p:sp>
      <p:pic>
        <p:nvPicPr>
          <p:cNvPr id="8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296" y="5915537"/>
            <a:ext cx="1184571" cy="527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00995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283096"/>
            <a:ext cx="8583974" cy="298415"/>
          </a:xfrm>
        </p:spPr>
        <p:txBody>
          <a:bodyPr/>
          <a:lstStyle>
            <a:lvl1pPr>
              <a:defRPr sz="193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95113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83096"/>
            <a:ext cx="8583974" cy="298415"/>
          </a:xfrm>
        </p:spPr>
        <p:txBody>
          <a:bodyPr/>
          <a:lstStyle>
            <a:lvl1pPr>
              <a:defRPr sz="193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315389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5220" y="1295400"/>
            <a:ext cx="3996103" cy="994183"/>
          </a:xfrm>
        </p:spPr>
        <p:txBody>
          <a:bodyPr/>
          <a:lstStyle>
            <a:lvl1pPr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2677" y="1295400"/>
            <a:ext cx="4290646" cy="994183"/>
          </a:xfrm>
        </p:spPr>
        <p:txBody>
          <a:bodyPr/>
          <a:lstStyle>
            <a:lvl1pPr>
              <a:defRPr sz="1292"/>
            </a:lvl1pPr>
            <a:lvl2pPr>
              <a:defRPr sz="1292"/>
            </a:lvl2pPr>
            <a:lvl3pPr>
              <a:defRPr sz="1292"/>
            </a:lvl3pPr>
            <a:lvl4pPr>
              <a:defRPr sz="1292"/>
            </a:lvl4pPr>
            <a:lvl5pPr>
              <a:defRPr sz="129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9712" y="6453918"/>
            <a:ext cx="196067" cy="1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ct val="125000"/>
              </a:lnSpc>
              <a:spcBef>
                <a:spcPct val="35000"/>
              </a:spcBef>
              <a:defRPr sz="738" b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6FCB3FC1-932B-41BB-A663-4AC4B8C55183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220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499082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547195"/>
            <a:ext cx="212406" cy="1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ct val="125000"/>
              </a:lnSpc>
              <a:spcBef>
                <a:spcPct val="35000"/>
              </a:spcBef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57188" y="1044575"/>
            <a:ext cx="8429625" cy="511175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3968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547195"/>
            <a:ext cx="212406" cy="1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ct val="125000"/>
              </a:lnSpc>
              <a:spcBef>
                <a:spcPct val="35000"/>
              </a:spcBef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6925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7188" y="6547195"/>
            <a:ext cx="212406" cy="1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ct val="125000"/>
              </a:lnSpc>
              <a:spcBef>
                <a:spcPct val="35000"/>
              </a:spcBef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5066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5600" y="1066800"/>
            <a:ext cx="4083050" cy="4975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066800"/>
            <a:ext cx="4083050" cy="49752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3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buFontTx/>
              <a:buChar char="•"/>
              <a:defRPr>
                <a:cs typeface="+mn-cs"/>
              </a:defRPr>
            </a:lvl1pPr>
          </a:lstStyle>
          <a:p>
            <a:pPr>
              <a:defRPr/>
            </a:pPr>
            <a:r>
              <a:rPr lang="en-US"/>
              <a:t>© 2011 APL Logistics			                     </a:t>
            </a:r>
            <a:fld id="{CA7B472E-8012-4EEE-9E4F-0D1F600AD20F}" type="slidenum">
              <a:rPr lang="en-US"/>
              <a:pPr>
                <a:defRPr/>
              </a:pPr>
              <a:t>‹#›</a:t>
            </a:fld>
            <a:endParaRPr lang="en-US"/>
          </a:p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648384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5999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 userDrawn="1">
            <p:ph type="title"/>
          </p:nvPr>
        </p:nvSpPr>
        <p:spPr>
          <a:xfrm>
            <a:off x="357190" y="1920928"/>
            <a:ext cx="6769100" cy="1617222"/>
          </a:xfrm>
        </p:spPr>
        <p:txBody>
          <a:bodyPr anchor="b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57188" y="3717870"/>
            <a:ext cx="6769101" cy="6477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349252" y="3628010"/>
            <a:ext cx="707707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sm"/>
          </a:ln>
          <a:effectLst/>
        </p:spPr>
      </p:cxnSp>
    </p:spTree>
    <p:extLst>
      <p:ext uri="{BB962C8B-B14F-4D97-AF65-F5344CB8AC3E}">
        <p14:creationId xmlns:p14="http://schemas.microsoft.com/office/powerpoint/2010/main" val="22951076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9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78072" y="3302000"/>
            <a:ext cx="6743700" cy="114300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1089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78069" y="4537232"/>
            <a:ext cx="6740769" cy="1128713"/>
          </a:xfrm>
        </p:spPr>
        <p:txBody>
          <a:bodyPr/>
          <a:lstStyle>
            <a:lvl1pPr marL="0" indent="0">
              <a:buFont typeface="Symbol" pitchFamily="18" charset="2"/>
              <a:buNone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34411517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PL Logistics P51.jpg"/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82713" y="2183416"/>
            <a:ext cx="6218568" cy="4601696"/>
            <a:chOff x="298" y="1348"/>
            <a:chExt cx="3839" cy="2841"/>
          </a:xfrm>
        </p:grpSpPr>
        <p:sp>
          <p:nvSpPr>
            <p:cNvPr id="9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298" y="1348"/>
              <a:ext cx="1135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altLang="ja-JP" sz="1385" dirty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CONFIDENTIAL</a:t>
              </a:r>
            </a:p>
          </p:txBody>
        </p:sp>
        <p:sp>
          <p:nvSpPr>
            <p:cNvPr id="10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298" y="3051"/>
              <a:ext cx="3839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eaLnBrk="1" hangingPunct="1">
                <a:defRPr/>
              </a:pPr>
              <a:r>
                <a:rPr lang="en-US" altLang="ja-JP" sz="1385" dirty="0">
                  <a:solidFill>
                    <a:srgbClr val="FFFFFF"/>
                  </a:solidFill>
                  <a:latin typeface="Arial" charset="0"/>
                  <a:ea typeface="MS PGothic" pitchFamily="34" charset="-128"/>
                </a:rPr>
                <a:t>Document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 userDrawn="1"/>
          </p:nvSpPr>
          <p:spPr bwMode="auto">
            <a:xfrm>
              <a:off x="298" y="3216"/>
              <a:ext cx="3839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en-US" altLang="ja-JP" sz="1385" dirty="0">
                  <a:solidFill>
                    <a:srgbClr val="FFFFFF"/>
                  </a:solidFill>
                  <a:latin typeface="Arial" charset="0"/>
                  <a:ea typeface="MS PGothic" pitchFamily="34" charset="-128"/>
                </a:rPr>
                <a:t>Date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298" y="3838"/>
              <a:ext cx="2792" cy="3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794160">
                <a:defRPr/>
              </a:pPr>
              <a:r>
                <a:rPr lang="en-US" altLang="ja-JP" sz="923" dirty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This report is solely for the use of client personnel</a:t>
              </a:r>
              <a:r>
                <a:rPr lang="en-US" altLang="ja-JP" sz="923" dirty="0" smtClean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. No </a:t>
              </a:r>
              <a:r>
                <a:rPr lang="en-US" altLang="ja-JP" sz="923" dirty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part of it may be circulated, quoted, or reproduced for distribution outside the client organization without prior written approval from McKinsey &amp; Company. This material was used by McKinsey &amp; Company during an oral presentation; it is not a complete record of the discussion.</a:t>
              </a:r>
            </a:p>
          </p:txBody>
        </p:sp>
      </p:grpSp>
      <p:graphicFrame>
        <p:nvGraphicFramePr>
          <p:cNvPr id="13" name="Rectangle 1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1888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5205047" y="658124"/>
            <a:ext cx="3716216" cy="909223"/>
          </a:xfrm>
        </p:spPr>
        <p:txBody>
          <a:bodyPr anchor="b"/>
          <a:lstStyle>
            <a:lvl1pPr algn="r">
              <a:defRPr sz="2954">
                <a:solidFill>
                  <a:schemeClr val="tx2"/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 altLang="ja-JP" dirty="0" smtClean="0"/>
              <a:t>Click to edit Master title style</a:t>
            </a:r>
            <a:endParaRPr lang="en-US" altLang="ja-JP" dirty="0"/>
          </a:p>
        </p:txBody>
      </p:sp>
      <p:sp>
        <p:nvSpPr>
          <p:cNvPr id="421888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82714" y="4358734"/>
            <a:ext cx="6103559" cy="383503"/>
          </a:xfrm>
        </p:spPr>
        <p:txBody>
          <a:bodyPr/>
          <a:lstStyle>
            <a:lvl1pPr>
              <a:defRPr sz="2492" b="1">
                <a:solidFill>
                  <a:schemeClr val="bg2"/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 altLang="ja-JP" smtClean="0"/>
              <a:t>Click to edit Master subtitle style</a:t>
            </a:r>
            <a:endParaRPr lang="en-US" altLang="ja-JP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07430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83096"/>
            <a:ext cx="8583974" cy="298415"/>
          </a:xfrm>
        </p:spPr>
        <p:txBody>
          <a:bodyPr/>
          <a:lstStyle>
            <a:lvl1pPr>
              <a:defRPr sz="1939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1444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75953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6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2" descr="logo"/>
          <p:cNvPicPr>
            <a:picLocks noChangeAspect="1" noChangeArrowheads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761"/>
          <a:stretch/>
        </p:blipFill>
        <p:spPr bwMode="auto">
          <a:xfrm>
            <a:off x="7966298" y="6279695"/>
            <a:ext cx="1099915" cy="421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65125" y="289366"/>
            <a:ext cx="8410575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8288" rIns="0" bIns="18288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TW" dirty="0" smtClean="0"/>
              <a:t>Click to edit Master title style</a:t>
            </a:r>
          </a:p>
        </p:txBody>
      </p:sp>
      <p:sp>
        <p:nvSpPr>
          <p:cNvPr id="2" name="Rectangle 9"/>
          <p:cNvSpPr>
            <a:spLocks noChangeArrowheads="1"/>
          </p:cNvSpPr>
          <p:nvPr userDrawn="1"/>
        </p:nvSpPr>
        <p:spPr bwMode="auto">
          <a:xfrm>
            <a:off x="0" y="3071813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defRPr/>
            </a:pPr>
            <a:endParaRPr lang="en-US" smtClean="0">
              <a:solidFill>
                <a:srgbClr val="FFFFFF"/>
              </a:solidFill>
            </a:endParaRP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5125" y="6547195"/>
            <a:ext cx="212406" cy="15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eaLnBrk="0" hangingPunct="0">
              <a:lnSpc>
                <a:spcPct val="125000"/>
              </a:lnSpc>
              <a:spcBef>
                <a:spcPct val="35000"/>
              </a:spcBef>
              <a:defRPr sz="800" b="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357188" y="1044575"/>
            <a:ext cx="8418512" cy="511175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38059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3" r:id="rId1"/>
    <p:sldLayoutId id="2147485251" r:id="rId2"/>
    <p:sldLayoutId id="2147485253" r:id="rId3"/>
    <p:sldLayoutId id="2147485252" r:id="rId4"/>
    <p:sldLayoutId id="2147485302" r:id="rId5"/>
    <p:sldLayoutId id="2147485303" r:id="rId6"/>
    <p:sldLayoutId id="2147485304" r:id="rId7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Gill Sans M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Gill Sans M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Gill Sans M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Gill Sans M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tabLst>
          <a:tab pos="292100" algn="l"/>
          <a:tab pos="381000" algn="l"/>
        </a:tabLst>
        <a:defRPr sz="2800" b="1">
          <a:solidFill>
            <a:schemeClr val="tx2"/>
          </a:solidFill>
          <a:latin typeface="Verdana" pitchFamily="34" charset="0"/>
        </a:defRPr>
      </a:lvl9pPr>
    </p:titleStyle>
    <p:bodyStyle>
      <a:lvl1pPr marL="285750" indent="-285750" algn="l" rtl="0" eaLnBrk="1" fontAlgn="base" hangingPunct="1">
        <a:spcBef>
          <a:spcPct val="6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en-US" sz="1800" b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lang="en-US" sz="1800" b="0" dirty="0" smtClean="0">
          <a:solidFill>
            <a:schemeClr val="tx1"/>
          </a:solidFill>
          <a:latin typeface="+mn-lt"/>
        </a:defRPr>
      </a:lvl2pPr>
      <a:lvl3pPr marL="1031875" indent="-2857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lang="en-US" sz="1600" b="0" dirty="0" smtClean="0">
          <a:solidFill>
            <a:schemeClr val="tx1"/>
          </a:solidFill>
          <a:latin typeface="+mn-lt"/>
        </a:defRPr>
      </a:lvl3pPr>
      <a:lvl4pPr marL="1433513" indent="-2857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–"/>
        <a:defRPr lang="en-US" sz="1400" b="0" dirty="0" smtClean="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lang="en-GB" sz="1200" b="0" dirty="0" smtClean="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282841"/>
        </a:buClr>
        <a:buChar char="»"/>
        <a:defRPr sz="1600">
          <a:solidFill>
            <a:srgbClr val="28284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282841"/>
        </a:buClr>
        <a:buChar char="»"/>
        <a:defRPr sz="1600">
          <a:solidFill>
            <a:srgbClr val="28284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282841"/>
        </a:buClr>
        <a:buChar char="»"/>
        <a:defRPr sz="1600">
          <a:solidFill>
            <a:srgbClr val="28284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282841"/>
        </a:buClr>
        <a:buChar char="»"/>
        <a:defRPr sz="1600">
          <a:solidFill>
            <a:srgbClr val="28284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658">
          <p15:clr>
            <a:srgbClr val="F26B43"/>
          </p15:clr>
        </p15:guide>
        <p15:guide id="2" pos="225">
          <p15:clr>
            <a:srgbClr val="F26B43"/>
          </p15:clr>
        </p15:guide>
        <p15:guide id="3" pos="5535">
          <p15:clr>
            <a:srgbClr val="F26B43"/>
          </p15:clr>
        </p15:guide>
        <p15:guide id="4" orient="horz" pos="387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1" y="6563207"/>
            <a:ext cx="5504218" cy="294794"/>
          </a:xfrm>
          <a:prstGeom prst="rect">
            <a:avLst/>
          </a:prstGeom>
          <a:gradFill rotWithShape="1">
            <a:gsLst>
              <a:gs pos="0">
                <a:srgbClr val="005DAA"/>
              </a:gs>
              <a:gs pos="100000">
                <a:srgbClr val="B7DBF4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0115" tIns="45057" rIns="90115" bIns="45057" anchor="ctr"/>
          <a:lstStyle/>
          <a:p>
            <a:pPr algn="ctr" eaLnBrk="1" hangingPunct="1">
              <a:buSzPct val="75000"/>
            </a:pPr>
            <a:endParaRPr lang="en-US" sz="1015" dirty="0">
              <a:solidFill>
                <a:srgbClr val="FFFFFF"/>
              </a:solidFill>
              <a:latin typeface="Arial" pitchFamily="34" charset="0"/>
            </a:endParaRPr>
          </a:p>
        </p:txBody>
      </p:sp>
      <p:graphicFrame>
        <p:nvGraphicFramePr>
          <p:cNvPr id="1026" name="Rectangle 10" hidden="1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2" name="think-cell Slide" r:id="rId10" imgW="0" imgH="0" progId="TCLayout.ActiveDocument.1">
                  <p:embed/>
                </p:oleObj>
              </mc:Choice>
              <mc:Fallback>
                <p:oleObj name="think-cell Slide" r:id="rId1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19100" y="283096"/>
            <a:ext cx="8307388" cy="29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dirty="0" smtClean="0"/>
              <a:t>Click to edit Master title style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4730" y="542618"/>
            <a:ext cx="8794113" cy="5984957"/>
            <a:chOff x="77" y="335"/>
            <a:chExt cx="5429" cy="3695"/>
          </a:xfrm>
        </p:grpSpPr>
        <p:sp>
          <p:nvSpPr>
            <p:cNvPr id="421786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83444" eaLnBrk="1" hangingPunct="1">
                <a:defRPr/>
              </a:pPr>
              <a:r>
                <a:rPr lang="en-US" altLang="ja-JP" sz="1569" dirty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Unit of measure</a:t>
              </a:r>
            </a:p>
          </p:txBody>
        </p:sp>
        <p:sp>
          <p:nvSpPr>
            <p:cNvPr id="421786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779"/>
              <a:ext cx="5145" cy="2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67033" indent="-567033" defTabSz="883444" eaLnBrk="1" hangingPunct="1">
                <a:tabLst>
                  <a:tab pos="526306" algn="r"/>
                </a:tabLst>
                <a:defRPr/>
              </a:pPr>
              <a:r>
                <a:rPr lang="en-US" altLang="ja-JP" sz="1200" dirty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	*	Footnote</a:t>
              </a:r>
            </a:p>
            <a:p>
              <a:pPr marL="567033" indent="-567033" defTabSz="883444" eaLnBrk="1" hangingPunct="1">
                <a:spcBef>
                  <a:spcPct val="20000"/>
                </a:spcBef>
                <a:tabLst>
                  <a:tab pos="526306" algn="r"/>
                </a:tabLst>
                <a:defRPr/>
              </a:pPr>
              <a:r>
                <a:rPr lang="en-US" altLang="ja-JP" sz="1200" dirty="0">
                  <a:solidFill>
                    <a:srgbClr val="000000"/>
                  </a:solidFill>
                  <a:latin typeface="Arial" charset="0"/>
                  <a:ea typeface="MS PGothic" pitchFamily="34" charset="-128"/>
                </a:rPr>
                <a:t>Source:	Source</a:t>
              </a:r>
            </a:p>
          </p:txBody>
        </p:sp>
      </p:grpSp>
      <p:sp>
        <p:nvSpPr>
          <p:cNvPr id="4217864" name="Rectangle 8"/>
          <p:cNvSpPr>
            <a:spLocks noChangeArrowheads="1"/>
          </p:cNvSpPr>
          <p:nvPr/>
        </p:nvSpPr>
        <p:spPr bwMode="auto">
          <a:xfrm>
            <a:off x="121489" y="6624759"/>
            <a:ext cx="190493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83444" eaLnBrk="1" hangingPunct="1"/>
            <a:fld id="{A919EE7B-754F-4096-8C4F-0C0C3E21F8F5}" type="slidenum">
              <a:rPr lang="en-US" altLang="ja-JP" sz="12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pPr defTabSz="883444" eaLnBrk="1" hangingPunct="1"/>
              <a:t>‹#›</a:t>
            </a:fld>
            <a:endParaRPr lang="en-US" altLang="ja-JP" sz="1200" b="1" dirty="0">
              <a:solidFill>
                <a:srgbClr val="FFFFFF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217865" name="Text Box 9"/>
          <p:cNvSpPr txBox="1">
            <a:spLocks noChangeArrowheads="1"/>
          </p:cNvSpPr>
          <p:nvPr/>
        </p:nvSpPr>
        <p:spPr bwMode="auto">
          <a:xfrm>
            <a:off x="888552" y="6577786"/>
            <a:ext cx="1637517" cy="275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0115" tIns="45057" rIns="90115" bIns="45057">
            <a:spAutoFit/>
          </a:bodyPr>
          <a:lstStyle/>
          <a:p>
            <a:pPr algn="ctr">
              <a:spcBef>
                <a:spcPct val="30000"/>
              </a:spcBef>
              <a:buClr>
                <a:srgbClr val="FF3300"/>
              </a:buClr>
              <a:defRPr/>
            </a:pPr>
            <a:r>
              <a:rPr lang="en-US" altLang="ja-JP" sz="1200" b="1" dirty="0">
                <a:solidFill>
                  <a:srgbClr val="FFFFFF"/>
                </a:solidFill>
                <a:latin typeface="Arial" charset="0"/>
                <a:ea typeface="MS PGothic" pitchFamily="34" charset="-128"/>
              </a:rPr>
              <a:t>Strictly Confidential</a:t>
            </a:r>
          </a:p>
        </p:txBody>
      </p:sp>
      <p:sp>
        <p:nvSpPr>
          <p:cNvPr id="1034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9100" y="1299036"/>
            <a:ext cx="8307388" cy="1136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dirty="0" smtClean="0"/>
              <a:t>Click to edit Master text styles</a:t>
            </a:r>
          </a:p>
          <a:p>
            <a:pPr lvl="1"/>
            <a:r>
              <a:rPr lang="en-US" altLang="ja-JP" dirty="0" smtClean="0"/>
              <a:t>Second level</a:t>
            </a:r>
          </a:p>
          <a:p>
            <a:pPr lvl="2"/>
            <a:r>
              <a:rPr lang="en-US" altLang="ja-JP" dirty="0" smtClean="0"/>
              <a:t>Third level</a:t>
            </a:r>
          </a:p>
          <a:p>
            <a:pPr lvl="3"/>
            <a:r>
              <a:rPr lang="en-US" altLang="ja-JP" dirty="0" smtClean="0"/>
              <a:t>Fourth level</a:t>
            </a:r>
          </a:p>
          <a:p>
            <a:pPr lvl="4"/>
            <a:r>
              <a:rPr lang="en-US" altLang="ja-JP" dirty="0" smtClean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hangingPunct="1"/>
            <a:endParaRPr lang="en-US" dirty="0">
              <a:solidFill>
                <a:srgbClr val="000000">
                  <a:tint val="7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914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6" r:id="rId1"/>
    <p:sldLayoutId id="2147485307" r:id="rId2"/>
    <p:sldLayoutId id="2147485308" r:id="rId3"/>
    <p:sldLayoutId id="2147485309" r:id="rId4"/>
    <p:sldLayoutId id="2147485310" r:id="rId5"/>
    <p:sldLayoutId id="214748531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83444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2pPr>
      <a:lvl3pPr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3pPr>
      <a:lvl4pPr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4pPr>
      <a:lvl5pPr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5pPr>
      <a:lvl6pPr marL="451120"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6pPr>
      <a:lvl7pPr marL="902240"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7pPr>
      <a:lvl8pPr marL="1353360"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8pPr>
      <a:lvl9pPr marL="1804480" algn="l" defTabSz="883444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38340" indent="-338340" algn="l" defTabSz="944533" rtl="0" eaLnBrk="1" fontAlgn="base" hangingPunct="1">
        <a:spcBef>
          <a:spcPct val="0"/>
        </a:spcBef>
        <a:spcAft>
          <a:spcPct val="0"/>
        </a:spcAft>
        <a:buSzPct val="120000"/>
        <a:defRPr sz="1477">
          <a:solidFill>
            <a:srgbClr val="000000"/>
          </a:solidFill>
          <a:latin typeface="+mn-lt"/>
          <a:ea typeface="+mn-ea"/>
          <a:cs typeface="+mn-cs"/>
        </a:defRPr>
      </a:lvl1pPr>
      <a:lvl2pPr marL="151940" indent="-150373" algn="l" defTabSz="944533" rtl="0" eaLnBrk="1" fontAlgn="base" hangingPunct="1">
        <a:spcBef>
          <a:spcPct val="0"/>
        </a:spcBef>
        <a:spcAft>
          <a:spcPct val="0"/>
        </a:spcAft>
        <a:buClr>
          <a:srgbClr val="58575C"/>
        </a:buClr>
        <a:buSzPct val="120000"/>
        <a:buFont typeface="Wingdings" panose="05000000000000000000" pitchFamily="2" charset="2"/>
        <a:buChar char="§"/>
        <a:defRPr sz="1477">
          <a:solidFill>
            <a:srgbClr val="000000"/>
          </a:solidFill>
          <a:latin typeface="+mn-lt"/>
          <a:cs typeface="+mn-cs"/>
        </a:defRPr>
      </a:lvl2pPr>
      <a:lvl3pPr marL="311711" indent="-158205" algn="l" defTabSz="944533" rtl="0" eaLnBrk="1" fontAlgn="base" hangingPunct="1">
        <a:spcBef>
          <a:spcPct val="0"/>
        </a:spcBef>
        <a:spcAft>
          <a:spcPct val="0"/>
        </a:spcAft>
        <a:buClr>
          <a:srgbClr val="58575C"/>
        </a:buClr>
        <a:buChar char="–"/>
        <a:defRPr sz="1477">
          <a:solidFill>
            <a:srgbClr val="000000"/>
          </a:solidFill>
          <a:latin typeface="+mn-lt"/>
          <a:cs typeface="+mn-cs"/>
        </a:defRPr>
      </a:lvl3pPr>
      <a:lvl4pPr marL="455819" indent="-142542" algn="l" defTabSz="944533" rtl="0" eaLnBrk="1" fontAlgn="base" hangingPunct="1">
        <a:spcBef>
          <a:spcPct val="0"/>
        </a:spcBef>
        <a:spcAft>
          <a:spcPct val="0"/>
        </a:spcAft>
        <a:buClr>
          <a:srgbClr val="58575C"/>
        </a:buClr>
        <a:buSzPct val="89000"/>
        <a:buFont typeface="Wingdings" panose="05000000000000000000" pitchFamily="2" charset="2"/>
        <a:buChar char="§"/>
        <a:defRPr sz="1477">
          <a:solidFill>
            <a:srgbClr val="000000"/>
          </a:solidFill>
          <a:latin typeface="+mn-lt"/>
          <a:cs typeface="+mn-cs"/>
        </a:defRPr>
      </a:lvl4pPr>
      <a:lvl5pPr marL="614024" indent="-156639" algn="l" defTabSz="944533" rtl="0" eaLnBrk="1" fontAlgn="base" hangingPunct="1">
        <a:spcBef>
          <a:spcPct val="0"/>
        </a:spcBef>
        <a:spcAft>
          <a:spcPct val="0"/>
        </a:spcAft>
        <a:buClr>
          <a:srgbClr val="58575C"/>
        </a:buClr>
        <a:buSzPct val="75000"/>
        <a:buChar char="–"/>
        <a:defRPr sz="1477">
          <a:solidFill>
            <a:srgbClr val="000000"/>
          </a:solidFill>
          <a:latin typeface="+mn-lt"/>
          <a:cs typeface="+mn-cs"/>
        </a:defRPr>
      </a:lvl5pPr>
      <a:lvl6pPr marL="1065145" indent="-156639" algn="l" defTabSz="94453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569">
          <a:solidFill>
            <a:schemeClr val="tx1"/>
          </a:solidFill>
          <a:latin typeface="+mn-lt"/>
          <a:cs typeface="+mn-cs"/>
        </a:defRPr>
      </a:lvl6pPr>
      <a:lvl7pPr marL="1516265" indent="-156639" algn="l" defTabSz="94453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569">
          <a:solidFill>
            <a:schemeClr val="tx1"/>
          </a:solidFill>
          <a:latin typeface="+mn-lt"/>
          <a:cs typeface="+mn-cs"/>
        </a:defRPr>
      </a:lvl7pPr>
      <a:lvl8pPr marL="1967385" indent="-156639" algn="l" defTabSz="94453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569">
          <a:solidFill>
            <a:schemeClr val="tx1"/>
          </a:solidFill>
          <a:latin typeface="+mn-lt"/>
          <a:cs typeface="+mn-cs"/>
        </a:defRPr>
      </a:lvl8pPr>
      <a:lvl9pPr marL="2418504" indent="-156639" algn="l" defTabSz="944533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569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12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24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36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48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599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719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84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960" algn="l" defTabSz="902240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image" Target="../media/image22.emf"/><Relationship Id="rId7" Type="http://schemas.openxmlformats.org/officeDocument/2006/relationships/image" Target="../media/image2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emf"/><Relationship Id="rId5" Type="http://schemas.openxmlformats.org/officeDocument/2006/relationships/image" Target="../media/image24.emf"/><Relationship Id="rId10" Type="http://schemas.openxmlformats.org/officeDocument/2006/relationships/image" Target="../media/image29.emf"/><Relationship Id="rId4" Type="http://schemas.openxmlformats.org/officeDocument/2006/relationships/image" Target="../media/image23.emf"/><Relationship Id="rId9" Type="http://schemas.openxmlformats.org/officeDocument/2006/relationships/image" Target="../media/image28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LilY_du@apllogistics.com" TargetMode="External"/><Relationship Id="rId2" Type="http://schemas.openxmlformats.org/officeDocument/2006/relationships/hyperlink" Target="mailto:Raphael_Madarang@apllogistics.com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5027" name="Picture 3" descr="pixel.g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67238" y="3424238"/>
            <a:ext cx="9525" cy="9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5028" name="AutoShape 6" descr="data:image/jpeg;base64,/9j/4AAQSkZJRgABAQAAAQABAAD/2wCEAAkGBhQREBUUEhQWFRUWGBUaFBcVGRgYGBUaGBUVFxgYGBQYHCceGRokGhYWHy8sIycpLCwsFR4xNTAqNSYrLCkBCQoKDgwOGA8PGjAkHyQsLC40LjQpKiwyLi8pMS0tKi4sKSwqNC0sLiwsLzIsLDUsKTEqKS8vLSwsLDYvKSwvLP/AABEIAOEA4QMBIgACEQEDEQH/xAAcAAEAAwEAAwEAAAAAAAAAAAAABQYHBAEDCAL/xABNEAACAQMCAwUEBAkJBgUFAAABAgMABBESIQUGMQcTIkFRMmFxgQgUkaEjQlJyc4KSsbIVJDM0U2Kis8EXVJOjwtIlNYPR00NjdOPw/8QAGgEBAAIDAQAAAAAAAAAAAAAAAAEDAgQGBf/EADARAAIBAwIEBQQABwEAAAAAAAABAgMEESExBRJBURMiYXGRgaGx0RQVIzIzYsEG/9oADAMBAAIRAxEAPwDcaUpQClKUApSlAKUpQClKUApSlAKUpQClKUApSlAKUpQClKUApSlAKUpQClKUApSlAKUpQClKUApSlAKUpQClfl3AGTsB1PpWd82duVjZ6kiJupQcFYzhBvvmYgjb+6G/9gNGzXPeX8cKF5ZEjUYyzsFUZ2GWYgV8+S9pXG+LSFLFGjXG626jbHm1w+6ny2Za6LDsEv7t2kvrlY2bcsSZ5GPvOoAfteXSgNcvO03hkRIa9gyOultf3pkGoW67deFJ0md/zIpP3sBUJY/RxtFIMtxPJ6hdCAn7CQKsEPYfwlRg2xY+rTT5/wALgfdQHJF2+cLJ3eZfeYm/6Sal7btd4U4yLyMfnh0P2MormPYnwj/dP+dcf/LUPxH6PXD5N4nnhPoHDj7HBP30Bf8Ah3MlrcHEFxDKcZxHIjHHrpByKkc1hfFvo2sAxtrsMfxUmjxn3GRWOP2ah5F5i4OuotM0K4HVbmMDrjB1FBnbPh9M0B9G0rGeV/pExuwS+h7r/wC7Fllzt7UZGoDr0J+FaxwjjUN3EstvIskbDIZT8tx1ByCMHfagO6lBSgFKUoBSlKAUpSgFKUoBSlKAUpSgFKUoBVW507RrThiHvnDS4ykCHMjZ6Z/IX3ttt5naq92q9rK8OUwWxD3bDfoywA+b7+3jcL8zsQGpfIXZLPxKQX3FGfQ51BHJ72bGMF9Q8EZGw8yOmBg0BF3vG+L8ySGOBGW21jwrhYo/L8JMQC5AbJHn5L0rQOU+wSztwGuybqTIODlYl92gHLfrHfbYVpPD+HR28axwosca7KqAKB8hXTQHrgtlRQqKqqOgUAAfADav3ivNKAUpXjNAeaV41V5oBTFKUBUua+y+x4gS0sWiXGBLF4HGxxnHhbGfxgegrH+LdmnFOCS/WbGRpUUHLwr4gOmJICTqGDnYMB7q+ja8GgMr7P8AtyhutMN7pgn6B84ilPxP9G3uY49DuBWqA5rMu0bsXgvVaa0VYbkAnCgLHMfRwPZbr4h6756il8hdqVxwqc2PEw5iRtAZss8GMKB18UWBtjO24yNqA+gqV6ra5WRA8bB1YAqykFWB6EMNiPhXtoBSlKAUpSgFKUoBSlKAUpSgFZv2tdqQ4dH3FuQbuQbeYhRgw7w+RfI2B+J2GDZefebk4bZSTsRrxphQ9XkOyjGdwPaPuU1j/ZPyO/FbqTiN+DJGJCwDZxNLqB6EYMS9MdOi9ARQEp2T9lLSMOIcRBZmPeRRybly3i76XO5JJyAfia27FBXmgFKUoBSlKAqfaB2hw8JhVpFMkkmruoxtqK4yWb8VRqG+DWB8T7auKSs+m47pXJwkaRjQD0CuV17eurNQfPPGZrviFxJOCr94y6Dn8GEOkIAemAPtzUDigLNZ9pvE4nDrezkjydzIp2xuj5U/MVs/Yt2j3PEWuIroh2QK6OqhcAnSUIUY6jI89z18sj4D2WXdzbm4cxWsA04kumMSuDndPCcjbqcZyMZrR/o8zpG17bAI7I6t3ybiRQSmAxwdORqXb8c0BtVKUoBSlKAYqm9o3ZxDxWHfCXCA9zLj4nQ/qhPzGcjzBuVKA+eezfnybg123D+I5SENp8W/1ZjltS46xvqDHG2+odTn6FVsjNUDtb7OBxO37yEAXUQJjPTvF2LRsQN+mV9CfLJqtdhfaEZF/k+5Y95GCYGdt2UYHc776l3x/dGPxaA2WlKUApSlAKUpQClKUArwTXmqT2vc1Gw4ZI0bBZZcRxdM+L22APomr4EigMn5z4q/MHG47SByYEcpHjYYUappfjhWx7lX1r6B4PwmO1gjgiGEjVVUeeAOpx1J6n3k1l30e+VO6tpL1/an8EYwRpjRjqOc76mHp/8AT671r1AKUpQClKUApSlAfLnbfwruOMzEAgTKko2wDldLYx18SN881b+QOz+DilukjSBrcRqrIqiOW3uUaMkI+gho2QnOSc6h8rv2vckJxCxaTOma2V3jbywAGdG26ELt6ED31C8o3f8AIXLsdwYZJmlPfMsfRe9XKM7b6E0JGCcHBYbb0Bo/GOBQXcJiuI1ljJB0t6joQRuCPdWb8O4NBacYhtuEd2hAeS9YztKTGrhWgeHxFXBZSpJBG/vzEQ/SWBYB7EhfMrPqI+CmIA/aKl+zm/8Ar3F576O1ljt3g0Ru6qiq5kVpFXRtIXJLltznOaA1gUoKUApSlAKUpQHgivn7tl5Yfht/FxK1wivIrHGfBOpLkkAYw4Geu5D19BVD82cvrfWc1s2PwiEKT+K/VG+TAGgPxybzMnELKK4QjxqNYH4kg2dSPLB+4g+dTdYH2D8de1v5+HTDGsuQPyZYtmUe4qG/YFb5QClKUApSlAKUpQCvnvtz4i17xaCxiDExBVwBnMk+htgNz4O7+w19Bsdq+d+zOX+UOZpLoA6QZ5hv7IOY0zn3ONqA33hHDEtoI4YwFSNFVQPRRjPxPX512UpQClKUArxmo3mDmOCxhM1zII0Hrklj6Ko3Y/Csk5t7TZpvanPDrcgsiR6ZL64XK6fCDi2B33Zl8/aG1AaTzP2g2lh4ZH1zbBYIfwkzEgEDQD4djnxYrKeK/SRmP9WtI098zNJn9VNH76qMyOtsZABw+1lR1G5kub0jIKs2zlWYDV7EQwSATse7gHJcU1zw9JE8DWUlzLjOZmDzkKWG4GFjXbyB8zmgIvm/tTvuJRaJiqRZGpIVZVY9QHJYlumQCcZGfKpjkntrntIxb3S/WLcLoXp3qDGAAx2dQMjDb9MEAYqv3PCu74JHP5z3jbeQWKIgbeXid/lipLmyztrfh3DCluhea3neVssCzMFRHLA5Og5YDp6jBoCh1ofK/bhf2mhJCtzEoC6ZR48D0lHiz5eLV8K6e0bgkcFzwmJY1ANtbCQAY1kyHVqxuScn371xLyJEnE+JW8pPd2kF1NGAcatIQxBiPdIucea+lAazyz27WN02ibVav5GXSYzuBjvB0O/mAPfWiw3CuoZGDKRkMpBBHqCNiK+ZYZLl57CXh7rFPNZaWZmRe/aGSWORX7zwuWEabNkHC+ldfD+YZ7edokc8KvQVzERizuG6ZaJwVt2KkYYZRsg+D2qA+k6VQeUO1NZ5fql9H9UvQcCNs6Jdsho3O2++Bkg7EE5q/UApSlAKUpQHzt2w2P8AJvG4LyEae8KT+ZzJG/j222IC5Gd9R9a+hLacOiuvRgCPgRkfcazP6QvCxJwtJcDVDMhzjfS4ZCAfLcof1RU12M8TM/BrYsSWjDxkn+45Cge4JpHyoC70pSgFKUoBSlKAjOaLtorG5kQ4ZIJmU+hWNiD9oFZH9GqzOm9lI2PcID55HeMw/wASVo/afKV4Pekf2Lj7cA/cao/0bv6ndfpl/wAsUBsFKUoBVH5k7QSLg2PD4jc3nRzuIrbOPHK+MHGQcD0IyDtV4rKux4qt7xZJF03P1p2bPXQXfGGO5GrJ/WB86AofaOtp3Uhur9r3iepVHdKRDAATqjxsgAIYddWSPD1NV7k3ikMKgQ2b3PEWYiAt4oo9sh1hUZdxgnxbDGfKvz2rcBa04tcKVwsjmWPzBSQltv1tQ+INWPsn7JxxGM3MtwUhy6aIWxKxwVdXJGEUq2PMkMeg6gcd6IEWea/c8Sv3RspGzNFaeQeWdPC2CQNKeEYx5g1YI7jumsGG2OB3B28sRTNn45FaVzVylbwcGvIbaJIV7iQnQACdCl/E3Vuh6k9ayji0wENmwPTgco2PmweMj/ERQEXzHb93yzw31ee4f73H+grr7SUSK24RGVD5sVxuw0F+7IcaTuQdXXauHnSb/wAC4MnqLtvslA/1rt7WOHsL/h1seq2lnH8+8dD94FATna1PGvMHDlfaOJbcvjc6RO7HYb9FqIvuMBuIcWudxHcWtxHASPaJ7kKCoyVysbHfArm7db4jjbFcZjjhAyARnBbowIPtVSZOZZ2BUlMEEHEUI2O3UJkUBO3/AAtmsOGnSzjReyOinDCKOYl2yc42Rz08s4qeu+DzwWyNIo4rwoAskkZ0y2+ckgOpLwsCQWVtSfA7jpeEJBYAHGOD8Rc/+pHcED5s1Sj9lvEeHRLc8JuXYsivLDsCx0hvChBSUbnZgD5DOaAzLjvFfwUdvFcNPbqNcYljCSQMxOqPVucDr4WKnUDgHONc7Ku2dGWO0v20uoCxzsfC4HRZSfZbGBq6Hzwetd7DeVbee8nN4EaWIELbyruDqAaRkYYOnZcb4LbgeGobtb7Ozw257yIfzWZm7rGT3ZwCY2Pl1OnfcD3GgPqEGvNZH2Hdo/1mP6lcPmaMZhZ2y0qbkrvuWQY9SV/NNa5QClKUBW+0ixWbhF6rDIEErj86NTIv+JBVD+jhxQtaXMB6RSqy/CVSMfbET861TjMAktpkPRo5FPwKMD++sZ+jS+98P/xj/nj/AFoDcqUpQClKUApSlAVbtRQng97j+xY/YQT+6qT9G4/zO6/Tr/lrWkc3Wxk4fdIBqLW84A9SYmwPtxWVfRqvDovYvIGBx+sJFP8AAtAbZSlKAVl3aTwK5s7teMWO7RoFu4sgCSJdySSdxpCqQBtoVhuK1GvBFAZLzJwq35n4etxaMFuodtLE5UlctC/QYJwVbGMj3nGddmPOL8Fv3iulZIpCEuVYHVEV1aX0jfbJzjOQTjO1a3zB2VaZzecKlNpdatTLn8BL1JVkA21NjPVevhzvVa41c23FALbjEP8AJ3EFUiKdhpicgjGmRj403HhY7ZOGBoDXOI2y3NtImcpLE65G+VdCMg+exzXzDHd67CPTnMVjco3zvw32aZVFWrlbnC94Dctw65he5TrAke7EsRpaFiPFGwDbY2OehDCoziXAJLW0uRLE0JNlI4RipZBLxOARhtO2dC/d8qA88y8PDWPL8R2DrID8JJ4D/wBVTHaXch+arJMew9ih9+bjX+6Svbzlafzjl22HtLHBn1GWtwc/8M/fUZxUfWOclHXTcw/8mND/ANFAfrm3lT+U+abi27wx6lQ69IbTptYm3XIyPLr51QuC8rtcJdyBwq2kRkbIyXOrSqgZ2zvv5Y862HgjhudLojyjI+Ygt1P7jWf8u4Tg/GZPxi1rGPg07Ej7vuoD28aEjz8Lt0JDS2VpBg9CJp3Ug+gII+VfTigAY6AdPcK+frCa3PHreS6dIobOzs3JchRqW2iaMAYyx1Sg4G/hPpVmv+ZX4wrM0hsODrgSSyHu5bw5bKI24C+Eggb9evQAfvjMQ4zxWM8OUR/VHUz8RUYYldQMEYI0y7Y3Oob/AJPtxnbb2mW7wycPgCzMxXvpM+GIq6sFTbxPsQSDgdNznFb5s7UWnRbDg8TQW2NAVEIll65ChckKfP8AGbJyd8VJck/R/ll0S8QbukIz3KH8KfQOxBVPXbJ38j0AhuxTkue5vo7pcpDbuGZznxsB/Rr6k+fkB8QD9Miuaw4dHBGsUKKkaDCqoAAHXYD37/OumgFKUoDk4vMEt5WboschPwCEmsX+jTH4r5vdbD7e+P8ApWo9od2IuE3rMcfzeZQf7zxsi/4mUfOs9+jdw0rbXUx9mSSNF/8ASViT/wA3HyoDZKUpQClKUApSlAeG6V879kurh/MMtmW2PfwnzDGPLofjhD9pr6Jr557ZbN+H8bhvomI73RICBjDw6EdR5HKhSfzznrQH0NSvRY3izRJIhBR1VlIOQQwBByOuxr30ApSlAKjePcuW97EYrmJZFIONQ3XPmjdVPvFSVKAyu/4RxHgyF7XTf2kYLLHcZNxb9c924GWQADp7/COppvMXaD/KvCL2R4Eimja1i1ISdUckrOASd9miY/re819A3UbMjBGCsVIViNQUkbErkZwcHGR061lFv2BBLOS3F4cyyxSO/c9ViWQLHo738qQtnPyoCB5gleTmrh69RGtppHoNJkb97GvVwGMPznKfyZbg/NYWH760qTs2B4zHxLvv6NAoh7vriFoge817e1n2fKuDgPZJ9W4s/EDday7Tt3fdacd7q2194emr8nfHlQFO5LuNXN96T5G6H7LKv+lZ7bTkcIvQPx7y0B/Yu2/eoreuC9ln1filzf8A1jV3/f8A4Pu8aO9YN7es5xjHQZ91Qdh2CiO3eA3hYPcQTE9zj+hWZdGO9Ptd718tPQ5oDPL7jtvY8Uv/AKzapdMuiKBJACiNEFTU2fIKo6Df3da7+C8m8S4+6y3BFvZqfAApSNR0ItrcbfM7ZzuTkVqvD+ya1F5Pd3KrcSSzGWPWpAiychdOsq+/mR5dKu4XFAVrk/s9tOGIBBHmTfVNIA0rZ8tWBge4Y+dWalKAUpSgFKUoDM/pA8REfCRH5zTRrjPkoaQnHmPAB8xUj2JcO7rgsGc5kMkhBGPadgPkVUH51mnbfxD69xe3s4WDGPRFgHpLNIAV3wMgaB193lW/2VsIokjX2UVVXG2ygAbDpsKA99KUoBSlKArfNnOa2IQFDI75KrnAAHmW+JHl61Wf9r7f7sP+If8Atr0drn9PB+jf+MVwci8pRXolMrOAmgAIQM6tROSQfStaU5OeEdjaWNjCwjc3Ec99X3wtEzQ+UeZDfQtIU0YcpgHOcKjZzgflfdU2yA9QDVdgituEWzZdghfI1eJixUDCgAeSVXX7XBk4tjjyzIAfmNBx9pq3nUUuZ6nify+pd1Jzs6b5M6dPyzRQK81Bct83w3oITKyAZZG6j3g9GHwrv4vxeO2iMsraVHuJJJ6AAdTWaaayaE7erCp4Uovm7dTupWdy9rihjpt2K52JkCkj3qEOPtNWPlrnKG9GFykgGWjbrj1U9GH/APYrFTi3hM2q/C7uhDxKkGl9H84eh38c49FZorzEhWbSMAtuQT0HuU1z8E5ugvHZIWYlRqOVK7Zx51SO0nmZZc2oRg0UoJY40nCMNt8/jj7KguTeZVsZXkdGcMmnCkZ9oN5/A1W6uJY6Hr0OB+JZOrh+J0WVh9vt6m3Ur8odq/Rq85cz/i3ag0E8kQgDd27LnXjODjONO1Xfhl530McmMa0VsdcalBxn51iHNf8AXrn9LJ/Ea2flz+p2/wChi/gWqacm5NM6Ti1lQt7ajOnHDlvq+3qyRpXHxPikdvEZJW0oMZO56nAAA3JzVHm7XVDHRbsV8iZApPxXQcfbVkpKO55Ftw+4uk3RhlL2X3ZolKrfLPO8N4dAzHLgnu23yB1Kt0b7j7qnL69SGNpJGCooyxPl9lSmmsopq29WjU8KcWpdv13+h0V4NZ/ddraByI4GdR0ZnCE/q6Tj7al+Wuf4btghBilOcKxyG8/C4AycDoQPnWKnFvGTbq8KvKVPxJ03j6fhPJHce7SmtrmSHuA2ggatZGcqrdNPvq2cD4kbi3imI094obTnOM+Wax/nn/zG4/OX/Ljq/cH5mgs+HWhmYgtGNIUamOM5OB5f+4quM3zPJ69/w2nG0oSoQ88sbZefLl6FxpUBwXnW3u5O7h7wnBJJQgAe8/dUTx3tNhgkKRIZipIcg6VBBxgEg6t/QY99W88cZyeJDh1zOp4Sg+bfG3znYufdD0FfqqBYdrMbOBNCY182VtePiukHHwz8Kt3EuNRw27Tk5RQDld9WSAoHxJA+dFNPYivYXNCcYVINN7dc/BI0rOf9rw/3Y/8AF/8A11YeUecPr5k/Bd33ej8fVnXr/ujHs/fUKpFvCLq/Cru3pupUhhL1Xt0ZZaV+cUrM8wzDtc/p4P0b/wAYqm2NnLIfwSSNgjOgMcemdPzq5drZ/Dwfo3/jFdvZF7Fx+dH+561HHmqYO/t7p2vCYVUs46e8sFf7SL5pL0oT4YlRVHoSoZvnk/cK9/Bezp7i1E3ehSwJRSudgSPE2ds4zsPOvf2n8BdJ/rKjMcgUMR+KwGN/cQBv65quWfNN1DF3MczLH5DbbckgEjIySelRLCk+YutvFq2NL+DkotYzn03W2+T0cFvWguYpFOCrrn4E4Ye/YkVYu0/iJkve730xKoA9Sw1E/YVHy99RXKHAnurpAo8CMrSN5BQc4+JxgD3/AGWTtS4AwlFyq5RgqyEeTDOkn3FcDPTwj1ok+RmdarQXEqSljm5Wvq8Y+2fn1I/l7s8e6t++71U1Z7sEFs4Yrljnw7g+Rqs2V21vMsinxRsCPfg7j4HcfOuyw5nuYIzHFMyoc7DB0566SRlflXnlvgT3lwsaglcgyt+Smdzn1O+Kx0eOXc2V4tLxp3Uk6fT0WuU9P2T3PvAAo+uCQnv3XCFcaQ0Zb2s7+z6edQ/KfLX16V4zJ3elNWQurO4XGMj1q89qkWLKIKMBZl6dAO6lA/0FZ5wLj8tnKZIdOSCpDAkEZz0BB6j1rOaSnqaHDqtxX4e3Tl59UttMbdOxvUY2r9GovlniLXFpFK+Azrk6QQOpGwJPp61KGtpPJwFSDpzcJbptfBg/Nf8AXrn9LJ/Ea2flz+p2/wChi/gWsY5sH8+uP0r/AL81K8P7SbqGJI1ERCKFBZWJwBgZIcD7q1YTUZPJ3fEbCre2tFUsaJfhHZ2q8QLXSRZOmNM48iznr9iiuPljkF7yAy94IxlggK6tRXG5wdhnI9dq7+e+GSTw296FzqiTvtI9knBU4ydvER7sD1qs8M5lubdCkMrIpzkbHBPUrkHB+FJY58yLbSNWVhCFpJRktHnun5uj667bHJqa3myDh4nOCPykY9PmKunajxYuYIug0d4wHQltgPlhv2vdVT4NweS8nEaAsWOXY/ignxMx+fzNX3tM5cZoo5o1J7ldL+Z0baT78HOfzs+VRFPkeDO7q0I31uqjXN5vutPl5wVjlTkhr2N5O8EaqSo21EtgHpkYHiH21aeWuzJY213Ta2ByqKSFGOhLdWPQ+Q286oPCuYri2DCGVkDdRsRnGM4I2OB191WfknnS575YGDXCufM5dNtyGJxpHU5+3yqYOGmVqU8Sp8R5akqdRcnbZ4664/6QvPI/8RuPzl/y46iQzzNGhbJAWOPUQAozgDJwAMsTv61K88/+Y3H5y/5aVw3/AAWSGKGU7pMoZWAOx81J/KGM+8fPFcv7mepayireinu4rHvymjcR4cOF8KkER/CtpDPjdmYhScHoAuQPTbzrMbCFGkCySd2n4zaWbGPIKu5J+Q99XjgfGv5Rs3sZnxPp/Au2+vRhhkn8bbB8yDnqDVHGuCXxLh423VxkZB6Mp6jas6jTw1saHC6dSmq1Oq/6mct901o1lbb4007Htmsw7kW3eyqPPu8N+yhbA6datkMVxHwa5injZFQxGLWMEhplLAe4EA/r1D2/PVzHMJE0KoGO6RdMRH5gPtb9c56VfebrtpeDu7xmJmERKE5K/ho6mKWG0U39avGpQp1IrDnHXOXlNei+yxqZjwLhn1m5jh1adZwWxnGAT0+Va3ypygtgZNMhfvNGcqBjTr9D/e+6sy5GP/iEH5x/gatit+KI8hjB8QBODtkA4yPUdPtFZ0UtzR/9HcVlNUYvyOKbWPV/o7KV4pWwcYRvFuWbe6ZWnj1lQQvicYBOT7LCvZwjl+C1DCBNGrGrdjnGce0T6mpGlRhZybH8RVcPD5ny9svHxseua3V1KsAykEEEZBB6gg9agX7PrEnPcAe4NIB9gbA+VWKlGk9xSuKtH/HJx9m1+DlsOGRwJoiRUXrhRjf1PqfjXRJGGBBAIOxB3BB6giv1SpK3JyfM3qV2TkCxZsmBRnyVnUfJQ2B8qluG8Jit00QoqL6KOpxjJPUn3neuyuDjNrNJCywTGGTqj6VcZwcBlYHK5xnGDt1qEkti2pc1qkeWc212bbPffWCTIUlUOh6qwyD6VCf7PLH+wH7cv/fWV8wc/ce4TP8AztY5YQcBxEBFID6SIAVb3HfPkRV75S7ZLG+Gln+ry/2cxVQevsyey3T3H3UaT3FK5rUlinNpeja/BdLCxSGNY4xpRRhRucD4kk10UzSpKW3JtvcheIcnWs8hklhDOerZdc4230sM7Vzf7PbH+wH7cv8A31Y6VjyrsbMb25ilGNSSS/2f7PRBZqkaxqMIqhQOuwGAN+u1QsvIFixyYAPcrOo/ZVgB8qsNKlpPcrp3FWk24Tab3w2snFwzg0NsumFFQdTjqfezHcn4muwivNM1JXKUptyk8sgLrkSykYs0CgnrpLIPsVgPuru4Xy/BbAiCNUz1IySfixJJG5865eY+crSwUm5mRDjITIMjdcaYxuc6SPTPnWQcZ7cr28nEPCYCB5Zj72Z+u5QZVF3Hr8ahJLUundVpx5JTbXbLx8GvX3JVpNI0kkWp2OWOqQZ2A6BgOgFdUnL0DW4t2jBiAACkttg5GGzqz86hOSrDiYXvOJXCMxA0wxIgC5znXIFySNvZ267mrbTCIdzWainN6bavTG2OxX4uQrNGDLDhlIIIeXIIOQR466+K8r21yQZoldh+NurY321KQSNztUrSnKuxk7uu5KbqSyuuXkgrHkmzhcOkK6huCxZ8HOQQGJAPv61J8Q4bHPG0cq6kbGoZIzghhuCD1APyrqpRJLQwncVZyU5Sba2eXlezIOx5LtIZFkji0uu6nVIcbY6FiOhqSh4aiOXUeI53yTjJGcAnA6Dp6D0FdVKJJbCpcVajzOTfTVtnjTSvNKkpFKUoBSlKAUpSgFKUoD0XdmkqFJEV0PtK4DKfip2NZZzb9H22m1vZObeQ7iNiWhztt0LIOvTPXpgYrWqUB859xzBwRgR3ssKg7DVcQaRgeIdYxhR+Tt86m+C/SNYNpvbXoN2gOGyB/ZSHzP8AeGPfW4YqN4tyza3Slbi3ilB/LQE/ENjIO3kaApdn2+8LcAs00ZPUPGTj4lCw+yp217U+FyDK3sI/PJT7nAqKu+w3hTkEQNHj+zlk3+Oomo6f6PPDmPhe5T3B1P8AEhoC2S9pPDVG99b/ACkVvuXNQ1124cKQ4E7P+ZHIR9pUVEL9HXh/nLdH9eP/AOOu6HsE4WCMpK2PJpWwfjpx91AQnGPpHWyqfq1vLI+cAy6Y0+PhZmPwwPjVXuO0jjnFT3dnE8akje2RhjPTXcNkKNjvlfnWy8H7OeHWraobSIN+UwMjD4NIWI+VWJUAGBsPIenwoDCuX+wC4nkMvE7jGcZWNzJKxBxh5HBAGkbY1dR0xitf5c5RtbCPRawrHsAzYy7+93O7VMUoBSlKAUpSgFKUoBSlKAUpSgFKUoBSlKAUpSgFKUoBSlKAUpSgFKUoBSlKAUpSgFKUoBSlKAUpSgFKUoBSlKAUpSgFKUoBSlKAUpSgFKUoBSlKAUpSgFKUoBSlKAUpSgFKUoBSlKAUpSgFKUoBSlKAUpSgP//Z"/>
          <p:cNvSpPr>
            <a:spLocks noChangeAspect="1" noChangeArrowheads="1"/>
          </p:cNvSpPr>
          <p:nvPr/>
        </p:nvSpPr>
        <p:spPr bwMode="auto">
          <a:xfrm>
            <a:off x="63500" y="-1028700"/>
            <a:ext cx="2143125" cy="214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5029" name="AutoShape 8" descr="data:image/jpeg;base64,/9j/4AAQSkZJRgABAQAAAQABAAD/2wCEAAkGBhQREBUUEhQWFRUWGBUaFBcVGRgYGBUaGBUVFxgYGBQYHCceGRokGhYWHy8sIycpLCwsFR4xNTAqNSYrLCkBCQoKDgwOGA8PGjAkHyQsLC40LjQpKiwyLi8pMS0tKi4sKSwqNC0sLiwsLzIsLDUsKTEqKS8vLSwsLDYvKSwvLP/AABEIAOEA4QMBIgACEQEDEQH/xAAcAAEAAwEAAwEAAAAAAAAAAAAABQYHBAEDCAL/xABNEAACAQMCAwUEBAkJBgUFAAABAgMABBESIQUGMQcTIkFRMmFxgQgUkaEjQlJyc4KSsbIVJDM0U2Kis8EXVJOjwtIlNYPR00NjdOPw/8QAGgEBAAIDAQAAAAAAAAAAAAAAAAEDAgQGBf/EADARAAIBAwIEBQQABwEAAAAAAAABAgMEESExBRJBURMiYXGRgaGx0RQVIzIzYsEG/9oADAMBAAIRAxEAPwDcaUpQClKUApSlAKUpQClKUApSlAKUpQClKUApSlAKUpQClKUApSlAKUpQClKUApSlAKUpQClKUApSlAKUpQClfl3AGTsB1PpWd82duVjZ6kiJupQcFYzhBvvmYgjb+6G/9gNGzXPeX8cKF5ZEjUYyzsFUZ2GWYgV8+S9pXG+LSFLFGjXG626jbHm1w+6ny2Za6LDsEv7t2kvrlY2bcsSZ5GPvOoAfteXSgNcvO03hkRIa9gyOultf3pkGoW67deFJ0md/zIpP3sBUJY/RxtFIMtxPJ6hdCAn7CQKsEPYfwlRg2xY+rTT5/wALgfdQHJF2+cLJ3eZfeYm/6Sal7btd4U4yLyMfnh0P2MormPYnwj/dP+dcf/LUPxH6PXD5N4nnhPoHDj7HBP30Bf8Ah3MlrcHEFxDKcZxHIjHHrpByKkc1hfFvo2sAxtrsMfxUmjxn3GRWOP2ah5F5i4OuotM0K4HVbmMDrjB1FBnbPh9M0B9G0rGeV/pExuwS+h7r/wC7Fllzt7UZGoDr0J+FaxwjjUN3EstvIskbDIZT8tx1ByCMHfagO6lBSgFKUoBSlKAUpSgFKUoBSlKAUpSgFKUoBVW507RrThiHvnDS4ykCHMjZ6Z/IX3ttt5naq92q9rK8OUwWxD3bDfoywA+b7+3jcL8zsQGpfIXZLPxKQX3FGfQ51BHJ72bGMF9Q8EZGw8yOmBg0BF3vG+L8ySGOBGW21jwrhYo/L8JMQC5AbJHn5L0rQOU+wSztwGuybqTIODlYl92gHLfrHfbYVpPD+HR28axwosca7KqAKB8hXTQHrgtlRQqKqqOgUAAfADav3ivNKAUpXjNAeaV41V5oBTFKUBUua+y+x4gS0sWiXGBLF4HGxxnHhbGfxgegrH+LdmnFOCS/WbGRpUUHLwr4gOmJICTqGDnYMB7q+ja8GgMr7P8AtyhutMN7pgn6B84ilPxP9G3uY49DuBWqA5rMu0bsXgvVaa0VYbkAnCgLHMfRwPZbr4h6756il8hdqVxwqc2PEw5iRtAZss8GMKB18UWBtjO24yNqA+gqV6ra5WRA8bB1YAqykFWB6EMNiPhXtoBSlKAUpSgFKUoBSlKAUpSgFZv2tdqQ4dH3FuQbuQbeYhRgw7w+RfI2B+J2GDZefebk4bZSTsRrxphQ9XkOyjGdwPaPuU1j/ZPyO/FbqTiN+DJGJCwDZxNLqB6EYMS9MdOi9ARQEp2T9lLSMOIcRBZmPeRRybly3i76XO5JJyAfia27FBXmgFKUoBSlKAqfaB2hw8JhVpFMkkmruoxtqK4yWb8VRqG+DWB8T7auKSs+m47pXJwkaRjQD0CuV17eurNQfPPGZrviFxJOCr94y6Dn8GEOkIAemAPtzUDigLNZ9pvE4nDrezkjydzIp2xuj5U/MVs/Yt2j3PEWuIroh2QK6OqhcAnSUIUY6jI89z18sj4D2WXdzbm4cxWsA04kumMSuDndPCcjbqcZyMZrR/o8zpG17bAI7I6t3ybiRQSmAxwdORqXb8c0BtVKUoBSlKAYqm9o3ZxDxWHfCXCA9zLj4nQ/qhPzGcjzBuVKA+eezfnybg123D+I5SENp8W/1ZjltS46xvqDHG2+odTn6FVsjNUDtb7OBxO37yEAXUQJjPTvF2LRsQN+mV9CfLJqtdhfaEZF/k+5Y95GCYGdt2UYHc776l3x/dGPxaA2WlKUApSlAKUpQClKUArwTXmqT2vc1Gw4ZI0bBZZcRxdM+L22APomr4EigMn5z4q/MHG47SByYEcpHjYYUappfjhWx7lX1r6B4PwmO1gjgiGEjVVUeeAOpx1J6n3k1l30e+VO6tpL1/an8EYwRpjRjqOc76mHp/8AT671r1AKUpQClKUApSlAfLnbfwruOMzEAgTKko2wDldLYx18SN881b+QOz+DilukjSBrcRqrIqiOW3uUaMkI+gho2QnOSc6h8rv2vckJxCxaTOma2V3jbywAGdG26ELt6ED31C8o3f8AIXLsdwYZJmlPfMsfRe9XKM7b6E0JGCcHBYbb0Bo/GOBQXcJiuI1ljJB0t6joQRuCPdWb8O4NBacYhtuEd2hAeS9YztKTGrhWgeHxFXBZSpJBG/vzEQ/SWBYB7EhfMrPqI+CmIA/aKl+zm/8Ar3F576O1ljt3g0Ru6qiq5kVpFXRtIXJLltznOaA1gUoKUApSlAKUpQHgivn7tl5Yfht/FxK1wivIrHGfBOpLkkAYw4Geu5D19BVD82cvrfWc1s2PwiEKT+K/VG+TAGgPxybzMnELKK4QjxqNYH4kg2dSPLB+4g+dTdYH2D8de1v5+HTDGsuQPyZYtmUe4qG/YFb5QClKUApSlAKUpQCvnvtz4i17xaCxiDExBVwBnMk+htgNz4O7+w19Bsdq+d+zOX+UOZpLoA6QZ5hv7IOY0zn3ONqA33hHDEtoI4YwFSNFVQPRRjPxPX512UpQClKUArxmo3mDmOCxhM1zII0Hrklj6Ko3Y/Csk5t7TZpvanPDrcgsiR6ZL64XK6fCDi2B33Zl8/aG1AaTzP2g2lh4ZH1zbBYIfwkzEgEDQD4djnxYrKeK/SRmP9WtI098zNJn9VNH76qMyOtsZABw+1lR1G5kub0jIKs2zlWYDV7EQwSATse7gHJcU1zw9JE8DWUlzLjOZmDzkKWG4GFjXbyB8zmgIvm/tTvuJRaJiqRZGpIVZVY9QHJYlumQCcZGfKpjkntrntIxb3S/WLcLoXp3qDGAAx2dQMjDb9MEAYqv3PCu74JHP5z3jbeQWKIgbeXid/lipLmyztrfh3DCluhea3neVssCzMFRHLA5Og5YDp6jBoCh1ofK/bhf2mhJCtzEoC6ZR48D0lHiz5eLV8K6e0bgkcFzwmJY1ANtbCQAY1kyHVqxuScn371xLyJEnE+JW8pPd2kF1NGAcatIQxBiPdIucea+lAazyz27WN02ibVav5GXSYzuBjvB0O/mAPfWiw3CuoZGDKRkMpBBHqCNiK+ZYZLl57CXh7rFPNZaWZmRe/aGSWORX7zwuWEabNkHC+ldfD+YZ7edokc8KvQVzERizuG6ZaJwVt2KkYYZRsg+D2qA+k6VQeUO1NZ5fql9H9UvQcCNs6Jdsho3O2++Bkg7EE5q/UApSlAKUpQHzt2w2P8AJvG4LyEae8KT+ZzJG/j222IC5Gd9R9a+hLacOiuvRgCPgRkfcazP6QvCxJwtJcDVDMhzjfS4ZCAfLcof1RU12M8TM/BrYsSWjDxkn+45Cge4JpHyoC70pSgFKUoBSlKAjOaLtorG5kQ4ZIJmU+hWNiD9oFZH9GqzOm9lI2PcID55HeMw/wASVo/afKV4Pekf2Lj7cA/cao/0bv6ndfpl/wAsUBsFKUoBVH5k7QSLg2PD4jc3nRzuIrbOPHK+MHGQcD0IyDtV4rKux4qt7xZJF03P1p2bPXQXfGGO5GrJ/WB86AofaOtp3Uhur9r3iepVHdKRDAATqjxsgAIYddWSPD1NV7k3ikMKgQ2b3PEWYiAt4oo9sh1hUZdxgnxbDGfKvz2rcBa04tcKVwsjmWPzBSQltv1tQ+INWPsn7JxxGM3MtwUhy6aIWxKxwVdXJGEUq2PMkMeg6gcd6IEWea/c8Sv3RspGzNFaeQeWdPC2CQNKeEYx5g1YI7jumsGG2OB3B28sRTNn45FaVzVylbwcGvIbaJIV7iQnQACdCl/E3Vuh6k9ayji0wENmwPTgco2PmweMj/ERQEXzHb93yzw31ee4f73H+grr7SUSK24RGVD5sVxuw0F+7IcaTuQdXXauHnSb/wAC4MnqLtvslA/1rt7WOHsL/h1seq2lnH8+8dD94FATna1PGvMHDlfaOJbcvjc6RO7HYb9FqIvuMBuIcWudxHcWtxHASPaJ7kKCoyVysbHfArm7db4jjbFcZjjhAyARnBbowIPtVSZOZZ2BUlMEEHEUI2O3UJkUBO3/AAtmsOGnSzjReyOinDCKOYl2yc42Rz08s4qeu+DzwWyNIo4rwoAskkZ0y2+ckgOpLwsCQWVtSfA7jpeEJBYAHGOD8Rc/+pHcED5s1Sj9lvEeHRLc8JuXYsivLDsCx0hvChBSUbnZgD5DOaAzLjvFfwUdvFcNPbqNcYljCSQMxOqPVucDr4WKnUDgHONc7Ku2dGWO0v20uoCxzsfC4HRZSfZbGBq6Hzwetd7DeVbee8nN4EaWIELbyruDqAaRkYYOnZcb4LbgeGobtb7Ozw257yIfzWZm7rGT3ZwCY2Pl1OnfcD3GgPqEGvNZH2Hdo/1mP6lcPmaMZhZ2y0qbkrvuWQY9SV/NNa5QClKUBW+0ixWbhF6rDIEErj86NTIv+JBVD+jhxQtaXMB6RSqy/CVSMfbET861TjMAktpkPRo5FPwKMD++sZ+jS+98P/xj/nj/AFoDcqUpQClKUApSlAVbtRQng97j+xY/YQT+6qT9G4/zO6/Tr/lrWkc3Wxk4fdIBqLW84A9SYmwPtxWVfRqvDovYvIGBx+sJFP8AAtAbZSlKAVl3aTwK5s7teMWO7RoFu4sgCSJdySSdxpCqQBtoVhuK1GvBFAZLzJwq35n4etxaMFuodtLE5UlctC/QYJwVbGMj3nGddmPOL8Fv3iulZIpCEuVYHVEV1aX0jfbJzjOQTjO1a3zB2VaZzecKlNpdatTLn8BL1JVkA21NjPVevhzvVa41c23FALbjEP8AJ3EFUiKdhpicgjGmRj403HhY7ZOGBoDXOI2y3NtImcpLE65G+VdCMg+exzXzDHd67CPTnMVjco3zvw32aZVFWrlbnC94Dctw65he5TrAke7EsRpaFiPFGwDbY2OehDCoziXAJLW0uRLE0JNlI4RipZBLxOARhtO2dC/d8qA88y8PDWPL8R2DrID8JJ4D/wBVTHaXch+arJMew9ih9+bjX+6Svbzlafzjl22HtLHBn1GWtwc/8M/fUZxUfWOclHXTcw/8mND/ANFAfrm3lT+U+abi27wx6lQ69IbTptYm3XIyPLr51QuC8rtcJdyBwq2kRkbIyXOrSqgZ2zvv5Y862HgjhudLojyjI+Ygt1P7jWf8u4Tg/GZPxi1rGPg07Ej7vuoD28aEjz8Lt0JDS2VpBg9CJp3Ug+gII+VfTigAY6AdPcK+frCa3PHreS6dIobOzs3JchRqW2iaMAYyx1Sg4G/hPpVmv+ZX4wrM0hsODrgSSyHu5bw5bKI24C+Eggb9evQAfvjMQ4zxWM8OUR/VHUz8RUYYldQMEYI0y7Y3Oob/AJPtxnbb2mW7wycPgCzMxXvpM+GIq6sFTbxPsQSDgdNznFb5s7UWnRbDg8TQW2NAVEIll65ChckKfP8AGbJyd8VJck/R/ll0S8QbukIz3KH8KfQOxBVPXbJ38j0AhuxTkue5vo7pcpDbuGZznxsB/Rr6k+fkB8QD9Miuaw4dHBGsUKKkaDCqoAAHXYD37/OumgFKUoDk4vMEt5WboschPwCEmsX+jTH4r5vdbD7e+P8ApWo9od2IuE3rMcfzeZQf7zxsi/4mUfOs9+jdw0rbXUx9mSSNF/8ASViT/wA3HyoDZKUpQClKUApSlAeG6V879kurh/MMtmW2PfwnzDGPLofjhD9pr6Jr557ZbN+H8bhvomI73RICBjDw6EdR5HKhSfzznrQH0NSvRY3izRJIhBR1VlIOQQwBByOuxr30ApSlAKjePcuW97EYrmJZFIONQ3XPmjdVPvFSVKAyu/4RxHgyF7XTf2kYLLHcZNxb9c924GWQADp7/COppvMXaD/KvCL2R4Eimja1i1ISdUckrOASd9miY/re819A3UbMjBGCsVIViNQUkbErkZwcHGR061lFv2BBLOS3F4cyyxSO/c9ViWQLHo738qQtnPyoCB5gleTmrh69RGtppHoNJkb97GvVwGMPznKfyZbg/NYWH760qTs2B4zHxLvv6NAoh7vriFoge817e1n2fKuDgPZJ9W4s/EDday7Tt3fdacd7q2194emr8nfHlQFO5LuNXN96T5G6H7LKv+lZ7bTkcIvQPx7y0B/Yu2/eoreuC9ln1filzf8A1jV3/f8A4Pu8aO9YN7es5xjHQZ91Qdh2CiO3eA3hYPcQTE9zj+hWZdGO9Ptd718tPQ5oDPL7jtvY8Uv/AKzapdMuiKBJACiNEFTU2fIKo6Df3da7+C8m8S4+6y3BFvZqfAApSNR0ItrcbfM7ZzuTkVqvD+ya1F5Pd3KrcSSzGWPWpAiychdOsq+/mR5dKu4XFAVrk/s9tOGIBBHmTfVNIA0rZ8tWBge4Y+dWalKAUpSgFKUoDM/pA8REfCRH5zTRrjPkoaQnHmPAB8xUj2JcO7rgsGc5kMkhBGPadgPkVUH51mnbfxD69xe3s4WDGPRFgHpLNIAV3wMgaB193lW/2VsIokjX2UVVXG2ygAbDpsKA99KUoBSlKArfNnOa2IQFDI75KrnAAHmW+JHl61Wf9r7f7sP+If8Atr0drn9PB+jf+MVwci8pRXolMrOAmgAIQM6tROSQfStaU5OeEdjaWNjCwjc3Ec99X3wtEzQ+UeZDfQtIU0YcpgHOcKjZzgflfdU2yA9QDVdgituEWzZdghfI1eJixUDCgAeSVXX7XBk4tjjyzIAfmNBx9pq3nUUuZ6nify+pd1Jzs6b5M6dPyzRQK81Bct83w3oITKyAZZG6j3g9GHwrv4vxeO2iMsraVHuJJJ6AAdTWaaayaE7erCp4Uovm7dTupWdy9rihjpt2K52JkCkj3qEOPtNWPlrnKG9GFykgGWjbrj1U9GH/APYrFTi3hM2q/C7uhDxKkGl9H84eh38c49FZorzEhWbSMAtuQT0HuU1z8E5ugvHZIWYlRqOVK7Zx51SO0nmZZc2oRg0UoJY40nCMNt8/jj7KguTeZVsZXkdGcMmnCkZ9oN5/A1W6uJY6Hr0OB+JZOrh+J0WVh9vt6m3Ur8odq/Rq85cz/i3ag0E8kQgDd27LnXjODjONO1Xfhl530McmMa0VsdcalBxn51iHNf8AXrn9LJ/Ea2flz+p2/wChi/gWqacm5NM6Ti1lQt7ajOnHDlvq+3qyRpXHxPikdvEZJW0oMZO56nAAA3JzVHm7XVDHRbsV8iZApPxXQcfbVkpKO55Ftw+4uk3RhlL2X3ZolKrfLPO8N4dAzHLgnu23yB1Kt0b7j7qnL69SGNpJGCooyxPl9lSmmsopq29WjU8KcWpdv13+h0V4NZ/ddraByI4GdR0ZnCE/q6Tj7al+Wuf4btghBilOcKxyG8/C4AycDoQPnWKnFvGTbq8KvKVPxJ03j6fhPJHce7SmtrmSHuA2ggatZGcqrdNPvq2cD4kbi3imI094obTnOM+Wax/nn/zG4/OX/Ljq/cH5mgs+HWhmYgtGNIUamOM5OB5f+4quM3zPJ69/w2nG0oSoQ88sbZefLl6FxpUBwXnW3u5O7h7wnBJJQgAe8/dUTx3tNhgkKRIZipIcg6VBBxgEg6t/QY99W88cZyeJDh1zOp4Sg+bfG3znYufdD0FfqqBYdrMbOBNCY182VtePiukHHwz8Kt3EuNRw27Tk5RQDld9WSAoHxJA+dFNPYivYXNCcYVINN7dc/BI0rOf9rw/3Y/8AF/8A11YeUecPr5k/Bd33ej8fVnXr/ujHs/fUKpFvCLq/Cru3pupUhhL1Xt0ZZaV+cUrM8wzDtc/p4P0b/wAYqm2NnLIfwSSNgjOgMcemdPzq5drZ/Dwfo3/jFdvZF7Fx+dH+561HHmqYO/t7p2vCYVUs46e8sFf7SL5pL0oT4YlRVHoSoZvnk/cK9/Bezp7i1E3ehSwJRSudgSPE2ds4zsPOvf2n8BdJ/rKjMcgUMR+KwGN/cQBv65quWfNN1DF3MczLH5DbbckgEjIySelRLCk+YutvFq2NL+DkotYzn03W2+T0cFvWguYpFOCrrn4E4Ye/YkVYu0/iJkve730xKoA9Sw1E/YVHy99RXKHAnurpAo8CMrSN5BQc4+JxgD3/AGWTtS4AwlFyq5RgqyEeTDOkn3FcDPTwj1ok+RmdarQXEqSljm5Wvq8Y+2fn1I/l7s8e6t++71U1Z7sEFs4Yrljnw7g+Rqs2V21vMsinxRsCPfg7j4HcfOuyw5nuYIzHFMyoc7DB0566SRlflXnlvgT3lwsaglcgyt+Smdzn1O+Kx0eOXc2V4tLxp3Uk6fT0WuU9P2T3PvAAo+uCQnv3XCFcaQ0Zb2s7+z6edQ/KfLX16V4zJ3elNWQurO4XGMj1q89qkWLKIKMBZl6dAO6lA/0FZ5wLj8tnKZIdOSCpDAkEZz0BB6j1rOaSnqaHDqtxX4e3Tl59UttMbdOxvUY2r9GovlniLXFpFK+Azrk6QQOpGwJPp61KGtpPJwFSDpzcJbptfBg/Nf8AXrn9LJ/Ea2flz+p2/wChi/gWsY5sH8+uP0r/AL81K8P7SbqGJI1ERCKFBZWJwBgZIcD7q1YTUZPJ3fEbCre2tFUsaJfhHZ2q8QLXSRZOmNM48iznr9iiuPljkF7yAy94IxlggK6tRXG5wdhnI9dq7+e+GSTw296FzqiTvtI9knBU4ydvER7sD1qs8M5lubdCkMrIpzkbHBPUrkHB+FJY58yLbSNWVhCFpJRktHnun5uj667bHJqa3myDh4nOCPykY9PmKunajxYuYIug0d4wHQltgPlhv2vdVT4NweS8nEaAsWOXY/ignxMx+fzNX3tM5cZoo5o1J7ldL+Z0baT78HOfzs+VRFPkeDO7q0I31uqjXN5vutPl5wVjlTkhr2N5O8EaqSo21EtgHpkYHiH21aeWuzJY213Ta2ByqKSFGOhLdWPQ+Q286oPCuYri2DCGVkDdRsRnGM4I2OB191WfknnS575YGDXCufM5dNtyGJxpHU5+3yqYOGmVqU8Sp8R5akqdRcnbZ4664/6QvPI/8RuPzl/y46iQzzNGhbJAWOPUQAozgDJwAMsTv61K88/+Y3H5y/5aVw3/AAWSGKGU7pMoZWAOx81J/KGM+8fPFcv7mepayireinu4rHvymjcR4cOF8KkER/CtpDPjdmYhScHoAuQPTbzrMbCFGkCySd2n4zaWbGPIKu5J+Q99XjgfGv5Rs3sZnxPp/Au2+vRhhkn8bbB8yDnqDVHGuCXxLh423VxkZB6Mp6jas6jTw1saHC6dSmq1Oq/6mct901o1lbb4007Htmsw7kW3eyqPPu8N+yhbA6datkMVxHwa5injZFQxGLWMEhplLAe4EA/r1D2/PVzHMJE0KoGO6RdMRH5gPtb9c56VfebrtpeDu7xmJmERKE5K/ho6mKWG0U39avGpQp1IrDnHXOXlNei+yxqZjwLhn1m5jh1adZwWxnGAT0+Va3ypygtgZNMhfvNGcqBjTr9D/e+6sy5GP/iEH5x/gatit+KI8hjB8QBODtkA4yPUdPtFZ0UtzR/9HcVlNUYvyOKbWPV/o7KV4pWwcYRvFuWbe6ZWnj1lQQvicYBOT7LCvZwjl+C1DCBNGrGrdjnGce0T6mpGlRhZybH8RVcPD5ny9svHxseua3V1KsAykEEEZBB6gg9agX7PrEnPcAe4NIB9gbA+VWKlGk9xSuKtH/HJx9m1+DlsOGRwJoiRUXrhRjf1PqfjXRJGGBBAIOxB3BB6giv1SpK3JyfM3qV2TkCxZsmBRnyVnUfJQ2B8qluG8Jit00QoqL6KOpxjJPUn3neuyuDjNrNJCywTGGTqj6VcZwcBlYHK5xnGDt1qEkti2pc1qkeWc212bbPffWCTIUlUOh6qwyD6VCf7PLH+wH7cv/fWV8wc/ce4TP8AztY5YQcBxEBFID6SIAVb3HfPkRV75S7ZLG+Gln+ry/2cxVQevsyey3T3H3UaT3FK5rUlinNpeja/BdLCxSGNY4xpRRhRucD4kk10UzSpKW3JtvcheIcnWs8hklhDOerZdc4230sM7Vzf7PbH+wH7cv8A31Y6VjyrsbMb25ilGNSSS/2f7PRBZqkaxqMIqhQOuwGAN+u1QsvIFixyYAPcrOo/ZVgB8qsNKlpPcrp3FWk24Tab3w2snFwzg0NsumFFQdTjqfezHcn4muwivNM1JXKUptyk8sgLrkSykYs0CgnrpLIPsVgPuru4Xy/BbAiCNUz1IySfixJJG5865eY+crSwUm5mRDjITIMjdcaYxuc6SPTPnWQcZ7cr28nEPCYCB5Zj72Z+u5QZVF3Hr8ahJLUundVpx5JTbXbLx8GvX3JVpNI0kkWp2OWOqQZ2A6BgOgFdUnL0DW4t2jBiAACkttg5GGzqz86hOSrDiYXvOJXCMxA0wxIgC5znXIFySNvZ267mrbTCIdzWainN6bavTG2OxX4uQrNGDLDhlIIIeXIIOQR466+K8r21yQZoldh+NurY321KQSNztUrSnKuxk7uu5KbqSyuuXkgrHkmzhcOkK6huCxZ8HOQQGJAPv61J8Q4bHPG0cq6kbGoZIzghhuCD1APyrqpRJLQwncVZyU5Sba2eXlezIOx5LtIZFkji0uu6nVIcbY6FiOhqSh4aiOXUeI53yTjJGcAnA6Dp6D0FdVKJJbCpcVajzOTfTVtnjTSvNKkpFKUoBSlKAUpSgFKUoD0XdmkqFJEV0PtK4DKfip2NZZzb9H22m1vZObeQ7iNiWhztt0LIOvTPXpgYrWqUB859xzBwRgR3ssKg7DVcQaRgeIdYxhR+Tt86m+C/SNYNpvbXoN2gOGyB/ZSHzP8AeGPfW4YqN4tyza3Slbi3ilB/LQE/ENjIO3kaApdn2+8LcAs00ZPUPGTj4lCw+yp217U+FyDK3sI/PJT7nAqKu+w3hTkEQNHj+zlk3+Oomo6f6PPDmPhe5T3B1P8AEhoC2S9pPDVG99b/ACkVvuXNQ1124cKQ4E7P+ZHIR9pUVEL9HXh/nLdH9eP/AOOu6HsE4WCMpK2PJpWwfjpx91AQnGPpHWyqfq1vLI+cAy6Y0+PhZmPwwPjVXuO0jjnFT3dnE8akje2RhjPTXcNkKNjvlfnWy8H7OeHWraobSIN+UwMjD4NIWI+VWJUAGBsPIenwoDCuX+wC4nkMvE7jGcZWNzJKxBxh5HBAGkbY1dR0xitf5c5RtbCPRawrHsAzYy7+93O7VMUoBSlKAUpSgFKUoBSlKAUpSgFKUoBSlKAUpSgFKUoBSlKAUpSgFKUoBSlKAUpSgFKUoBSlKAUpSgFKUoBSlKAUpSgFKUoBSlKAUpSgFKUoBSlKAUpSgFKUoBSlKAUpSgFKUoBSlKAUpSgFKUoBSlKAUpSgP//Z"/>
          <p:cNvSpPr>
            <a:spLocks noChangeAspect="1" noChangeArrowheads="1"/>
          </p:cNvSpPr>
          <p:nvPr/>
        </p:nvSpPr>
        <p:spPr bwMode="auto">
          <a:xfrm>
            <a:off x="0" y="-1028700"/>
            <a:ext cx="2143125" cy="214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5030" name="AutoShape 10" descr="data:image/jpeg;base64,/9j/4AAQSkZJRgABAQAAAQABAAD/2wCEAAkGBhQREBUUEhQWFRUWGBUaFBcVGRgYGBUaGBUVFxgYGBQYHCceGRokGhYWHy8sIycpLCwsFR4xNTAqNSYrLCkBCQoKDgwOGA8PGjAkHyQsLC40LjQpKiwyLi8pMS0tKi4sKSwqNC0sLiwsLzIsLDUsKTEqKS8vLSwsLDYvKSwvLP/AABEIAOEA4QMBIgACEQEDEQH/xAAcAAEAAwEAAwEAAAAAAAAAAAAABQYHBAEDCAL/xABNEAACAQMCAwUEBAkJBgUFAAABAgMABBESIQUGMQcTIkFRMmFxgQgUkaEjQlJyc4KSsbIVJDM0U2Kis8EXVJOjwtIlNYPR00NjdOPw/8QAGgEBAAIDAQAAAAAAAAAAAAAAAAEDAgQGBf/EADARAAIBAwIEBQQABwEAAAAAAAABAgMEESExBRJBURMiYXGRgaGx0RQVIzIzYsEG/9oADAMBAAIRAxEAPwDcaUpQClKUApSlAKUpQClKUApSlAKUpQClKUApSlAKUpQClKUApSlAKUpQClKUApSlAKUpQClKUApSlAKUpQClfl3AGTsB1PpWd82duVjZ6kiJupQcFYzhBvvmYgjb+6G/9gNGzXPeX8cKF5ZEjUYyzsFUZ2GWYgV8+S9pXG+LSFLFGjXG626jbHm1w+6ny2Za6LDsEv7t2kvrlY2bcsSZ5GPvOoAfteXSgNcvO03hkRIa9gyOultf3pkGoW67deFJ0md/zIpP3sBUJY/RxtFIMtxPJ6hdCAn7CQKsEPYfwlRg2xY+rTT5/wALgfdQHJF2+cLJ3eZfeYm/6Sal7btd4U4yLyMfnh0P2MormPYnwj/dP+dcf/LUPxH6PXD5N4nnhPoHDj7HBP30Bf8Ah3MlrcHEFxDKcZxHIjHHrpByKkc1hfFvo2sAxtrsMfxUmjxn3GRWOP2ah5F5i4OuotM0K4HVbmMDrjB1FBnbPh9M0B9G0rGeV/pExuwS+h7r/wC7Fllzt7UZGoDr0J+FaxwjjUN3EstvIskbDIZT8tx1ByCMHfagO6lBSgFKUoBSlKAUpSgFKUoBSlKAUpSgFKUoBVW507RrThiHvnDS4ykCHMjZ6Z/IX3ttt5naq92q9rK8OUwWxD3bDfoywA+b7+3jcL8zsQGpfIXZLPxKQX3FGfQ51BHJ72bGMF9Q8EZGw8yOmBg0BF3vG+L8ySGOBGW21jwrhYo/L8JMQC5AbJHn5L0rQOU+wSztwGuybqTIODlYl92gHLfrHfbYVpPD+HR28axwosca7KqAKB8hXTQHrgtlRQqKqqOgUAAfADav3ivNKAUpXjNAeaV41V5oBTFKUBUua+y+x4gS0sWiXGBLF4HGxxnHhbGfxgegrH+LdmnFOCS/WbGRpUUHLwr4gOmJICTqGDnYMB7q+ja8GgMr7P8AtyhutMN7pgn6B84ilPxP9G3uY49DuBWqA5rMu0bsXgvVaa0VYbkAnCgLHMfRwPZbr4h6756il8hdqVxwqc2PEw5iRtAZss8GMKB18UWBtjO24yNqA+gqV6ra5WRA8bB1YAqykFWB6EMNiPhXtoBSlKAUpSgFKUoBSlKAUpSgFZv2tdqQ4dH3FuQbuQbeYhRgw7w+RfI2B+J2GDZefebk4bZSTsRrxphQ9XkOyjGdwPaPuU1j/ZPyO/FbqTiN+DJGJCwDZxNLqB6EYMS9MdOi9ARQEp2T9lLSMOIcRBZmPeRRybly3i76XO5JJyAfia27FBXmgFKUoBSlKAqfaB2hw8JhVpFMkkmruoxtqK4yWb8VRqG+DWB8T7auKSs+m47pXJwkaRjQD0CuV17eurNQfPPGZrviFxJOCr94y6Dn8GEOkIAemAPtzUDigLNZ9pvE4nDrezkjydzIp2xuj5U/MVs/Yt2j3PEWuIroh2QK6OqhcAnSUIUY6jI89z18sj4D2WXdzbm4cxWsA04kumMSuDndPCcjbqcZyMZrR/o8zpG17bAI7I6t3ybiRQSmAxwdORqXb8c0BtVKUoBSlKAYqm9o3ZxDxWHfCXCA9zLj4nQ/qhPzGcjzBuVKA+eezfnybg123D+I5SENp8W/1ZjltS46xvqDHG2+odTn6FVsjNUDtb7OBxO37yEAXUQJjPTvF2LRsQN+mV9CfLJqtdhfaEZF/k+5Y95GCYGdt2UYHc776l3x/dGPxaA2WlKUApSlAKUpQClKUArwTXmqT2vc1Gw4ZI0bBZZcRxdM+L22APomr4EigMn5z4q/MHG47SByYEcpHjYYUappfjhWx7lX1r6B4PwmO1gjgiGEjVVUeeAOpx1J6n3k1l30e+VO6tpL1/an8EYwRpjRjqOc76mHp/8AT671r1AKUpQClKUApSlAfLnbfwruOMzEAgTKko2wDldLYx18SN881b+QOz+DilukjSBrcRqrIqiOW3uUaMkI+gho2QnOSc6h8rv2vckJxCxaTOma2V3jbywAGdG26ELt6ED31C8o3f8AIXLsdwYZJmlPfMsfRe9XKM7b6E0JGCcHBYbb0Bo/GOBQXcJiuI1ljJB0t6joQRuCPdWb8O4NBacYhtuEd2hAeS9YztKTGrhWgeHxFXBZSpJBG/vzEQ/SWBYB7EhfMrPqI+CmIA/aKl+zm/8Ar3F576O1ljt3g0Ru6qiq5kVpFXRtIXJLltznOaA1gUoKUApSlAKUpQHgivn7tl5Yfht/FxK1wivIrHGfBOpLkkAYw4Geu5D19BVD82cvrfWc1s2PwiEKT+K/VG+TAGgPxybzMnELKK4QjxqNYH4kg2dSPLB+4g+dTdYH2D8de1v5+HTDGsuQPyZYtmUe4qG/YFb5QClKUApSlAKUpQCvnvtz4i17xaCxiDExBVwBnMk+htgNz4O7+w19Bsdq+d+zOX+UOZpLoA6QZ5hv7IOY0zn3ONqA33hHDEtoI4YwFSNFVQPRRjPxPX512UpQClKUArxmo3mDmOCxhM1zII0Hrklj6Ko3Y/Csk5t7TZpvanPDrcgsiR6ZL64XK6fCDi2B33Zl8/aG1AaTzP2g2lh4ZH1zbBYIfwkzEgEDQD4djnxYrKeK/SRmP9WtI098zNJn9VNH76qMyOtsZABw+1lR1G5kub0jIKs2zlWYDV7EQwSATse7gHJcU1zw9JE8DWUlzLjOZmDzkKWG4GFjXbyB8zmgIvm/tTvuJRaJiqRZGpIVZVY9QHJYlumQCcZGfKpjkntrntIxb3S/WLcLoXp3qDGAAx2dQMjDb9MEAYqv3PCu74JHP5z3jbeQWKIgbeXid/lipLmyztrfh3DCluhea3neVssCzMFRHLA5Og5YDp6jBoCh1ofK/bhf2mhJCtzEoC6ZR48D0lHiz5eLV8K6e0bgkcFzwmJY1ANtbCQAY1kyHVqxuScn371xLyJEnE+JW8pPd2kF1NGAcatIQxBiPdIucea+lAazyz27WN02ibVav5GXSYzuBjvB0O/mAPfWiw3CuoZGDKRkMpBBHqCNiK+ZYZLl57CXh7rFPNZaWZmRe/aGSWORX7zwuWEabNkHC+ldfD+YZ7edokc8KvQVzERizuG6ZaJwVt2KkYYZRsg+D2qA+k6VQeUO1NZ5fql9H9UvQcCNs6Jdsho3O2++Bkg7EE5q/UApSlAKUpQHzt2w2P8AJvG4LyEae8KT+ZzJG/j222IC5Gd9R9a+hLacOiuvRgCPgRkfcazP6QvCxJwtJcDVDMhzjfS4ZCAfLcof1RU12M8TM/BrYsSWjDxkn+45Cge4JpHyoC70pSgFKUoBSlKAjOaLtorG5kQ4ZIJmU+hWNiD9oFZH9GqzOm9lI2PcID55HeMw/wASVo/afKV4Pekf2Lj7cA/cao/0bv6ndfpl/wAsUBsFKUoBVH5k7QSLg2PD4jc3nRzuIrbOPHK+MHGQcD0IyDtV4rKux4qt7xZJF03P1p2bPXQXfGGO5GrJ/WB86AofaOtp3Uhur9r3iepVHdKRDAATqjxsgAIYddWSPD1NV7k3ikMKgQ2b3PEWYiAt4oo9sh1hUZdxgnxbDGfKvz2rcBa04tcKVwsjmWPzBSQltv1tQ+INWPsn7JxxGM3MtwUhy6aIWxKxwVdXJGEUq2PMkMeg6gcd6IEWea/c8Sv3RspGzNFaeQeWdPC2CQNKeEYx5g1YI7jumsGG2OB3B28sRTNn45FaVzVylbwcGvIbaJIV7iQnQACdCl/E3Vuh6k9ayji0wENmwPTgco2PmweMj/ERQEXzHb93yzw31ee4f73H+grr7SUSK24RGVD5sVxuw0F+7IcaTuQdXXauHnSb/wAC4MnqLtvslA/1rt7WOHsL/h1seq2lnH8+8dD94FATna1PGvMHDlfaOJbcvjc6RO7HYb9FqIvuMBuIcWudxHcWtxHASPaJ7kKCoyVysbHfArm7db4jjbFcZjjhAyARnBbowIPtVSZOZZ2BUlMEEHEUI2O3UJkUBO3/AAtmsOGnSzjReyOinDCKOYl2yc42Rz08s4qeu+DzwWyNIo4rwoAskkZ0y2+ckgOpLwsCQWVtSfA7jpeEJBYAHGOD8Rc/+pHcED5s1Sj9lvEeHRLc8JuXYsivLDsCx0hvChBSUbnZgD5DOaAzLjvFfwUdvFcNPbqNcYljCSQMxOqPVucDr4WKnUDgHONc7Ku2dGWO0v20uoCxzsfC4HRZSfZbGBq6Hzwetd7DeVbee8nN4EaWIELbyruDqAaRkYYOnZcb4LbgeGobtb7Ozw257yIfzWZm7rGT3ZwCY2Pl1OnfcD3GgPqEGvNZH2Hdo/1mP6lcPmaMZhZ2y0qbkrvuWQY9SV/NNa5QClKUBW+0ixWbhF6rDIEErj86NTIv+JBVD+jhxQtaXMB6RSqy/CVSMfbET861TjMAktpkPRo5FPwKMD++sZ+jS+98P/xj/nj/AFoDcqUpQClKUApSlAVbtRQng97j+xY/YQT+6qT9G4/zO6/Tr/lrWkc3Wxk4fdIBqLW84A9SYmwPtxWVfRqvDovYvIGBx+sJFP8AAtAbZSlKAVl3aTwK5s7teMWO7RoFu4sgCSJdySSdxpCqQBtoVhuK1GvBFAZLzJwq35n4etxaMFuodtLE5UlctC/QYJwVbGMj3nGddmPOL8Fv3iulZIpCEuVYHVEV1aX0jfbJzjOQTjO1a3zB2VaZzecKlNpdatTLn8BL1JVkA21NjPVevhzvVa41c23FALbjEP8AJ3EFUiKdhpicgjGmRj403HhY7ZOGBoDXOI2y3NtImcpLE65G+VdCMg+exzXzDHd67CPTnMVjco3zvw32aZVFWrlbnC94Dctw65he5TrAke7EsRpaFiPFGwDbY2OehDCoziXAJLW0uRLE0JNlI4RipZBLxOARhtO2dC/d8qA88y8PDWPL8R2DrID8JJ4D/wBVTHaXch+arJMew9ih9+bjX+6Svbzlafzjl22HtLHBn1GWtwc/8M/fUZxUfWOclHXTcw/8mND/ANFAfrm3lT+U+abi27wx6lQ69IbTptYm3XIyPLr51QuC8rtcJdyBwq2kRkbIyXOrSqgZ2zvv5Y862HgjhudLojyjI+Ygt1P7jWf8u4Tg/GZPxi1rGPg07Ej7vuoD28aEjz8Lt0JDS2VpBg9CJp3Ug+gII+VfTigAY6AdPcK+frCa3PHreS6dIobOzs3JchRqW2iaMAYyx1Sg4G/hPpVmv+ZX4wrM0hsODrgSSyHu5bw5bKI24C+Eggb9evQAfvjMQ4zxWM8OUR/VHUz8RUYYldQMEYI0y7Y3Oob/AJPtxnbb2mW7wycPgCzMxXvpM+GIq6sFTbxPsQSDgdNznFb5s7UWnRbDg8TQW2NAVEIll65ChckKfP8AGbJyd8VJck/R/ll0S8QbukIz3KH8KfQOxBVPXbJ38j0AhuxTkue5vo7pcpDbuGZznxsB/Rr6k+fkB8QD9Miuaw4dHBGsUKKkaDCqoAAHXYD37/OumgFKUoDk4vMEt5WboschPwCEmsX+jTH4r5vdbD7e+P8ApWo9od2IuE3rMcfzeZQf7zxsi/4mUfOs9+jdw0rbXUx9mSSNF/8ASViT/wA3HyoDZKUpQClKUApSlAeG6V879kurh/MMtmW2PfwnzDGPLofjhD9pr6Jr557ZbN+H8bhvomI73RICBjDw6EdR5HKhSfzznrQH0NSvRY3izRJIhBR1VlIOQQwBByOuxr30ApSlAKjePcuW97EYrmJZFIONQ3XPmjdVPvFSVKAyu/4RxHgyF7XTf2kYLLHcZNxb9c924GWQADp7/COppvMXaD/KvCL2R4Eimja1i1ISdUckrOASd9miY/re819A3UbMjBGCsVIViNQUkbErkZwcHGR061lFv2BBLOS3F4cyyxSO/c9ViWQLHo738qQtnPyoCB5gleTmrh69RGtppHoNJkb97GvVwGMPznKfyZbg/NYWH760qTs2B4zHxLvv6NAoh7vriFoge817e1n2fKuDgPZJ9W4s/EDday7Tt3fdacd7q2194emr8nfHlQFO5LuNXN96T5G6H7LKv+lZ7bTkcIvQPx7y0B/Yu2/eoreuC9ln1filzf8A1jV3/f8A4Pu8aO9YN7es5xjHQZ91Qdh2CiO3eA3hYPcQTE9zj+hWZdGO9Ptd718tPQ5oDPL7jtvY8Uv/AKzapdMuiKBJACiNEFTU2fIKo6Df3da7+C8m8S4+6y3BFvZqfAApSNR0ItrcbfM7ZzuTkVqvD+ya1F5Pd3KrcSSzGWPWpAiychdOsq+/mR5dKu4XFAVrk/s9tOGIBBHmTfVNIA0rZ8tWBge4Y+dWalKAUpSgFKUoDM/pA8REfCRH5zTRrjPkoaQnHmPAB8xUj2JcO7rgsGc5kMkhBGPadgPkVUH51mnbfxD69xe3s4WDGPRFgHpLNIAV3wMgaB193lW/2VsIokjX2UVVXG2ygAbDpsKA99KUoBSlKArfNnOa2IQFDI75KrnAAHmW+JHl61Wf9r7f7sP+If8Atr0drn9PB+jf+MVwci8pRXolMrOAmgAIQM6tROSQfStaU5OeEdjaWNjCwjc3Ec99X3wtEzQ+UeZDfQtIU0YcpgHOcKjZzgflfdU2yA9QDVdgituEWzZdghfI1eJixUDCgAeSVXX7XBk4tjjyzIAfmNBx9pq3nUUuZ6nify+pd1Jzs6b5M6dPyzRQK81Bct83w3oITKyAZZG6j3g9GHwrv4vxeO2iMsraVHuJJJ6AAdTWaaayaE7erCp4Uovm7dTupWdy9rihjpt2K52JkCkj3qEOPtNWPlrnKG9GFykgGWjbrj1U9GH/APYrFTi3hM2q/C7uhDxKkGl9H84eh38c49FZorzEhWbSMAtuQT0HuU1z8E5ugvHZIWYlRqOVK7Zx51SO0nmZZc2oRg0UoJY40nCMNt8/jj7KguTeZVsZXkdGcMmnCkZ9oN5/A1W6uJY6Hr0OB+JZOrh+J0WVh9vt6m3Ur8odq/Rq85cz/i3ag0E8kQgDd27LnXjODjONO1Xfhl530McmMa0VsdcalBxn51iHNf8AXrn9LJ/Ea2flz+p2/wChi/gWqacm5NM6Ti1lQt7ajOnHDlvq+3qyRpXHxPikdvEZJW0oMZO56nAAA3JzVHm7XVDHRbsV8iZApPxXQcfbVkpKO55Ftw+4uk3RhlL2X3ZolKrfLPO8N4dAzHLgnu23yB1Kt0b7j7qnL69SGNpJGCooyxPl9lSmmsopq29WjU8KcWpdv13+h0V4NZ/ddraByI4GdR0ZnCE/q6Tj7al+Wuf4btghBilOcKxyG8/C4AycDoQPnWKnFvGTbq8KvKVPxJ03j6fhPJHce7SmtrmSHuA2ggatZGcqrdNPvq2cD4kbi3imI094obTnOM+Wax/nn/zG4/OX/Ljq/cH5mgs+HWhmYgtGNIUamOM5OB5f+4quM3zPJ69/w2nG0oSoQ88sbZefLl6FxpUBwXnW3u5O7h7wnBJJQgAe8/dUTx3tNhgkKRIZipIcg6VBBxgEg6t/QY99W88cZyeJDh1zOp4Sg+bfG3znYufdD0FfqqBYdrMbOBNCY182VtePiukHHwz8Kt3EuNRw27Tk5RQDld9WSAoHxJA+dFNPYivYXNCcYVINN7dc/BI0rOf9rw/3Y/8AF/8A11YeUecPr5k/Bd33ej8fVnXr/ujHs/fUKpFvCLq/Cru3pupUhhL1Xt0ZZaV+cUrM8wzDtc/p4P0b/wAYqm2NnLIfwSSNgjOgMcemdPzq5drZ/Dwfo3/jFdvZF7Fx+dH+561HHmqYO/t7p2vCYVUs46e8sFf7SL5pL0oT4YlRVHoSoZvnk/cK9/Bezp7i1E3ehSwJRSudgSPE2ds4zsPOvf2n8BdJ/rKjMcgUMR+KwGN/cQBv65quWfNN1DF3MczLH5DbbckgEjIySelRLCk+YutvFq2NL+DkotYzn03W2+T0cFvWguYpFOCrrn4E4Ye/YkVYu0/iJkve730xKoA9Sw1E/YVHy99RXKHAnurpAo8CMrSN5BQc4+JxgD3/AGWTtS4AwlFyq5RgqyEeTDOkn3FcDPTwj1ok+RmdarQXEqSljm5Wvq8Y+2fn1I/l7s8e6t++71U1Z7sEFs4Yrljnw7g+Rqs2V21vMsinxRsCPfg7j4HcfOuyw5nuYIzHFMyoc7DB0566SRlflXnlvgT3lwsaglcgyt+Smdzn1O+Kx0eOXc2V4tLxp3Uk6fT0WuU9P2T3PvAAo+uCQnv3XCFcaQ0Zb2s7+z6edQ/KfLX16V4zJ3elNWQurO4XGMj1q89qkWLKIKMBZl6dAO6lA/0FZ5wLj8tnKZIdOSCpDAkEZz0BB6j1rOaSnqaHDqtxX4e3Tl59UttMbdOxvUY2r9GovlniLXFpFK+Azrk6QQOpGwJPp61KGtpPJwFSDpzcJbptfBg/Nf8AXrn9LJ/Ea2flz+p2/wChi/gWsY5sH8+uP0r/AL81K8P7SbqGJI1ERCKFBZWJwBgZIcD7q1YTUZPJ3fEbCre2tFUsaJfhHZ2q8QLXSRZOmNM48iznr9iiuPljkF7yAy94IxlggK6tRXG5wdhnI9dq7+e+GSTw296FzqiTvtI9knBU4ydvER7sD1qs8M5lubdCkMrIpzkbHBPUrkHB+FJY58yLbSNWVhCFpJRktHnun5uj667bHJqa3myDh4nOCPykY9PmKunajxYuYIug0d4wHQltgPlhv2vdVT4NweS8nEaAsWOXY/ignxMx+fzNX3tM5cZoo5o1J7ldL+Z0baT78HOfzs+VRFPkeDO7q0I31uqjXN5vutPl5wVjlTkhr2N5O8EaqSo21EtgHpkYHiH21aeWuzJY213Ta2ByqKSFGOhLdWPQ+Q286oPCuYri2DCGVkDdRsRnGM4I2OB191WfknnS575YGDXCufM5dNtyGJxpHU5+3yqYOGmVqU8Sp8R5akqdRcnbZ4664/6QvPI/8RuPzl/y46iQzzNGhbJAWOPUQAozgDJwAMsTv61K88/+Y3H5y/5aVw3/AAWSGKGU7pMoZWAOx81J/KGM+8fPFcv7mepayireinu4rHvymjcR4cOF8KkER/CtpDPjdmYhScHoAuQPTbzrMbCFGkCySd2n4zaWbGPIKu5J+Q99XjgfGv5Rs3sZnxPp/Au2+vRhhkn8bbB8yDnqDVHGuCXxLh423VxkZB6Mp6jas6jTw1saHC6dSmq1Oq/6mct901o1lbb4007Htmsw7kW3eyqPPu8N+yhbA6datkMVxHwa5injZFQxGLWMEhplLAe4EA/r1D2/PVzHMJE0KoGO6RdMRH5gPtb9c56VfebrtpeDu7xmJmERKE5K/ho6mKWG0U39avGpQp1IrDnHXOXlNei+yxqZjwLhn1m5jh1adZwWxnGAT0+Va3ypygtgZNMhfvNGcqBjTr9D/e+6sy5GP/iEH5x/gatit+KI8hjB8QBODtkA4yPUdPtFZ0UtzR/9HcVlNUYvyOKbWPV/o7KV4pWwcYRvFuWbe6ZWnj1lQQvicYBOT7LCvZwjl+C1DCBNGrGrdjnGce0T6mpGlRhZybH8RVcPD5ny9svHxseua3V1KsAykEEEZBB6gg9agX7PrEnPcAe4NIB9gbA+VWKlGk9xSuKtH/HJx9m1+DlsOGRwJoiRUXrhRjf1PqfjXRJGGBBAIOxB3BB6giv1SpK3JyfM3qV2TkCxZsmBRnyVnUfJQ2B8qluG8Jit00QoqL6KOpxjJPUn3neuyuDjNrNJCywTGGTqj6VcZwcBlYHK5xnGDt1qEkti2pc1qkeWc212bbPffWCTIUlUOh6qwyD6VCf7PLH+wH7cv/fWV8wc/ce4TP8AztY5YQcBxEBFID6SIAVb3HfPkRV75S7ZLG+Gln+ry/2cxVQevsyey3T3H3UaT3FK5rUlinNpeja/BdLCxSGNY4xpRRhRucD4kk10UzSpKW3JtvcheIcnWs8hklhDOerZdc4230sM7Vzf7PbH+wH7cv8A31Y6VjyrsbMb25ilGNSSS/2f7PRBZqkaxqMIqhQOuwGAN+u1QsvIFixyYAPcrOo/ZVgB8qsNKlpPcrp3FWk24Tab3w2snFwzg0NsumFFQdTjqfezHcn4muwivNM1JXKUptyk8sgLrkSykYs0CgnrpLIPsVgPuru4Xy/BbAiCNUz1IySfixJJG5865eY+crSwUm5mRDjITIMjdcaYxuc6SPTPnWQcZ7cr28nEPCYCB5Zj72Z+u5QZVF3Hr8ahJLUundVpx5JTbXbLx8GvX3JVpNI0kkWp2OWOqQZ2A6BgOgFdUnL0DW4t2jBiAACkttg5GGzqz86hOSrDiYXvOJXCMxA0wxIgC5znXIFySNvZ267mrbTCIdzWainN6bavTG2OxX4uQrNGDLDhlIIIeXIIOQR466+K8r21yQZoldh+NurY321KQSNztUrSnKuxk7uu5KbqSyuuXkgrHkmzhcOkK6huCxZ8HOQQGJAPv61J8Q4bHPG0cq6kbGoZIzghhuCD1APyrqpRJLQwncVZyU5Sba2eXlezIOx5LtIZFkji0uu6nVIcbY6FiOhqSh4aiOXUeI53yTjJGcAnA6Dp6D0FdVKJJbCpcVajzOTfTVtnjTSvNKkpFKUoBSlKAUpSgFKUoD0XdmkqFJEV0PtK4DKfip2NZZzb9H22m1vZObeQ7iNiWhztt0LIOvTPXpgYrWqUB859xzBwRgR3ssKg7DVcQaRgeIdYxhR+Tt86m+C/SNYNpvbXoN2gOGyB/ZSHzP8AeGPfW4YqN4tyza3Slbi3ilB/LQE/ENjIO3kaApdn2+8LcAs00ZPUPGTj4lCw+yp217U+FyDK3sI/PJT7nAqKu+w3hTkEQNHj+zlk3+Oomo6f6PPDmPhe5T3B1P8AEhoC2S9pPDVG99b/ACkVvuXNQ1124cKQ4E7P+ZHIR9pUVEL9HXh/nLdH9eP/AOOu6HsE4WCMpK2PJpWwfjpx91AQnGPpHWyqfq1vLI+cAy6Y0+PhZmPwwPjVXuO0jjnFT3dnE8akje2RhjPTXcNkKNjvlfnWy8H7OeHWraobSIN+UwMjD4NIWI+VWJUAGBsPIenwoDCuX+wC4nkMvE7jGcZWNzJKxBxh5HBAGkbY1dR0xitf5c5RtbCPRawrHsAzYy7+93O7VMUoBSlKAUpSgFKUoBSlKAUpSgFKUoBSlKAUpSgFKUoBSlKAUpSgFKUoBSlKAUpSgFKUoBSlKAUpSgFKUoBSlKAUpSgFKUoBSlKAUpSgFKUoBSlKAUpSgFKUoBSlKAUpSgFKUoBSlKAUpSgFKUoBSlKAUpSgP//Z"/>
          <p:cNvSpPr>
            <a:spLocks noChangeAspect="1" noChangeArrowheads="1"/>
          </p:cNvSpPr>
          <p:nvPr/>
        </p:nvSpPr>
        <p:spPr bwMode="auto">
          <a:xfrm>
            <a:off x="152400" y="-876300"/>
            <a:ext cx="2143125" cy="214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2" name="Subtitle 11"/>
          <p:cNvSpPr>
            <a:spLocks noGrp="1"/>
          </p:cNvSpPr>
          <p:nvPr>
            <p:ph type="subTitle" sz="quarter" idx="1"/>
          </p:nvPr>
        </p:nvSpPr>
        <p:spPr>
          <a:xfrm>
            <a:off x="4572000" y="5426819"/>
            <a:ext cx="4229099" cy="615553"/>
          </a:xfrm>
        </p:spPr>
        <p:txBody>
          <a:bodyPr/>
          <a:lstStyle/>
          <a:p>
            <a:r>
              <a:rPr lang="en-US" altLang="zh-CN" dirty="0" smtClean="0"/>
              <a:t>                                             </a:t>
            </a:r>
          </a:p>
          <a:p>
            <a:pPr algn="r"/>
            <a:r>
              <a:rPr lang="en-US" altLang="zh-CN" dirty="0" smtClean="0"/>
              <a:t>Raphael Madarang</a:t>
            </a:r>
            <a:endParaRPr lang="zh-CN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4572000" y="869325"/>
            <a:ext cx="4229100" cy="1975926"/>
          </a:xfrm>
        </p:spPr>
        <p:txBody>
          <a:bodyPr/>
          <a:lstStyle/>
          <a:p>
            <a:r>
              <a:rPr lang="en-SG" sz="4000" dirty="0">
                <a:solidFill>
                  <a:schemeClr val="tx2"/>
                </a:solidFill>
              </a:rPr>
              <a:t>China </a:t>
            </a:r>
            <a:r>
              <a:rPr lang="en-SG" sz="4000" dirty="0" smtClean="0">
                <a:solidFill>
                  <a:schemeClr val="tx2"/>
                </a:solidFill>
              </a:rPr>
              <a:t>Compulsory </a:t>
            </a:r>
            <a:r>
              <a:rPr lang="en-SG" sz="4000" dirty="0">
                <a:solidFill>
                  <a:schemeClr val="tx2"/>
                </a:solidFill>
              </a:rPr>
              <a:t>C</a:t>
            </a:r>
            <a:r>
              <a:rPr lang="en-SG" sz="4000" dirty="0" smtClean="0">
                <a:solidFill>
                  <a:schemeClr val="tx2"/>
                </a:solidFill>
              </a:rPr>
              <a:t>ertification</a:t>
            </a:r>
            <a:r>
              <a:rPr lang="en-SG" sz="4000" dirty="0" smtClean="0"/>
              <a:t> </a:t>
            </a:r>
            <a:r>
              <a:rPr lang="en-SG" sz="4000" dirty="0">
                <a:solidFill>
                  <a:schemeClr val="tx2"/>
                </a:solidFill>
              </a:rPr>
              <a:t>(CCC) </a:t>
            </a:r>
            <a:r>
              <a:rPr lang="en-SG" sz="2000" dirty="0">
                <a:solidFill>
                  <a:schemeClr val="tx2"/>
                </a:solidFill>
              </a:rPr>
              <a:t>– Rising importance in </a:t>
            </a:r>
            <a:r>
              <a:rPr lang="en-SG" sz="2000" dirty="0" smtClean="0">
                <a:solidFill>
                  <a:schemeClr val="tx2"/>
                </a:solidFill>
              </a:rPr>
              <a:t>trade </a:t>
            </a:r>
            <a:r>
              <a:rPr lang="en-SG" sz="2000" dirty="0">
                <a:solidFill>
                  <a:schemeClr val="tx2"/>
                </a:solidFill>
              </a:rPr>
              <a:t>compliance management and how enterprises should handle it</a:t>
            </a:r>
            <a:endParaRPr lang="en-GB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8831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mmon issues and best practic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57188" y="1219701"/>
            <a:ext cx="8418512" cy="41929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7160" tIns="91440" rIns="137160" bIns="91440">
            <a:noAutofit/>
          </a:bodyPr>
          <a:lstStyle/>
          <a:p>
            <a:pPr marL="0" lvl="1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u="sng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ssues</a:t>
            </a:r>
          </a:p>
          <a:p>
            <a:pPr marL="0" lvl="1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lang="en-IN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US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enalties</a:t>
            </a:r>
          </a:p>
          <a:p>
            <a:pPr marL="742950" lvl="2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US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ine of RMB10,000 for improper use of CCC</a:t>
            </a:r>
          </a:p>
          <a:p>
            <a:pPr marL="742950" lvl="2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US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ine of RMB 30,000 for avoiding, not obtaining a required certification</a:t>
            </a: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lang="en-IN" sz="2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532115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r>
              <a:rPr lang="en-IN" dirty="0"/>
              <a:t>Common issues and best practice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125" y="4581370"/>
            <a:ext cx="8421688" cy="83123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7188" y="1044576"/>
            <a:ext cx="8418512" cy="41929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7160" tIns="91440" rIns="137160" bIns="91440">
            <a:noAutofit/>
          </a:bodyPr>
          <a:lstStyle/>
          <a:p>
            <a:pPr marL="0" lvl="1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u="sng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st practices</a:t>
            </a: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lang="en-IN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etailed </a:t>
            </a:r>
            <a:r>
              <a:rPr lang="en-IN" sz="2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ducts specifications provided at the very beginning of CCC application</a:t>
            </a: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trong 3PL/engineering management of broker resource to support material verification</a:t>
            </a:r>
            <a:endParaRPr lang="en-IN" sz="2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TZ </a:t>
            </a:r>
            <a:r>
              <a:rPr lang="en-IN" sz="2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olution</a:t>
            </a: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turn solution</a:t>
            </a:r>
            <a:endParaRPr lang="en-IN" sz="2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lang="en-IN" sz="2200" dirty="0" smtClean="0">
              <a:solidFill>
                <a:schemeClr val="tx1"/>
              </a:solidFill>
              <a:latin typeface="+mn-lt"/>
            </a:endParaRP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lang="en-IN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0961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r>
              <a:rPr lang="en-US" dirty="0" smtClean="0"/>
              <a:t>APLL at a glanc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50" name="object 2"/>
          <p:cNvSpPr txBox="1"/>
          <p:nvPr/>
        </p:nvSpPr>
        <p:spPr bwMode="gray">
          <a:xfrm>
            <a:off x="876788" y="3584438"/>
            <a:ext cx="1813160" cy="19938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291" eaLnBrk="1" hangingPunct="1"/>
            <a:r>
              <a:rPr lang="en-US" sz="1108" b="1" dirty="0">
                <a:solidFill>
                  <a:srgbClr val="000000"/>
                </a:solidFill>
                <a:latin typeface="Arial"/>
                <a:cs typeface="Gill Sans"/>
              </a:rPr>
              <a:t>Consumer</a:t>
            </a:r>
          </a:p>
        </p:txBody>
      </p:sp>
      <p:grpSp>
        <p:nvGrpSpPr>
          <p:cNvPr id="651" name="Group 650"/>
          <p:cNvGrpSpPr/>
          <p:nvPr/>
        </p:nvGrpSpPr>
        <p:grpSpPr bwMode="gray">
          <a:xfrm>
            <a:off x="455337" y="3533082"/>
            <a:ext cx="366857" cy="366857"/>
            <a:chOff x="7844637" y="3042922"/>
            <a:chExt cx="949960" cy="949958"/>
          </a:xfrm>
        </p:grpSpPr>
        <p:sp>
          <p:nvSpPr>
            <p:cNvPr id="652" name="Oval 651"/>
            <p:cNvSpPr/>
            <p:nvPr/>
          </p:nvSpPr>
          <p:spPr bwMode="gray">
            <a:xfrm>
              <a:off x="7844637" y="3042922"/>
              <a:ext cx="949960" cy="949958"/>
            </a:xfrm>
            <a:prstGeom prst="ellipse">
              <a:avLst/>
            </a:prstGeom>
            <a:solidFill>
              <a:srgbClr val="FFFFFF">
                <a:alpha val="75000"/>
              </a:srgb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38100" dir="2700000" algn="tl" rotWithShape="0">
                <a:prstClr val="black">
                  <a:alpha val="5000"/>
                </a:prstClr>
              </a:outerShdw>
            </a:effectLst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53" name="Oval 652"/>
            <p:cNvSpPr/>
            <p:nvPr/>
          </p:nvSpPr>
          <p:spPr bwMode="gray">
            <a:xfrm>
              <a:off x="7919333" y="3117618"/>
              <a:ext cx="800568" cy="800567"/>
            </a:xfrm>
            <a:prstGeom prst="ellipse">
              <a:avLst/>
            </a:prstGeom>
            <a:solidFill>
              <a:srgbClr val="91B0F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grpSp>
          <p:nvGrpSpPr>
            <p:cNvPr id="654" name="Group 653"/>
            <p:cNvGrpSpPr/>
            <p:nvPr/>
          </p:nvGrpSpPr>
          <p:grpSpPr bwMode="gray">
            <a:xfrm>
              <a:off x="8013437" y="3195347"/>
              <a:ext cx="612360" cy="645108"/>
              <a:chOff x="9996579" y="3416297"/>
              <a:chExt cx="754607" cy="794965"/>
            </a:xfrm>
            <a:solidFill>
              <a:srgbClr val="FFFFFF"/>
            </a:solidFill>
          </p:grpSpPr>
          <p:sp>
            <p:nvSpPr>
              <p:cNvPr id="655" name="Freeform 654"/>
              <p:cNvSpPr>
                <a:spLocks/>
              </p:cNvSpPr>
              <p:nvPr/>
            </p:nvSpPr>
            <p:spPr bwMode="gray">
              <a:xfrm>
                <a:off x="10049037" y="3460687"/>
                <a:ext cx="137202" cy="137202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56" name="Freeform 655"/>
              <p:cNvSpPr>
                <a:spLocks/>
              </p:cNvSpPr>
              <p:nvPr/>
            </p:nvSpPr>
            <p:spPr bwMode="gray">
              <a:xfrm>
                <a:off x="9996579" y="3622101"/>
                <a:ext cx="197731" cy="480208"/>
              </a:xfrm>
              <a:custGeom>
                <a:avLst/>
                <a:gdLst>
                  <a:gd name="T0" fmla="*/ 20 w 74"/>
                  <a:gd name="T1" fmla="*/ 0 h 179"/>
                  <a:gd name="T2" fmla="*/ 20 w 74"/>
                  <a:gd name="T3" fmla="*/ 0 h 179"/>
                  <a:gd name="T4" fmla="*/ 68 w 74"/>
                  <a:gd name="T5" fmla="*/ 0 h 179"/>
                  <a:gd name="T6" fmla="*/ 62 w 74"/>
                  <a:gd name="T7" fmla="*/ 19 h 179"/>
                  <a:gd name="T8" fmla="*/ 62 w 74"/>
                  <a:gd name="T9" fmla="*/ 90 h 179"/>
                  <a:gd name="T10" fmla="*/ 74 w 74"/>
                  <a:gd name="T11" fmla="*/ 114 h 179"/>
                  <a:gd name="T12" fmla="*/ 74 w 74"/>
                  <a:gd name="T13" fmla="*/ 164 h 179"/>
                  <a:gd name="T14" fmla="*/ 59 w 74"/>
                  <a:gd name="T15" fmla="*/ 179 h 179"/>
                  <a:gd name="T16" fmla="*/ 45 w 74"/>
                  <a:gd name="T17" fmla="*/ 167 h 179"/>
                  <a:gd name="T18" fmla="*/ 30 w 74"/>
                  <a:gd name="T19" fmla="*/ 179 h 179"/>
                  <a:gd name="T20" fmla="*/ 15 w 74"/>
                  <a:gd name="T21" fmla="*/ 164 h 179"/>
                  <a:gd name="T22" fmla="*/ 15 w 74"/>
                  <a:gd name="T23" fmla="*/ 94 h 179"/>
                  <a:gd name="T24" fmla="*/ 0 w 74"/>
                  <a:gd name="T25" fmla="*/ 76 h 179"/>
                  <a:gd name="T26" fmla="*/ 0 w 74"/>
                  <a:gd name="T27" fmla="*/ 20 h 179"/>
                  <a:gd name="T28" fmla="*/ 20 w 74"/>
                  <a:gd name="T29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20" y="0"/>
                    </a:moveTo>
                    <a:lnTo>
                      <a:pt x="20" y="0"/>
                    </a:lnTo>
                    <a:lnTo>
                      <a:pt x="68" y="0"/>
                    </a:lnTo>
                    <a:cubicBezTo>
                      <a:pt x="64" y="5"/>
                      <a:pt x="62" y="12"/>
                      <a:pt x="62" y="19"/>
                    </a:cubicBezTo>
                    <a:lnTo>
                      <a:pt x="62" y="90"/>
                    </a:lnTo>
                    <a:cubicBezTo>
                      <a:pt x="62" y="100"/>
                      <a:pt x="67" y="109"/>
                      <a:pt x="74" y="114"/>
                    </a:cubicBezTo>
                    <a:lnTo>
                      <a:pt x="74" y="164"/>
                    </a:lnTo>
                    <a:cubicBezTo>
                      <a:pt x="74" y="172"/>
                      <a:pt x="68" y="179"/>
                      <a:pt x="59" y="179"/>
                    </a:cubicBezTo>
                    <a:cubicBezTo>
                      <a:pt x="52" y="179"/>
                      <a:pt x="46" y="174"/>
                      <a:pt x="45" y="167"/>
                    </a:cubicBezTo>
                    <a:cubicBezTo>
                      <a:pt x="43" y="174"/>
                      <a:pt x="37" y="179"/>
                      <a:pt x="30" y="179"/>
                    </a:cubicBezTo>
                    <a:cubicBezTo>
                      <a:pt x="22" y="179"/>
                      <a:pt x="15" y="172"/>
                      <a:pt x="15" y="164"/>
                    </a:cubicBezTo>
                    <a:lnTo>
                      <a:pt x="15" y="94"/>
                    </a:lnTo>
                    <a:cubicBezTo>
                      <a:pt x="7" y="92"/>
                      <a:pt x="0" y="85"/>
                      <a:pt x="0" y="76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20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57" name="Freeform 656"/>
              <p:cNvSpPr>
                <a:spLocks/>
              </p:cNvSpPr>
              <p:nvPr/>
            </p:nvSpPr>
            <p:spPr bwMode="gray">
              <a:xfrm>
                <a:off x="10553455" y="3622101"/>
                <a:ext cx="197731" cy="480208"/>
              </a:xfrm>
              <a:custGeom>
                <a:avLst/>
                <a:gdLst>
                  <a:gd name="T0" fmla="*/ 14 w 74"/>
                  <a:gd name="T1" fmla="*/ 90 h 179"/>
                  <a:gd name="T2" fmla="*/ 14 w 74"/>
                  <a:gd name="T3" fmla="*/ 90 h 179"/>
                  <a:gd name="T4" fmla="*/ 14 w 74"/>
                  <a:gd name="T5" fmla="*/ 19 h 179"/>
                  <a:gd name="T6" fmla="*/ 7 w 74"/>
                  <a:gd name="T7" fmla="*/ 0 h 179"/>
                  <a:gd name="T8" fmla="*/ 55 w 74"/>
                  <a:gd name="T9" fmla="*/ 0 h 179"/>
                  <a:gd name="T10" fmla="*/ 74 w 74"/>
                  <a:gd name="T11" fmla="*/ 20 h 179"/>
                  <a:gd name="T12" fmla="*/ 74 w 74"/>
                  <a:gd name="T13" fmla="*/ 76 h 179"/>
                  <a:gd name="T14" fmla="*/ 59 w 74"/>
                  <a:gd name="T15" fmla="*/ 94 h 179"/>
                  <a:gd name="T16" fmla="*/ 59 w 74"/>
                  <a:gd name="T17" fmla="*/ 164 h 179"/>
                  <a:gd name="T18" fmla="*/ 44 w 74"/>
                  <a:gd name="T19" fmla="*/ 179 h 179"/>
                  <a:gd name="T20" fmla="*/ 30 w 74"/>
                  <a:gd name="T21" fmla="*/ 167 h 179"/>
                  <a:gd name="T22" fmla="*/ 15 w 74"/>
                  <a:gd name="T23" fmla="*/ 179 h 179"/>
                  <a:gd name="T24" fmla="*/ 0 w 74"/>
                  <a:gd name="T25" fmla="*/ 164 h 179"/>
                  <a:gd name="T26" fmla="*/ 0 w 74"/>
                  <a:gd name="T27" fmla="*/ 115 h 179"/>
                  <a:gd name="T28" fmla="*/ 14 w 74"/>
                  <a:gd name="T29" fmla="*/ 9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" h="179">
                    <a:moveTo>
                      <a:pt x="14" y="90"/>
                    </a:moveTo>
                    <a:lnTo>
                      <a:pt x="14" y="90"/>
                    </a:lnTo>
                    <a:lnTo>
                      <a:pt x="14" y="19"/>
                    </a:lnTo>
                    <a:cubicBezTo>
                      <a:pt x="14" y="12"/>
                      <a:pt x="11" y="5"/>
                      <a:pt x="7" y="0"/>
                    </a:cubicBezTo>
                    <a:lnTo>
                      <a:pt x="55" y="0"/>
                    </a:lnTo>
                    <a:cubicBezTo>
                      <a:pt x="66" y="0"/>
                      <a:pt x="74" y="9"/>
                      <a:pt x="74" y="20"/>
                    </a:cubicBezTo>
                    <a:lnTo>
                      <a:pt x="74" y="76"/>
                    </a:lnTo>
                    <a:cubicBezTo>
                      <a:pt x="74" y="85"/>
                      <a:pt x="68" y="92"/>
                      <a:pt x="59" y="94"/>
                    </a:cubicBezTo>
                    <a:lnTo>
                      <a:pt x="59" y="164"/>
                    </a:lnTo>
                    <a:cubicBezTo>
                      <a:pt x="59" y="172"/>
                      <a:pt x="53" y="179"/>
                      <a:pt x="44" y="179"/>
                    </a:cubicBezTo>
                    <a:cubicBezTo>
                      <a:pt x="37" y="179"/>
                      <a:pt x="31" y="174"/>
                      <a:pt x="30" y="167"/>
                    </a:cubicBezTo>
                    <a:cubicBezTo>
                      <a:pt x="28" y="174"/>
                      <a:pt x="22" y="179"/>
                      <a:pt x="15" y="179"/>
                    </a:cubicBezTo>
                    <a:cubicBezTo>
                      <a:pt x="7" y="179"/>
                      <a:pt x="0" y="172"/>
                      <a:pt x="0" y="164"/>
                    </a:cubicBezTo>
                    <a:lnTo>
                      <a:pt x="0" y="115"/>
                    </a:lnTo>
                    <a:cubicBezTo>
                      <a:pt x="8" y="110"/>
                      <a:pt x="14" y="100"/>
                      <a:pt x="14" y="9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58" name="Freeform 657"/>
              <p:cNvSpPr>
                <a:spLocks/>
              </p:cNvSpPr>
              <p:nvPr/>
            </p:nvSpPr>
            <p:spPr bwMode="gray">
              <a:xfrm>
                <a:off x="10565562" y="3460687"/>
                <a:ext cx="137202" cy="137202"/>
              </a:xfrm>
              <a:custGeom>
                <a:avLst/>
                <a:gdLst>
                  <a:gd name="T0" fmla="*/ 26 w 51"/>
                  <a:gd name="T1" fmla="*/ 51 h 51"/>
                  <a:gd name="T2" fmla="*/ 26 w 51"/>
                  <a:gd name="T3" fmla="*/ 51 h 51"/>
                  <a:gd name="T4" fmla="*/ 0 w 51"/>
                  <a:gd name="T5" fmla="*/ 25 h 51"/>
                  <a:gd name="T6" fmla="*/ 26 w 51"/>
                  <a:gd name="T7" fmla="*/ 0 h 51"/>
                  <a:gd name="T8" fmla="*/ 51 w 51"/>
                  <a:gd name="T9" fmla="*/ 25 h 51"/>
                  <a:gd name="T10" fmla="*/ 26 w 51"/>
                  <a:gd name="T11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1" h="51">
                    <a:moveTo>
                      <a:pt x="26" y="51"/>
                    </a:moveTo>
                    <a:lnTo>
                      <a:pt x="26" y="51"/>
                    </a:lnTo>
                    <a:cubicBezTo>
                      <a:pt x="12" y="51"/>
                      <a:pt x="0" y="39"/>
                      <a:pt x="0" y="25"/>
                    </a:cubicBezTo>
                    <a:cubicBezTo>
                      <a:pt x="0" y="11"/>
                      <a:pt x="12" y="0"/>
                      <a:pt x="26" y="0"/>
                    </a:cubicBezTo>
                    <a:cubicBezTo>
                      <a:pt x="40" y="0"/>
                      <a:pt x="51" y="11"/>
                      <a:pt x="51" y="25"/>
                    </a:cubicBezTo>
                    <a:cubicBezTo>
                      <a:pt x="51" y="39"/>
                      <a:pt x="40" y="51"/>
                      <a:pt x="26" y="5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59" name="Freeform 658"/>
              <p:cNvSpPr>
                <a:spLocks/>
              </p:cNvSpPr>
              <p:nvPr/>
            </p:nvSpPr>
            <p:spPr bwMode="gray">
              <a:xfrm>
                <a:off x="10210451" y="3618065"/>
                <a:ext cx="334933" cy="593197"/>
              </a:xfrm>
              <a:custGeom>
                <a:avLst/>
                <a:gdLst>
                  <a:gd name="T0" fmla="*/ 19 w 125"/>
                  <a:gd name="T1" fmla="*/ 0 h 221"/>
                  <a:gd name="T2" fmla="*/ 19 w 125"/>
                  <a:gd name="T3" fmla="*/ 0 h 221"/>
                  <a:gd name="T4" fmla="*/ 44 w 125"/>
                  <a:gd name="T5" fmla="*/ 0 h 221"/>
                  <a:gd name="T6" fmla="*/ 63 w 125"/>
                  <a:gd name="T7" fmla="*/ 25 h 221"/>
                  <a:gd name="T8" fmla="*/ 82 w 125"/>
                  <a:gd name="T9" fmla="*/ 0 h 221"/>
                  <a:gd name="T10" fmla="*/ 106 w 125"/>
                  <a:gd name="T11" fmla="*/ 0 h 221"/>
                  <a:gd name="T12" fmla="*/ 125 w 125"/>
                  <a:gd name="T13" fmla="*/ 20 h 221"/>
                  <a:gd name="T14" fmla="*/ 125 w 125"/>
                  <a:gd name="T15" fmla="*/ 91 h 221"/>
                  <a:gd name="T16" fmla="*/ 106 w 125"/>
                  <a:gd name="T17" fmla="*/ 110 h 221"/>
                  <a:gd name="T18" fmla="*/ 100 w 125"/>
                  <a:gd name="T19" fmla="*/ 110 h 221"/>
                  <a:gd name="T20" fmla="*/ 100 w 125"/>
                  <a:gd name="T21" fmla="*/ 202 h 221"/>
                  <a:gd name="T22" fmla="*/ 81 w 125"/>
                  <a:gd name="T23" fmla="*/ 221 h 221"/>
                  <a:gd name="T24" fmla="*/ 63 w 125"/>
                  <a:gd name="T25" fmla="*/ 209 h 221"/>
                  <a:gd name="T26" fmla="*/ 45 w 125"/>
                  <a:gd name="T27" fmla="*/ 221 h 221"/>
                  <a:gd name="T28" fmla="*/ 26 w 125"/>
                  <a:gd name="T29" fmla="*/ 202 h 221"/>
                  <a:gd name="T30" fmla="*/ 26 w 125"/>
                  <a:gd name="T31" fmla="*/ 110 h 221"/>
                  <a:gd name="T32" fmla="*/ 19 w 125"/>
                  <a:gd name="T33" fmla="*/ 110 h 221"/>
                  <a:gd name="T34" fmla="*/ 0 w 125"/>
                  <a:gd name="T35" fmla="*/ 91 h 221"/>
                  <a:gd name="T36" fmla="*/ 0 w 125"/>
                  <a:gd name="T37" fmla="*/ 20 h 221"/>
                  <a:gd name="T38" fmla="*/ 19 w 125"/>
                  <a:gd name="T39" fmla="*/ 0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5" h="221">
                    <a:moveTo>
                      <a:pt x="19" y="0"/>
                    </a:moveTo>
                    <a:lnTo>
                      <a:pt x="19" y="0"/>
                    </a:lnTo>
                    <a:lnTo>
                      <a:pt x="44" y="0"/>
                    </a:lnTo>
                    <a:lnTo>
                      <a:pt x="63" y="25"/>
                    </a:lnTo>
                    <a:lnTo>
                      <a:pt x="82" y="0"/>
                    </a:lnTo>
                    <a:lnTo>
                      <a:pt x="106" y="0"/>
                    </a:lnTo>
                    <a:cubicBezTo>
                      <a:pt x="117" y="0"/>
                      <a:pt x="125" y="9"/>
                      <a:pt x="125" y="20"/>
                    </a:cubicBezTo>
                    <a:lnTo>
                      <a:pt x="125" y="91"/>
                    </a:lnTo>
                    <a:cubicBezTo>
                      <a:pt x="125" y="102"/>
                      <a:pt x="117" y="110"/>
                      <a:pt x="106" y="110"/>
                    </a:cubicBezTo>
                    <a:lnTo>
                      <a:pt x="100" y="110"/>
                    </a:lnTo>
                    <a:lnTo>
                      <a:pt x="100" y="202"/>
                    </a:lnTo>
                    <a:cubicBezTo>
                      <a:pt x="100" y="213"/>
                      <a:pt x="91" y="221"/>
                      <a:pt x="81" y="221"/>
                    </a:cubicBezTo>
                    <a:cubicBezTo>
                      <a:pt x="73" y="221"/>
                      <a:pt x="66" y="216"/>
                      <a:pt x="63" y="209"/>
                    </a:cubicBezTo>
                    <a:cubicBezTo>
                      <a:pt x="60" y="216"/>
                      <a:pt x="53" y="221"/>
                      <a:pt x="45" y="221"/>
                    </a:cubicBezTo>
                    <a:cubicBezTo>
                      <a:pt x="34" y="221"/>
                      <a:pt x="26" y="213"/>
                      <a:pt x="26" y="202"/>
                    </a:cubicBezTo>
                    <a:lnTo>
                      <a:pt x="26" y="110"/>
                    </a:lnTo>
                    <a:lnTo>
                      <a:pt x="19" y="110"/>
                    </a:lnTo>
                    <a:cubicBezTo>
                      <a:pt x="9" y="110"/>
                      <a:pt x="0" y="102"/>
                      <a:pt x="0" y="91"/>
                    </a:cubicBezTo>
                    <a:lnTo>
                      <a:pt x="0" y="20"/>
                    </a:lnTo>
                    <a:cubicBezTo>
                      <a:pt x="0" y="9"/>
                      <a:pt x="9" y="0"/>
                      <a:pt x="19" y="0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660" name="Freeform 659"/>
              <p:cNvSpPr>
                <a:spLocks/>
              </p:cNvSpPr>
              <p:nvPr/>
            </p:nvSpPr>
            <p:spPr bwMode="gray">
              <a:xfrm>
                <a:off x="10291158" y="3416297"/>
                <a:ext cx="169485" cy="169485"/>
              </a:xfrm>
              <a:custGeom>
                <a:avLst/>
                <a:gdLst>
                  <a:gd name="T0" fmla="*/ 32 w 63"/>
                  <a:gd name="T1" fmla="*/ 63 h 63"/>
                  <a:gd name="T2" fmla="*/ 32 w 63"/>
                  <a:gd name="T3" fmla="*/ 63 h 63"/>
                  <a:gd name="T4" fmla="*/ 0 w 63"/>
                  <a:gd name="T5" fmla="*/ 32 h 63"/>
                  <a:gd name="T6" fmla="*/ 32 w 63"/>
                  <a:gd name="T7" fmla="*/ 0 h 63"/>
                  <a:gd name="T8" fmla="*/ 63 w 63"/>
                  <a:gd name="T9" fmla="*/ 32 h 63"/>
                  <a:gd name="T10" fmla="*/ 32 w 63"/>
                  <a:gd name="T1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3" h="63">
                    <a:moveTo>
                      <a:pt x="32" y="63"/>
                    </a:moveTo>
                    <a:lnTo>
                      <a:pt x="32" y="63"/>
                    </a:lnTo>
                    <a:cubicBezTo>
                      <a:pt x="16" y="63"/>
                      <a:pt x="0" y="50"/>
                      <a:pt x="0" y="32"/>
                    </a:cubicBezTo>
                    <a:cubicBezTo>
                      <a:pt x="0" y="14"/>
                      <a:pt x="14" y="0"/>
                      <a:pt x="32" y="0"/>
                    </a:cubicBezTo>
                    <a:cubicBezTo>
                      <a:pt x="49" y="0"/>
                      <a:pt x="63" y="14"/>
                      <a:pt x="63" y="32"/>
                    </a:cubicBezTo>
                    <a:cubicBezTo>
                      <a:pt x="63" y="50"/>
                      <a:pt x="48" y="63"/>
                      <a:pt x="32" y="63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8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363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545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727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909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090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272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454" algn="l" defTabSz="914363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3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</p:grpSp>
      <p:sp>
        <p:nvSpPr>
          <p:cNvPr id="661" name="object 2"/>
          <p:cNvSpPr txBox="1"/>
          <p:nvPr/>
        </p:nvSpPr>
        <p:spPr bwMode="gray">
          <a:xfrm>
            <a:off x="876790" y="3997839"/>
            <a:ext cx="1073150" cy="19938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291" eaLnBrk="1" hangingPunct="1"/>
            <a:r>
              <a:rPr lang="en-US" sz="1108" b="1" dirty="0">
                <a:solidFill>
                  <a:srgbClr val="000000"/>
                </a:solidFill>
                <a:latin typeface="Arial"/>
                <a:cs typeface="Gill Sans"/>
              </a:rPr>
              <a:t>Industrials</a:t>
            </a:r>
          </a:p>
        </p:txBody>
      </p:sp>
      <p:grpSp>
        <p:nvGrpSpPr>
          <p:cNvPr id="662" name="Group 661"/>
          <p:cNvGrpSpPr/>
          <p:nvPr/>
        </p:nvGrpSpPr>
        <p:grpSpPr bwMode="gray">
          <a:xfrm>
            <a:off x="455337" y="3918835"/>
            <a:ext cx="366857" cy="366857"/>
            <a:chOff x="7844637" y="3042922"/>
            <a:chExt cx="949960" cy="949958"/>
          </a:xfrm>
        </p:grpSpPr>
        <p:sp>
          <p:nvSpPr>
            <p:cNvPr id="663" name="Oval 662"/>
            <p:cNvSpPr/>
            <p:nvPr/>
          </p:nvSpPr>
          <p:spPr bwMode="gray">
            <a:xfrm>
              <a:off x="7844637" y="3042922"/>
              <a:ext cx="949960" cy="949958"/>
            </a:xfrm>
            <a:prstGeom prst="ellipse">
              <a:avLst/>
            </a:prstGeom>
            <a:solidFill>
              <a:srgbClr val="FFFFFF">
                <a:alpha val="75000"/>
              </a:srgb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38100" dir="2700000" algn="tl" rotWithShape="0">
                <a:prstClr val="black">
                  <a:alpha val="5000"/>
                </a:prstClr>
              </a:outerShdw>
            </a:effectLst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64" name="Oval 663"/>
            <p:cNvSpPr/>
            <p:nvPr/>
          </p:nvSpPr>
          <p:spPr bwMode="gray">
            <a:xfrm>
              <a:off x="7919333" y="3117618"/>
              <a:ext cx="800568" cy="800567"/>
            </a:xfrm>
            <a:prstGeom prst="ellipse">
              <a:avLst/>
            </a:prstGeom>
            <a:solidFill>
              <a:srgbClr val="B9BAE9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grpSp>
          <p:nvGrpSpPr>
            <p:cNvPr id="665" name="Group 664"/>
            <p:cNvGrpSpPr/>
            <p:nvPr/>
          </p:nvGrpSpPr>
          <p:grpSpPr bwMode="gray">
            <a:xfrm>
              <a:off x="8001195" y="3253833"/>
              <a:ext cx="636843" cy="455989"/>
              <a:chOff x="7980901" y="3252751"/>
              <a:chExt cx="636843" cy="455989"/>
            </a:xfrm>
          </p:grpSpPr>
          <p:sp>
            <p:nvSpPr>
              <p:cNvPr id="666" name="Freeform 5"/>
              <p:cNvSpPr>
                <a:spLocks/>
              </p:cNvSpPr>
              <p:nvPr/>
            </p:nvSpPr>
            <p:spPr bwMode="gray">
              <a:xfrm>
                <a:off x="7980901" y="3252751"/>
                <a:ext cx="636843" cy="455989"/>
              </a:xfrm>
              <a:custGeom>
                <a:avLst/>
                <a:gdLst>
                  <a:gd name="T0" fmla="*/ 602 w 743"/>
                  <a:gd name="T1" fmla="*/ 180 h 532"/>
                  <a:gd name="T2" fmla="*/ 602 w 743"/>
                  <a:gd name="T3" fmla="*/ 242 h 532"/>
                  <a:gd name="T4" fmla="*/ 564 w 743"/>
                  <a:gd name="T5" fmla="*/ 242 h 532"/>
                  <a:gd name="T6" fmla="*/ 564 w 743"/>
                  <a:gd name="T7" fmla="*/ 182 h 532"/>
                  <a:gd name="T8" fmla="*/ 461 w 743"/>
                  <a:gd name="T9" fmla="*/ 99 h 532"/>
                  <a:gd name="T10" fmla="*/ 354 w 743"/>
                  <a:gd name="T11" fmla="*/ 99 h 532"/>
                  <a:gd name="T12" fmla="*/ 354 w 743"/>
                  <a:gd name="T13" fmla="*/ 67 h 532"/>
                  <a:gd name="T14" fmla="*/ 440 w 743"/>
                  <a:gd name="T15" fmla="*/ 67 h 532"/>
                  <a:gd name="T16" fmla="*/ 440 w 743"/>
                  <a:gd name="T17" fmla="*/ 0 h 532"/>
                  <a:gd name="T18" fmla="*/ 160 w 743"/>
                  <a:gd name="T19" fmla="*/ 0 h 532"/>
                  <a:gd name="T20" fmla="*/ 160 w 743"/>
                  <a:gd name="T21" fmla="*/ 67 h 532"/>
                  <a:gd name="T22" fmla="*/ 251 w 743"/>
                  <a:gd name="T23" fmla="*/ 67 h 532"/>
                  <a:gd name="T24" fmla="*/ 251 w 743"/>
                  <a:gd name="T25" fmla="*/ 99 h 532"/>
                  <a:gd name="T26" fmla="*/ 125 w 743"/>
                  <a:gd name="T27" fmla="*/ 99 h 532"/>
                  <a:gd name="T28" fmla="*/ 125 w 743"/>
                  <a:gd name="T29" fmla="*/ 235 h 532"/>
                  <a:gd name="T30" fmla="*/ 86 w 743"/>
                  <a:gd name="T31" fmla="*/ 235 h 532"/>
                  <a:gd name="T32" fmla="*/ 86 w 743"/>
                  <a:gd name="T33" fmla="*/ 96 h 532"/>
                  <a:gd name="T34" fmla="*/ 0 w 743"/>
                  <a:gd name="T35" fmla="*/ 96 h 532"/>
                  <a:gd name="T36" fmla="*/ 0 w 743"/>
                  <a:gd name="T37" fmla="*/ 463 h 532"/>
                  <a:gd name="T38" fmla="*/ 86 w 743"/>
                  <a:gd name="T39" fmla="*/ 463 h 532"/>
                  <a:gd name="T40" fmla="*/ 86 w 743"/>
                  <a:gd name="T41" fmla="*/ 319 h 532"/>
                  <a:gd name="T42" fmla="*/ 125 w 743"/>
                  <a:gd name="T43" fmla="*/ 319 h 532"/>
                  <a:gd name="T44" fmla="*/ 125 w 743"/>
                  <a:gd name="T45" fmla="*/ 319 h 532"/>
                  <a:gd name="T46" fmla="*/ 125 w 743"/>
                  <a:gd name="T47" fmla="*/ 448 h 532"/>
                  <a:gd name="T48" fmla="*/ 265 w 743"/>
                  <a:gd name="T49" fmla="*/ 530 h 532"/>
                  <a:gd name="T50" fmla="*/ 564 w 743"/>
                  <a:gd name="T51" fmla="*/ 530 h 532"/>
                  <a:gd name="T52" fmla="*/ 564 w 743"/>
                  <a:gd name="T53" fmla="*/ 458 h 532"/>
                  <a:gd name="T54" fmla="*/ 602 w 743"/>
                  <a:gd name="T55" fmla="*/ 458 h 532"/>
                  <a:gd name="T56" fmla="*/ 602 w 743"/>
                  <a:gd name="T57" fmla="*/ 532 h 532"/>
                  <a:gd name="T58" fmla="*/ 743 w 743"/>
                  <a:gd name="T59" fmla="*/ 532 h 532"/>
                  <a:gd name="T60" fmla="*/ 743 w 743"/>
                  <a:gd name="T61" fmla="*/ 180 h 532"/>
                  <a:gd name="T62" fmla="*/ 602 w 743"/>
                  <a:gd name="T63" fmla="*/ 18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43" h="532">
                    <a:moveTo>
                      <a:pt x="602" y="180"/>
                    </a:moveTo>
                    <a:lnTo>
                      <a:pt x="602" y="242"/>
                    </a:lnTo>
                    <a:lnTo>
                      <a:pt x="564" y="242"/>
                    </a:lnTo>
                    <a:lnTo>
                      <a:pt x="564" y="182"/>
                    </a:lnTo>
                    <a:lnTo>
                      <a:pt x="461" y="99"/>
                    </a:lnTo>
                    <a:lnTo>
                      <a:pt x="354" y="99"/>
                    </a:lnTo>
                    <a:lnTo>
                      <a:pt x="354" y="67"/>
                    </a:lnTo>
                    <a:lnTo>
                      <a:pt x="440" y="67"/>
                    </a:lnTo>
                    <a:lnTo>
                      <a:pt x="440" y="0"/>
                    </a:lnTo>
                    <a:lnTo>
                      <a:pt x="160" y="0"/>
                    </a:lnTo>
                    <a:lnTo>
                      <a:pt x="160" y="67"/>
                    </a:lnTo>
                    <a:lnTo>
                      <a:pt x="251" y="67"/>
                    </a:lnTo>
                    <a:lnTo>
                      <a:pt x="251" y="99"/>
                    </a:lnTo>
                    <a:lnTo>
                      <a:pt x="125" y="99"/>
                    </a:lnTo>
                    <a:lnTo>
                      <a:pt x="125" y="235"/>
                    </a:lnTo>
                    <a:lnTo>
                      <a:pt x="86" y="235"/>
                    </a:lnTo>
                    <a:lnTo>
                      <a:pt x="86" y="96"/>
                    </a:lnTo>
                    <a:lnTo>
                      <a:pt x="0" y="96"/>
                    </a:lnTo>
                    <a:lnTo>
                      <a:pt x="0" y="463"/>
                    </a:lnTo>
                    <a:lnTo>
                      <a:pt x="86" y="463"/>
                    </a:lnTo>
                    <a:lnTo>
                      <a:pt x="86" y="319"/>
                    </a:lnTo>
                    <a:lnTo>
                      <a:pt x="125" y="319"/>
                    </a:lnTo>
                    <a:lnTo>
                      <a:pt x="125" y="319"/>
                    </a:lnTo>
                    <a:lnTo>
                      <a:pt x="125" y="448"/>
                    </a:lnTo>
                    <a:lnTo>
                      <a:pt x="265" y="530"/>
                    </a:lnTo>
                    <a:lnTo>
                      <a:pt x="564" y="530"/>
                    </a:lnTo>
                    <a:lnTo>
                      <a:pt x="564" y="458"/>
                    </a:lnTo>
                    <a:lnTo>
                      <a:pt x="602" y="458"/>
                    </a:lnTo>
                    <a:lnTo>
                      <a:pt x="602" y="532"/>
                    </a:lnTo>
                    <a:lnTo>
                      <a:pt x="743" y="532"/>
                    </a:lnTo>
                    <a:lnTo>
                      <a:pt x="743" y="180"/>
                    </a:lnTo>
                    <a:lnTo>
                      <a:pt x="602" y="180"/>
                    </a:lnTo>
                    <a:close/>
                  </a:path>
                </a:pathLst>
              </a:custGeom>
              <a:solidFill>
                <a:srgbClr val="FFFFFF"/>
              </a:solidFill>
              <a:ln w="1587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667" name="Group 666"/>
              <p:cNvGrpSpPr/>
              <p:nvPr/>
            </p:nvGrpSpPr>
            <p:grpSpPr bwMode="gray">
              <a:xfrm>
                <a:off x="8111965" y="3364531"/>
                <a:ext cx="345141" cy="326278"/>
                <a:chOff x="8148830" y="3562085"/>
                <a:chExt cx="345141" cy="326278"/>
              </a:xfrm>
              <a:solidFill>
                <a:srgbClr val="E1261C"/>
              </a:solidFill>
            </p:grpSpPr>
            <p:sp>
              <p:nvSpPr>
                <p:cNvPr id="668" name="Freeform 667"/>
                <p:cNvSpPr/>
                <p:nvPr/>
              </p:nvSpPr>
              <p:spPr bwMode="gray">
                <a:xfrm>
                  <a:off x="8148830" y="3562085"/>
                  <a:ext cx="198245" cy="197902"/>
                </a:xfrm>
                <a:custGeom>
                  <a:avLst/>
                  <a:gdLst>
                    <a:gd name="connsiteX0" fmla="*/ 379147 w 758293"/>
                    <a:gd name="connsiteY0" fmla="*/ 297447 h 756980"/>
                    <a:gd name="connsiteX1" fmla="*/ 297962 w 758293"/>
                    <a:gd name="connsiteY1" fmla="*/ 378490 h 756980"/>
                    <a:gd name="connsiteX2" fmla="*/ 379147 w 758293"/>
                    <a:gd name="connsiteY2" fmla="*/ 459534 h 756980"/>
                    <a:gd name="connsiteX3" fmla="*/ 460331 w 758293"/>
                    <a:gd name="connsiteY3" fmla="*/ 378490 h 756980"/>
                    <a:gd name="connsiteX4" fmla="*/ 379147 w 758293"/>
                    <a:gd name="connsiteY4" fmla="*/ 297447 h 756980"/>
                    <a:gd name="connsiteX5" fmla="*/ 379147 w 758293"/>
                    <a:gd name="connsiteY5" fmla="*/ 216403 h 756980"/>
                    <a:gd name="connsiteX6" fmla="*/ 541515 w 758293"/>
                    <a:gd name="connsiteY6" fmla="*/ 378490 h 756980"/>
                    <a:gd name="connsiteX7" fmla="*/ 379147 w 758293"/>
                    <a:gd name="connsiteY7" fmla="*/ 540578 h 756980"/>
                    <a:gd name="connsiteX8" fmla="*/ 216778 w 758293"/>
                    <a:gd name="connsiteY8" fmla="*/ 378490 h 756980"/>
                    <a:gd name="connsiteX9" fmla="*/ 379147 w 758293"/>
                    <a:gd name="connsiteY9" fmla="*/ 216403 h 756980"/>
                    <a:gd name="connsiteX10" fmla="*/ 379147 w 758293"/>
                    <a:gd name="connsiteY10" fmla="*/ 152622 h 756980"/>
                    <a:gd name="connsiteX11" fmla="*/ 152888 w 758293"/>
                    <a:gd name="connsiteY11" fmla="*/ 378490 h 756980"/>
                    <a:gd name="connsiteX12" fmla="*/ 379147 w 758293"/>
                    <a:gd name="connsiteY12" fmla="*/ 604358 h 756980"/>
                    <a:gd name="connsiteX13" fmla="*/ 605406 w 758293"/>
                    <a:gd name="connsiteY13" fmla="*/ 378490 h 756980"/>
                    <a:gd name="connsiteX14" fmla="*/ 379147 w 758293"/>
                    <a:gd name="connsiteY14" fmla="*/ 152622 h 756980"/>
                    <a:gd name="connsiteX15" fmla="*/ 379147 w 758293"/>
                    <a:gd name="connsiteY15" fmla="*/ 0 h 756980"/>
                    <a:gd name="connsiteX16" fmla="*/ 433680 w 758293"/>
                    <a:gd name="connsiteY16" fmla="*/ 4316 h 756980"/>
                    <a:gd name="connsiteX17" fmla="*/ 598071 w 758293"/>
                    <a:gd name="connsiteY17" fmla="*/ 90526 h 756980"/>
                    <a:gd name="connsiteX18" fmla="*/ 609187 w 758293"/>
                    <a:gd name="connsiteY18" fmla="*/ 78520 h 756980"/>
                    <a:gd name="connsiteX19" fmla="*/ 681730 w 758293"/>
                    <a:gd name="connsiteY19" fmla="*/ 151105 h 756980"/>
                    <a:gd name="connsiteX20" fmla="*/ 755134 w 758293"/>
                    <a:gd name="connsiteY20" fmla="*/ 331931 h 756980"/>
                    <a:gd name="connsiteX21" fmla="*/ 758293 w 758293"/>
                    <a:gd name="connsiteY21" fmla="*/ 378490 h 756980"/>
                    <a:gd name="connsiteX22" fmla="*/ 755015 w 758293"/>
                    <a:gd name="connsiteY22" fmla="*/ 425415 h 756980"/>
                    <a:gd name="connsiteX23" fmla="*/ 747691 w 758293"/>
                    <a:gd name="connsiteY23" fmla="*/ 428175 h 756980"/>
                    <a:gd name="connsiteX24" fmla="*/ 747549 w 758293"/>
                    <a:gd name="connsiteY24" fmla="*/ 428142 h 756980"/>
                    <a:gd name="connsiteX25" fmla="*/ 681392 w 758293"/>
                    <a:gd name="connsiteY25" fmla="*/ 605867 h 756980"/>
                    <a:gd name="connsiteX26" fmla="*/ 609971 w 758293"/>
                    <a:gd name="connsiteY26" fmla="*/ 678276 h 756980"/>
                    <a:gd name="connsiteX27" fmla="*/ 433343 w 758293"/>
                    <a:gd name="connsiteY27" fmla="*/ 752676 h 756980"/>
                    <a:gd name="connsiteX28" fmla="*/ 379147 w 758293"/>
                    <a:gd name="connsiteY28" fmla="*/ 756980 h 756980"/>
                    <a:gd name="connsiteX29" fmla="*/ 326009 w 758293"/>
                    <a:gd name="connsiteY29" fmla="*/ 752919 h 756980"/>
                    <a:gd name="connsiteX30" fmla="*/ 148053 w 758293"/>
                    <a:gd name="connsiteY30" fmla="*/ 677661 h 756980"/>
                    <a:gd name="connsiteX31" fmla="*/ 76207 w 758293"/>
                    <a:gd name="connsiteY31" fmla="*/ 605400 h 756980"/>
                    <a:gd name="connsiteX32" fmla="*/ 3583 w 758293"/>
                    <a:gd name="connsiteY32" fmla="*/ 427819 h 756980"/>
                    <a:gd name="connsiteX33" fmla="*/ 0 w 758293"/>
                    <a:gd name="connsiteY33" fmla="*/ 378490 h 756980"/>
                    <a:gd name="connsiteX34" fmla="*/ 3334 w 758293"/>
                    <a:gd name="connsiteY34" fmla="*/ 329774 h 756980"/>
                    <a:gd name="connsiteX35" fmla="*/ 81117 w 758293"/>
                    <a:gd name="connsiteY35" fmla="*/ 158819 h 756980"/>
                    <a:gd name="connsiteX36" fmla="*/ 74820 w 758293"/>
                    <a:gd name="connsiteY36" fmla="*/ 153831 h 756980"/>
                    <a:gd name="connsiteX37" fmla="*/ 144938 w 758293"/>
                    <a:gd name="connsiteY37" fmla="*/ 81231 h 756980"/>
                    <a:gd name="connsiteX38" fmla="*/ 324956 w 758293"/>
                    <a:gd name="connsiteY38" fmla="*/ 6627 h 756980"/>
                    <a:gd name="connsiteX39" fmla="*/ 324509 w 758293"/>
                    <a:gd name="connsiteY39" fmla="*/ 4373 h 756980"/>
                    <a:gd name="connsiteX40" fmla="*/ 379147 w 758293"/>
                    <a:gd name="connsiteY40" fmla="*/ 0 h 756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758293" h="756980">
                      <a:moveTo>
                        <a:pt x="379147" y="297447"/>
                      </a:moveTo>
                      <a:cubicBezTo>
                        <a:pt x="334310" y="297447"/>
                        <a:pt x="297962" y="333731"/>
                        <a:pt x="297962" y="378490"/>
                      </a:cubicBezTo>
                      <a:cubicBezTo>
                        <a:pt x="297962" y="423250"/>
                        <a:pt x="334310" y="459534"/>
                        <a:pt x="379147" y="459534"/>
                      </a:cubicBezTo>
                      <a:cubicBezTo>
                        <a:pt x="423984" y="459534"/>
                        <a:pt x="460331" y="423250"/>
                        <a:pt x="460331" y="378490"/>
                      </a:cubicBezTo>
                      <a:cubicBezTo>
                        <a:pt x="460331" y="333731"/>
                        <a:pt x="423984" y="297447"/>
                        <a:pt x="379147" y="297447"/>
                      </a:cubicBezTo>
                      <a:close/>
                      <a:moveTo>
                        <a:pt x="379147" y="216403"/>
                      </a:moveTo>
                      <a:cubicBezTo>
                        <a:pt x="468820" y="216403"/>
                        <a:pt x="541515" y="288972"/>
                        <a:pt x="541515" y="378490"/>
                      </a:cubicBezTo>
                      <a:cubicBezTo>
                        <a:pt x="541515" y="468009"/>
                        <a:pt x="468820" y="540578"/>
                        <a:pt x="379147" y="540578"/>
                      </a:cubicBezTo>
                      <a:cubicBezTo>
                        <a:pt x="289473" y="540578"/>
                        <a:pt x="216778" y="468009"/>
                        <a:pt x="216778" y="378490"/>
                      </a:cubicBezTo>
                      <a:cubicBezTo>
                        <a:pt x="216778" y="288972"/>
                        <a:pt x="289473" y="216403"/>
                        <a:pt x="379147" y="216403"/>
                      </a:cubicBezTo>
                      <a:close/>
                      <a:moveTo>
                        <a:pt x="379147" y="152622"/>
                      </a:moveTo>
                      <a:cubicBezTo>
                        <a:pt x="254187" y="152622"/>
                        <a:pt x="152888" y="253747"/>
                        <a:pt x="152888" y="378490"/>
                      </a:cubicBezTo>
                      <a:cubicBezTo>
                        <a:pt x="152888" y="503234"/>
                        <a:pt x="254187" y="604358"/>
                        <a:pt x="379147" y="604358"/>
                      </a:cubicBezTo>
                      <a:cubicBezTo>
                        <a:pt x="504106" y="604358"/>
                        <a:pt x="605406" y="503234"/>
                        <a:pt x="605406" y="378490"/>
                      </a:cubicBezTo>
                      <a:cubicBezTo>
                        <a:pt x="605406" y="253747"/>
                        <a:pt x="504106" y="152622"/>
                        <a:pt x="379147" y="152622"/>
                      </a:cubicBezTo>
                      <a:close/>
                      <a:moveTo>
                        <a:pt x="379147" y="0"/>
                      </a:moveTo>
                      <a:cubicBezTo>
                        <a:pt x="397686" y="0"/>
                        <a:pt x="415914" y="1329"/>
                        <a:pt x="433680" y="4316"/>
                      </a:cubicBezTo>
                      <a:cubicBezTo>
                        <a:pt x="452704" y="134013"/>
                        <a:pt x="582821" y="106786"/>
                        <a:pt x="598071" y="90526"/>
                      </a:cubicBezTo>
                      <a:lnTo>
                        <a:pt x="609187" y="78520"/>
                      </a:lnTo>
                      <a:cubicBezTo>
                        <a:pt x="636804" y="99000"/>
                        <a:pt x="661110" y="123588"/>
                        <a:pt x="681730" y="151105"/>
                      </a:cubicBezTo>
                      <a:cubicBezTo>
                        <a:pt x="603523" y="275934"/>
                        <a:pt x="730495" y="335100"/>
                        <a:pt x="755134" y="331931"/>
                      </a:cubicBezTo>
                      <a:cubicBezTo>
                        <a:pt x="757326" y="347163"/>
                        <a:pt x="758293" y="362714"/>
                        <a:pt x="758293" y="378490"/>
                      </a:cubicBezTo>
                      <a:cubicBezTo>
                        <a:pt x="758293" y="394398"/>
                        <a:pt x="757311" y="410076"/>
                        <a:pt x="755015" y="425415"/>
                      </a:cubicBezTo>
                      <a:cubicBezTo>
                        <a:pt x="752279" y="426174"/>
                        <a:pt x="749826" y="427104"/>
                        <a:pt x="747691" y="428175"/>
                      </a:cubicBezTo>
                      <a:lnTo>
                        <a:pt x="747549" y="428142"/>
                      </a:lnTo>
                      <a:cubicBezTo>
                        <a:pt x="624351" y="470383"/>
                        <a:pt x="657262" y="572891"/>
                        <a:pt x="681392" y="605867"/>
                      </a:cubicBezTo>
                      <a:cubicBezTo>
                        <a:pt x="661262" y="633347"/>
                        <a:pt x="637069" y="657604"/>
                        <a:pt x="609971" y="678276"/>
                      </a:cubicBezTo>
                      <a:cubicBezTo>
                        <a:pt x="490182" y="606912"/>
                        <a:pt x="432250" y="725472"/>
                        <a:pt x="433343" y="752676"/>
                      </a:cubicBezTo>
                      <a:cubicBezTo>
                        <a:pt x="415688" y="755669"/>
                        <a:pt x="397571" y="756980"/>
                        <a:pt x="379147" y="756980"/>
                      </a:cubicBezTo>
                      <a:cubicBezTo>
                        <a:pt x="361095" y="756980"/>
                        <a:pt x="343337" y="755721"/>
                        <a:pt x="326009" y="752919"/>
                      </a:cubicBezTo>
                      <a:cubicBezTo>
                        <a:pt x="291356" y="619263"/>
                        <a:pt x="174568" y="656041"/>
                        <a:pt x="148053" y="677661"/>
                      </a:cubicBezTo>
                      <a:cubicBezTo>
                        <a:pt x="120709" y="657227"/>
                        <a:pt x="96640" y="632755"/>
                        <a:pt x="76207" y="605400"/>
                      </a:cubicBezTo>
                      <a:cubicBezTo>
                        <a:pt x="148133" y="486698"/>
                        <a:pt x="33095" y="428427"/>
                        <a:pt x="3583" y="427819"/>
                      </a:cubicBezTo>
                      <a:cubicBezTo>
                        <a:pt x="1088" y="411708"/>
                        <a:pt x="0" y="395226"/>
                        <a:pt x="0" y="378490"/>
                      </a:cubicBezTo>
                      <a:cubicBezTo>
                        <a:pt x="0" y="361974"/>
                        <a:pt x="1060" y="345704"/>
                        <a:pt x="3334" y="329774"/>
                      </a:cubicBezTo>
                      <a:cubicBezTo>
                        <a:pt x="136249" y="302903"/>
                        <a:pt x="98685" y="172922"/>
                        <a:pt x="81117" y="158819"/>
                      </a:cubicBezTo>
                      <a:lnTo>
                        <a:pt x="74820" y="153831"/>
                      </a:lnTo>
                      <a:cubicBezTo>
                        <a:pt x="94549" y="126372"/>
                        <a:pt x="118301" y="102054"/>
                        <a:pt x="144938" y="81231"/>
                      </a:cubicBezTo>
                      <a:cubicBezTo>
                        <a:pt x="270457" y="158737"/>
                        <a:pt x="329306" y="29323"/>
                        <a:pt x="324956" y="6627"/>
                      </a:cubicBezTo>
                      <a:lnTo>
                        <a:pt x="324509" y="4373"/>
                      </a:lnTo>
                      <a:cubicBezTo>
                        <a:pt x="342304" y="1334"/>
                        <a:pt x="360569" y="0"/>
                        <a:pt x="379147" y="0"/>
                      </a:cubicBezTo>
                      <a:close/>
                    </a:path>
                  </a:pathLst>
                </a:custGeom>
                <a:solidFill>
                  <a:srgbClr val="B9BAE9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8438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0" cap="none" spc="-46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69" name="Freeform 668"/>
                <p:cNvSpPr/>
                <p:nvPr/>
              </p:nvSpPr>
              <p:spPr bwMode="gray">
                <a:xfrm>
                  <a:off x="8339293" y="3616567"/>
                  <a:ext cx="154678" cy="154410"/>
                </a:xfrm>
                <a:custGeom>
                  <a:avLst/>
                  <a:gdLst>
                    <a:gd name="connsiteX0" fmla="*/ 379147 w 758293"/>
                    <a:gd name="connsiteY0" fmla="*/ 297447 h 756980"/>
                    <a:gd name="connsiteX1" fmla="*/ 297962 w 758293"/>
                    <a:gd name="connsiteY1" fmla="*/ 378490 h 756980"/>
                    <a:gd name="connsiteX2" fmla="*/ 379147 w 758293"/>
                    <a:gd name="connsiteY2" fmla="*/ 459534 h 756980"/>
                    <a:gd name="connsiteX3" fmla="*/ 460331 w 758293"/>
                    <a:gd name="connsiteY3" fmla="*/ 378490 h 756980"/>
                    <a:gd name="connsiteX4" fmla="*/ 379147 w 758293"/>
                    <a:gd name="connsiteY4" fmla="*/ 297447 h 756980"/>
                    <a:gd name="connsiteX5" fmla="*/ 379147 w 758293"/>
                    <a:gd name="connsiteY5" fmla="*/ 216403 h 756980"/>
                    <a:gd name="connsiteX6" fmla="*/ 541515 w 758293"/>
                    <a:gd name="connsiteY6" fmla="*/ 378490 h 756980"/>
                    <a:gd name="connsiteX7" fmla="*/ 379147 w 758293"/>
                    <a:gd name="connsiteY7" fmla="*/ 540578 h 756980"/>
                    <a:gd name="connsiteX8" fmla="*/ 216778 w 758293"/>
                    <a:gd name="connsiteY8" fmla="*/ 378490 h 756980"/>
                    <a:gd name="connsiteX9" fmla="*/ 379147 w 758293"/>
                    <a:gd name="connsiteY9" fmla="*/ 216403 h 756980"/>
                    <a:gd name="connsiteX10" fmla="*/ 379147 w 758293"/>
                    <a:gd name="connsiteY10" fmla="*/ 152622 h 756980"/>
                    <a:gd name="connsiteX11" fmla="*/ 152888 w 758293"/>
                    <a:gd name="connsiteY11" fmla="*/ 378490 h 756980"/>
                    <a:gd name="connsiteX12" fmla="*/ 379147 w 758293"/>
                    <a:gd name="connsiteY12" fmla="*/ 604358 h 756980"/>
                    <a:gd name="connsiteX13" fmla="*/ 605406 w 758293"/>
                    <a:gd name="connsiteY13" fmla="*/ 378490 h 756980"/>
                    <a:gd name="connsiteX14" fmla="*/ 379147 w 758293"/>
                    <a:gd name="connsiteY14" fmla="*/ 152622 h 756980"/>
                    <a:gd name="connsiteX15" fmla="*/ 379147 w 758293"/>
                    <a:gd name="connsiteY15" fmla="*/ 0 h 756980"/>
                    <a:gd name="connsiteX16" fmla="*/ 433680 w 758293"/>
                    <a:gd name="connsiteY16" fmla="*/ 4316 h 756980"/>
                    <a:gd name="connsiteX17" fmla="*/ 598071 w 758293"/>
                    <a:gd name="connsiteY17" fmla="*/ 90526 h 756980"/>
                    <a:gd name="connsiteX18" fmla="*/ 609187 w 758293"/>
                    <a:gd name="connsiteY18" fmla="*/ 78520 h 756980"/>
                    <a:gd name="connsiteX19" fmla="*/ 681730 w 758293"/>
                    <a:gd name="connsiteY19" fmla="*/ 151105 h 756980"/>
                    <a:gd name="connsiteX20" fmla="*/ 755134 w 758293"/>
                    <a:gd name="connsiteY20" fmla="*/ 331931 h 756980"/>
                    <a:gd name="connsiteX21" fmla="*/ 758293 w 758293"/>
                    <a:gd name="connsiteY21" fmla="*/ 378490 h 756980"/>
                    <a:gd name="connsiteX22" fmla="*/ 755015 w 758293"/>
                    <a:gd name="connsiteY22" fmla="*/ 425415 h 756980"/>
                    <a:gd name="connsiteX23" fmla="*/ 747691 w 758293"/>
                    <a:gd name="connsiteY23" fmla="*/ 428175 h 756980"/>
                    <a:gd name="connsiteX24" fmla="*/ 747549 w 758293"/>
                    <a:gd name="connsiteY24" fmla="*/ 428142 h 756980"/>
                    <a:gd name="connsiteX25" fmla="*/ 681392 w 758293"/>
                    <a:gd name="connsiteY25" fmla="*/ 605867 h 756980"/>
                    <a:gd name="connsiteX26" fmla="*/ 609971 w 758293"/>
                    <a:gd name="connsiteY26" fmla="*/ 678276 h 756980"/>
                    <a:gd name="connsiteX27" fmla="*/ 433343 w 758293"/>
                    <a:gd name="connsiteY27" fmla="*/ 752676 h 756980"/>
                    <a:gd name="connsiteX28" fmla="*/ 379147 w 758293"/>
                    <a:gd name="connsiteY28" fmla="*/ 756980 h 756980"/>
                    <a:gd name="connsiteX29" fmla="*/ 326009 w 758293"/>
                    <a:gd name="connsiteY29" fmla="*/ 752919 h 756980"/>
                    <a:gd name="connsiteX30" fmla="*/ 148053 w 758293"/>
                    <a:gd name="connsiteY30" fmla="*/ 677661 h 756980"/>
                    <a:gd name="connsiteX31" fmla="*/ 76207 w 758293"/>
                    <a:gd name="connsiteY31" fmla="*/ 605400 h 756980"/>
                    <a:gd name="connsiteX32" fmla="*/ 3583 w 758293"/>
                    <a:gd name="connsiteY32" fmla="*/ 427819 h 756980"/>
                    <a:gd name="connsiteX33" fmla="*/ 0 w 758293"/>
                    <a:gd name="connsiteY33" fmla="*/ 378490 h 756980"/>
                    <a:gd name="connsiteX34" fmla="*/ 3334 w 758293"/>
                    <a:gd name="connsiteY34" fmla="*/ 329774 h 756980"/>
                    <a:gd name="connsiteX35" fmla="*/ 81117 w 758293"/>
                    <a:gd name="connsiteY35" fmla="*/ 158819 h 756980"/>
                    <a:gd name="connsiteX36" fmla="*/ 74820 w 758293"/>
                    <a:gd name="connsiteY36" fmla="*/ 153831 h 756980"/>
                    <a:gd name="connsiteX37" fmla="*/ 144938 w 758293"/>
                    <a:gd name="connsiteY37" fmla="*/ 81231 h 756980"/>
                    <a:gd name="connsiteX38" fmla="*/ 324956 w 758293"/>
                    <a:gd name="connsiteY38" fmla="*/ 6627 h 756980"/>
                    <a:gd name="connsiteX39" fmla="*/ 324509 w 758293"/>
                    <a:gd name="connsiteY39" fmla="*/ 4373 h 756980"/>
                    <a:gd name="connsiteX40" fmla="*/ 379147 w 758293"/>
                    <a:gd name="connsiteY40" fmla="*/ 0 h 756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758293" h="756980">
                      <a:moveTo>
                        <a:pt x="379147" y="297447"/>
                      </a:moveTo>
                      <a:cubicBezTo>
                        <a:pt x="334310" y="297447"/>
                        <a:pt x="297962" y="333731"/>
                        <a:pt x="297962" y="378490"/>
                      </a:cubicBezTo>
                      <a:cubicBezTo>
                        <a:pt x="297962" y="423250"/>
                        <a:pt x="334310" y="459534"/>
                        <a:pt x="379147" y="459534"/>
                      </a:cubicBezTo>
                      <a:cubicBezTo>
                        <a:pt x="423984" y="459534"/>
                        <a:pt x="460331" y="423250"/>
                        <a:pt x="460331" y="378490"/>
                      </a:cubicBezTo>
                      <a:cubicBezTo>
                        <a:pt x="460331" y="333731"/>
                        <a:pt x="423984" y="297447"/>
                        <a:pt x="379147" y="297447"/>
                      </a:cubicBezTo>
                      <a:close/>
                      <a:moveTo>
                        <a:pt x="379147" y="216403"/>
                      </a:moveTo>
                      <a:cubicBezTo>
                        <a:pt x="468820" y="216403"/>
                        <a:pt x="541515" y="288972"/>
                        <a:pt x="541515" y="378490"/>
                      </a:cubicBezTo>
                      <a:cubicBezTo>
                        <a:pt x="541515" y="468009"/>
                        <a:pt x="468820" y="540578"/>
                        <a:pt x="379147" y="540578"/>
                      </a:cubicBezTo>
                      <a:cubicBezTo>
                        <a:pt x="289473" y="540578"/>
                        <a:pt x="216778" y="468009"/>
                        <a:pt x="216778" y="378490"/>
                      </a:cubicBezTo>
                      <a:cubicBezTo>
                        <a:pt x="216778" y="288972"/>
                        <a:pt x="289473" y="216403"/>
                        <a:pt x="379147" y="216403"/>
                      </a:cubicBezTo>
                      <a:close/>
                      <a:moveTo>
                        <a:pt x="379147" y="152622"/>
                      </a:moveTo>
                      <a:cubicBezTo>
                        <a:pt x="254187" y="152622"/>
                        <a:pt x="152888" y="253747"/>
                        <a:pt x="152888" y="378490"/>
                      </a:cubicBezTo>
                      <a:cubicBezTo>
                        <a:pt x="152888" y="503234"/>
                        <a:pt x="254187" y="604358"/>
                        <a:pt x="379147" y="604358"/>
                      </a:cubicBezTo>
                      <a:cubicBezTo>
                        <a:pt x="504106" y="604358"/>
                        <a:pt x="605406" y="503234"/>
                        <a:pt x="605406" y="378490"/>
                      </a:cubicBezTo>
                      <a:cubicBezTo>
                        <a:pt x="605406" y="253747"/>
                        <a:pt x="504106" y="152622"/>
                        <a:pt x="379147" y="152622"/>
                      </a:cubicBezTo>
                      <a:close/>
                      <a:moveTo>
                        <a:pt x="379147" y="0"/>
                      </a:moveTo>
                      <a:cubicBezTo>
                        <a:pt x="397686" y="0"/>
                        <a:pt x="415914" y="1329"/>
                        <a:pt x="433680" y="4316"/>
                      </a:cubicBezTo>
                      <a:cubicBezTo>
                        <a:pt x="452704" y="134013"/>
                        <a:pt x="582821" y="106786"/>
                        <a:pt x="598071" y="90526"/>
                      </a:cubicBezTo>
                      <a:lnTo>
                        <a:pt x="609187" y="78520"/>
                      </a:lnTo>
                      <a:cubicBezTo>
                        <a:pt x="636804" y="99000"/>
                        <a:pt x="661110" y="123588"/>
                        <a:pt x="681730" y="151105"/>
                      </a:cubicBezTo>
                      <a:cubicBezTo>
                        <a:pt x="603523" y="275934"/>
                        <a:pt x="730495" y="335100"/>
                        <a:pt x="755134" y="331931"/>
                      </a:cubicBezTo>
                      <a:cubicBezTo>
                        <a:pt x="757326" y="347163"/>
                        <a:pt x="758293" y="362714"/>
                        <a:pt x="758293" y="378490"/>
                      </a:cubicBezTo>
                      <a:cubicBezTo>
                        <a:pt x="758293" y="394398"/>
                        <a:pt x="757311" y="410076"/>
                        <a:pt x="755015" y="425415"/>
                      </a:cubicBezTo>
                      <a:cubicBezTo>
                        <a:pt x="752279" y="426174"/>
                        <a:pt x="749826" y="427104"/>
                        <a:pt x="747691" y="428175"/>
                      </a:cubicBezTo>
                      <a:lnTo>
                        <a:pt x="747549" y="428142"/>
                      </a:lnTo>
                      <a:cubicBezTo>
                        <a:pt x="624351" y="470383"/>
                        <a:pt x="657262" y="572891"/>
                        <a:pt x="681392" y="605867"/>
                      </a:cubicBezTo>
                      <a:cubicBezTo>
                        <a:pt x="661262" y="633347"/>
                        <a:pt x="637069" y="657604"/>
                        <a:pt x="609971" y="678276"/>
                      </a:cubicBezTo>
                      <a:cubicBezTo>
                        <a:pt x="490182" y="606912"/>
                        <a:pt x="432250" y="725472"/>
                        <a:pt x="433343" y="752676"/>
                      </a:cubicBezTo>
                      <a:cubicBezTo>
                        <a:pt x="415688" y="755669"/>
                        <a:pt x="397571" y="756980"/>
                        <a:pt x="379147" y="756980"/>
                      </a:cubicBezTo>
                      <a:cubicBezTo>
                        <a:pt x="361095" y="756980"/>
                        <a:pt x="343337" y="755721"/>
                        <a:pt x="326009" y="752919"/>
                      </a:cubicBezTo>
                      <a:cubicBezTo>
                        <a:pt x="291356" y="619263"/>
                        <a:pt x="174568" y="656041"/>
                        <a:pt x="148053" y="677661"/>
                      </a:cubicBezTo>
                      <a:cubicBezTo>
                        <a:pt x="120709" y="657227"/>
                        <a:pt x="96640" y="632755"/>
                        <a:pt x="76207" y="605400"/>
                      </a:cubicBezTo>
                      <a:cubicBezTo>
                        <a:pt x="148133" y="486698"/>
                        <a:pt x="33095" y="428427"/>
                        <a:pt x="3583" y="427819"/>
                      </a:cubicBezTo>
                      <a:cubicBezTo>
                        <a:pt x="1088" y="411708"/>
                        <a:pt x="0" y="395226"/>
                        <a:pt x="0" y="378490"/>
                      </a:cubicBezTo>
                      <a:cubicBezTo>
                        <a:pt x="0" y="361974"/>
                        <a:pt x="1060" y="345704"/>
                        <a:pt x="3334" y="329774"/>
                      </a:cubicBezTo>
                      <a:cubicBezTo>
                        <a:pt x="136249" y="302903"/>
                        <a:pt x="98685" y="172922"/>
                        <a:pt x="81117" y="158819"/>
                      </a:cubicBezTo>
                      <a:lnTo>
                        <a:pt x="74820" y="153831"/>
                      </a:lnTo>
                      <a:cubicBezTo>
                        <a:pt x="94549" y="126372"/>
                        <a:pt x="118301" y="102054"/>
                        <a:pt x="144938" y="81231"/>
                      </a:cubicBezTo>
                      <a:cubicBezTo>
                        <a:pt x="270457" y="158737"/>
                        <a:pt x="329306" y="29323"/>
                        <a:pt x="324956" y="6627"/>
                      </a:cubicBezTo>
                      <a:lnTo>
                        <a:pt x="324509" y="4373"/>
                      </a:lnTo>
                      <a:cubicBezTo>
                        <a:pt x="342304" y="1334"/>
                        <a:pt x="360569" y="0"/>
                        <a:pt x="379147" y="0"/>
                      </a:cubicBezTo>
                      <a:close/>
                    </a:path>
                  </a:pathLst>
                </a:custGeom>
                <a:solidFill>
                  <a:srgbClr val="B9BAE9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8438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0" cap="none" spc="-46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  <p:sp>
              <p:nvSpPr>
                <p:cNvPr id="670" name="Freeform 669"/>
                <p:cNvSpPr/>
                <p:nvPr/>
              </p:nvSpPr>
              <p:spPr bwMode="gray">
                <a:xfrm>
                  <a:off x="8252804" y="3733953"/>
                  <a:ext cx="154678" cy="154410"/>
                </a:xfrm>
                <a:custGeom>
                  <a:avLst/>
                  <a:gdLst>
                    <a:gd name="connsiteX0" fmla="*/ 379147 w 758293"/>
                    <a:gd name="connsiteY0" fmla="*/ 297447 h 756980"/>
                    <a:gd name="connsiteX1" fmla="*/ 297962 w 758293"/>
                    <a:gd name="connsiteY1" fmla="*/ 378490 h 756980"/>
                    <a:gd name="connsiteX2" fmla="*/ 379147 w 758293"/>
                    <a:gd name="connsiteY2" fmla="*/ 459534 h 756980"/>
                    <a:gd name="connsiteX3" fmla="*/ 460331 w 758293"/>
                    <a:gd name="connsiteY3" fmla="*/ 378490 h 756980"/>
                    <a:gd name="connsiteX4" fmla="*/ 379147 w 758293"/>
                    <a:gd name="connsiteY4" fmla="*/ 297447 h 756980"/>
                    <a:gd name="connsiteX5" fmla="*/ 379147 w 758293"/>
                    <a:gd name="connsiteY5" fmla="*/ 216403 h 756980"/>
                    <a:gd name="connsiteX6" fmla="*/ 541515 w 758293"/>
                    <a:gd name="connsiteY6" fmla="*/ 378490 h 756980"/>
                    <a:gd name="connsiteX7" fmla="*/ 379147 w 758293"/>
                    <a:gd name="connsiteY7" fmla="*/ 540578 h 756980"/>
                    <a:gd name="connsiteX8" fmla="*/ 216778 w 758293"/>
                    <a:gd name="connsiteY8" fmla="*/ 378490 h 756980"/>
                    <a:gd name="connsiteX9" fmla="*/ 379147 w 758293"/>
                    <a:gd name="connsiteY9" fmla="*/ 216403 h 756980"/>
                    <a:gd name="connsiteX10" fmla="*/ 379147 w 758293"/>
                    <a:gd name="connsiteY10" fmla="*/ 152622 h 756980"/>
                    <a:gd name="connsiteX11" fmla="*/ 152888 w 758293"/>
                    <a:gd name="connsiteY11" fmla="*/ 378490 h 756980"/>
                    <a:gd name="connsiteX12" fmla="*/ 379147 w 758293"/>
                    <a:gd name="connsiteY12" fmla="*/ 604358 h 756980"/>
                    <a:gd name="connsiteX13" fmla="*/ 605406 w 758293"/>
                    <a:gd name="connsiteY13" fmla="*/ 378490 h 756980"/>
                    <a:gd name="connsiteX14" fmla="*/ 379147 w 758293"/>
                    <a:gd name="connsiteY14" fmla="*/ 152622 h 756980"/>
                    <a:gd name="connsiteX15" fmla="*/ 379147 w 758293"/>
                    <a:gd name="connsiteY15" fmla="*/ 0 h 756980"/>
                    <a:gd name="connsiteX16" fmla="*/ 433680 w 758293"/>
                    <a:gd name="connsiteY16" fmla="*/ 4316 h 756980"/>
                    <a:gd name="connsiteX17" fmla="*/ 598071 w 758293"/>
                    <a:gd name="connsiteY17" fmla="*/ 90526 h 756980"/>
                    <a:gd name="connsiteX18" fmla="*/ 609187 w 758293"/>
                    <a:gd name="connsiteY18" fmla="*/ 78520 h 756980"/>
                    <a:gd name="connsiteX19" fmla="*/ 681730 w 758293"/>
                    <a:gd name="connsiteY19" fmla="*/ 151105 h 756980"/>
                    <a:gd name="connsiteX20" fmla="*/ 755134 w 758293"/>
                    <a:gd name="connsiteY20" fmla="*/ 331931 h 756980"/>
                    <a:gd name="connsiteX21" fmla="*/ 758293 w 758293"/>
                    <a:gd name="connsiteY21" fmla="*/ 378490 h 756980"/>
                    <a:gd name="connsiteX22" fmla="*/ 755015 w 758293"/>
                    <a:gd name="connsiteY22" fmla="*/ 425415 h 756980"/>
                    <a:gd name="connsiteX23" fmla="*/ 747691 w 758293"/>
                    <a:gd name="connsiteY23" fmla="*/ 428175 h 756980"/>
                    <a:gd name="connsiteX24" fmla="*/ 747549 w 758293"/>
                    <a:gd name="connsiteY24" fmla="*/ 428142 h 756980"/>
                    <a:gd name="connsiteX25" fmla="*/ 681392 w 758293"/>
                    <a:gd name="connsiteY25" fmla="*/ 605867 h 756980"/>
                    <a:gd name="connsiteX26" fmla="*/ 609971 w 758293"/>
                    <a:gd name="connsiteY26" fmla="*/ 678276 h 756980"/>
                    <a:gd name="connsiteX27" fmla="*/ 433343 w 758293"/>
                    <a:gd name="connsiteY27" fmla="*/ 752676 h 756980"/>
                    <a:gd name="connsiteX28" fmla="*/ 379147 w 758293"/>
                    <a:gd name="connsiteY28" fmla="*/ 756980 h 756980"/>
                    <a:gd name="connsiteX29" fmla="*/ 326009 w 758293"/>
                    <a:gd name="connsiteY29" fmla="*/ 752919 h 756980"/>
                    <a:gd name="connsiteX30" fmla="*/ 148053 w 758293"/>
                    <a:gd name="connsiteY30" fmla="*/ 677661 h 756980"/>
                    <a:gd name="connsiteX31" fmla="*/ 76207 w 758293"/>
                    <a:gd name="connsiteY31" fmla="*/ 605400 h 756980"/>
                    <a:gd name="connsiteX32" fmla="*/ 3583 w 758293"/>
                    <a:gd name="connsiteY32" fmla="*/ 427819 h 756980"/>
                    <a:gd name="connsiteX33" fmla="*/ 0 w 758293"/>
                    <a:gd name="connsiteY33" fmla="*/ 378490 h 756980"/>
                    <a:gd name="connsiteX34" fmla="*/ 3334 w 758293"/>
                    <a:gd name="connsiteY34" fmla="*/ 329774 h 756980"/>
                    <a:gd name="connsiteX35" fmla="*/ 81117 w 758293"/>
                    <a:gd name="connsiteY35" fmla="*/ 158819 h 756980"/>
                    <a:gd name="connsiteX36" fmla="*/ 74820 w 758293"/>
                    <a:gd name="connsiteY36" fmla="*/ 153831 h 756980"/>
                    <a:gd name="connsiteX37" fmla="*/ 144938 w 758293"/>
                    <a:gd name="connsiteY37" fmla="*/ 81231 h 756980"/>
                    <a:gd name="connsiteX38" fmla="*/ 324956 w 758293"/>
                    <a:gd name="connsiteY38" fmla="*/ 6627 h 756980"/>
                    <a:gd name="connsiteX39" fmla="*/ 324509 w 758293"/>
                    <a:gd name="connsiteY39" fmla="*/ 4373 h 756980"/>
                    <a:gd name="connsiteX40" fmla="*/ 379147 w 758293"/>
                    <a:gd name="connsiteY40" fmla="*/ 0 h 7569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758293" h="756980">
                      <a:moveTo>
                        <a:pt x="379147" y="297447"/>
                      </a:moveTo>
                      <a:cubicBezTo>
                        <a:pt x="334310" y="297447"/>
                        <a:pt x="297962" y="333731"/>
                        <a:pt x="297962" y="378490"/>
                      </a:cubicBezTo>
                      <a:cubicBezTo>
                        <a:pt x="297962" y="423250"/>
                        <a:pt x="334310" y="459534"/>
                        <a:pt x="379147" y="459534"/>
                      </a:cubicBezTo>
                      <a:cubicBezTo>
                        <a:pt x="423984" y="459534"/>
                        <a:pt x="460331" y="423250"/>
                        <a:pt x="460331" y="378490"/>
                      </a:cubicBezTo>
                      <a:cubicBezTo>
                        <a:pt x="460331" y="333731"/>
                        <a:pt x="423984" y="297447"/>
                        <a:pt x="379147" y="297447"/>
                      </a:cubicBezTo>
                      <a:close/>
                      <a:moveTo>
                        <a:pt x="379147" y="216403"/>
                      </a:moveTo>
                      <a:cubicBezTo>
                        <a:pt x="468820" y="216403"/>
                        <a:pt x="541515" y="288972"/>
                        <a:pt x="541515" y="378490"/>
                      </a:cubicBezTo>
                      <a:cubicBezTo>
                        <a:pt x="541515" y="468009"/>
                        <a:pt x="468820" y="540578"/>
                        <a:pt x="379147" y="540578"/>
                      </a:cubicBezTo>
                      <a:cubicBezTo>
                        <a:pt x="289473" y="540578"/>
                        <a:pt x="216778" y="468009"/>
                        <a:pt x="216778" y="378490"/>
                      </a:cubicBezTo>
                      <a:cubicBezTo>
                        <a:pt x="216778" y="288972"/>
                        <a:pt x="289473" y="216403"/>
                        <a:pt x="379147" y="216403"/>
                      </a:cubicBezTo>
                      <a:close/>
                      <a:moveTo>
                        <a:pt x="379147" y="152622"/>
                      </a:moveTo>
                      <a:cubicBezTo>
                        <a:pt x="254187" y="152622"/>
                        <a:pt x="152888" y="253747"/>
                        <a:pt x="152888" y="378490"/>
                      </a:cubicBezTo>
                      <a:cubicBezTo>
                        <a:pt x="152888" y="503234"/>
                        <a:pt x="254187" y="604358"/>
                        <a:pt x="379147" y="604358"/>
                      </a:cubicBezTo>
                      <a:cubicBezTo>
                        <a:pt x="504106" y="604358"/>
                        <a:pt x="605406" y="503234"/>
                        <a:pt x="605406" y="378490"/>
                      </a:cubicBezTo>
                      <a:cubicBezTo>
                        <a:pt x="605406" y="253747"/>
                        <a:pt x="504106" y="152622"/>
                        <a:pt x="379147" y="152622"/>
                      </a:cubicBezTo>
                      <a:close/>
                      <a:moveTo>
                        <a:pt x="379147" y="0"/>
                      </a:moveTo>
                      <a:cubicBezTo>
                        <a:pt x="397686" y="0"/>
                        <a:pt x="415914" y="1329"/>
                        <a:pt x="433680" y="4316"/>
                      </a:cubicBezTo>
                      <a:cubicBezTo>
                        <a:pt x="452704" y="134013"/>
                        <a:pt x="582821" y="106786"/>
                        <a:pt x="598071" y="90526"/>
                      </a:cubicBezTo>
                      <a:lnTo>
                        <a:pt x="609187" y="78520"/>
                      </a:lnTo>
                      <a:cubicBezTo>
                        <a:pt x="636804" y="99000"/>
                        <a:pt x="661110" y="123588"/>
                        <a:pt x="681730" y="151105"/>
                      </a:cubicBezTo>
                      <a:cubicBezTo>
                        <a:pt x="603523" y="275934"/>
                        <a:pt x="730495" y="335100"/>
                        <a:pt x="755134" y="331931"/>
                      </a:cubicBezTo>
                      <a:cubicBezTo>
                        <a:pt x="757326" y="347163"/>
                        <a:pt x="758293" y="362714"/>
                        <a:pt x="758293" y="378490"/>
                      </a:cubicBezTo>
                      <a:cubicBezTo>
                        <a:pt x="758293" y="394398"/>
                        <a:pt x="757311" y="410076"/>
                        <a:pt x="755015" y="425415"/>
                      </a:cubicBezTo>
                      <a:cubicBezTo>
                        <a:pt x="752279" y="426174"/>
                        <a:pt x="749826" y="427104"/>
                        <a:pt x="747691" y="428175"/>
                      </a:cubicBezTo>
                      <a:lnTo>
                        <a:pt x="747549" y="428142"/>
                      </a:lnTo>
                      <a:cubicBezTo>
                        <a:pt x="624351" y="470383"/>
                        <a:pt x="657262" y="572891"/>
                        <a:pt x="681392" y="605867"/>
                      </a:cubicBezTo>
                      <a:cubicBezTo>
                        <a:pt x="661262" y="633347"/>
                        <a:pt x="637069" y="657604"/>
                        <a:pt x="609971" y="678276"/>
                      </a:cubicBezTo>
                      <a:cubicBezTo>
                        <a:pt x="490182" y="606912"/>
                        <a:pt x="432250" y="725472"/>
                        <a:pt x="433343" y="752676"/>
                      </a:cubicBezTo>
                      <a:cubicBezTo>
                        <a:pt x="415688" y="755669"/>
                        <a:pt x="397571" y="756980"/>
                        <a:pt x="379147" y="756980"/>
                      </a:cubicBezTo>
                      <a:cubicBezTo>
                        <a:pt x="361095" y="756980"/>
                        <a:pt x="343337" y="755721"/>
                        <a:pt x="326009" y="752919"/>
                      </a:cubicBezTo>
                      <a:cubicBezTo>
                        <a:pt x="291356" y="619263"/>
                        <a:pt x="174568" y="656041"/>
                        <a:pt x="148053" y="677661"/>
                      </a:cubicBezTo>
                      <a:cubicBezTo>
                        <a:pt x="120709" y="657227"/>
                        <a:pt x="96640" y="632755"/>
                        <a:pt x="76207" y="605400"/>
                      </a:cubicBezTo>
                      <a:cubicBezTo>
                        <a:pt x="148133" y="486698"/>
                        <a:pt x="33095" y="428427"/>
                        <a:pt x="3583" y="427819"/>
                      </a:cubicBezTo>
                      <a:cubicBezTo>
                        <a:pt x="1088" y="411708"/>
                        <a:pt x="0" y="395226"/>
                        <a:pt x="0" y="378490"/>
                      </a:cubicBezTo>
                      <a:cubicBezTo>
                        <a:pt x="0" y="361974"/>
                        <a:pt x="1060" y="345704"/>
                        <a:pt x="3334" y="329774"/>
                      </a:cubicBezTo>
                      <a:cubicBezTo>
                        <a:pt x="136249" y="302903"/>
                        <a:pt x="98685" y="172922"/>
                        <a:pt x="81117" y="158819"/>
                      </a:cubicBezTo>
                      <a:lnTo>
                        <a:pt x="74820" y="153831"/>
                      </a:lnTo>
                      <a:cubicBezTo>
                        <a:pt x="94549" y="126372"/>
                        <a:pt x="118301" y="102054"/>
                        <a:pt x="144938" y="81231"/>
                      </a:cubicBezTo>
                      <a:cubicBezTo>
                        <a:pt x="270457" y="158737"/>
                        <a:pt x="329306" y="29323"/>
                        <a:pt x="324956" y="6627"/>
                      </a:cubicBezTo>
                      <a:lnTo>
                        <a:pt x="324509" y="4373"/>
                      </a:lnTo>
                      <a:cubicBezTo>
                        <a:pt x="342304" y="1334"/>
                        <a:pt x="360569" y="0"/>
                        <a:pt x="379147" y="0"/>
                      </a:cubicBezTo>
                      <a:close/>
                    </a:path>
                  </a:pathLst>
                </a:custGeom>
                <a:solidFill>
                  <a:srgbClr val="B9BAE9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843805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0" cap="none" spc="-46" normalizeH="0" baseline="0" noProof="0" dirty="0" smtClean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 pitchFamily="34" charset="0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</p:grpSp>
      </p:grpSp>
      <p:sp>
        <p:nvSpPr>
          <p:cNvPr id="671" name="object 2"/>
          <p:cNvSpPr txBox="1"/>
          <p:nvPr/>
        </p:nvSpPr>
        <p:spPr bwMode="gray">
          <a:xfrm>
            <a:off x="876790" y="2849720"/>
            <a:ext cx="1073150" cy="19938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291" eaLnBrk="1" hangingPunct="1"/>
            <a:r>
              <a:rPr lang="en-US" sz="1108" b="1" dirty="0">
                <a:solidFill>
                  <a:srgbClr val="000000"/>
                </a:solidFill>
                <a:latin typeface="Arial"/>
                <a:cs typeface="Gill Sans"/>
              </a:rPr>
              <a:t>Auto</a:t>
            </a:r>
          </a:p>
        </p:txBody>
      </p:sp>
      <p:grpSp>
        <p:nvGrpSpPr>
          <p:cNvPr id="672" name="Group 671"/>
          <p:cNvGrpSpPr/>
          <p:nvPr/>
        </p:nvGrpSpPr>
        <p:grpSpPr bwMode="gray">
          <a:xfrm>
            <a:off x="455337" y="2761577"/>
            <a:ext cx="366857" cy="366857"/>
            <a:chOff x="6731050" y="3759441"/>
            <a:chExt cx="949960" cy="949958"/>
          </a:xfrm>
        </p:grpSpPr>
        <p:grpSp>
          <p:nvGrpSpPr>
            <p:cNvPr id="673" name="Group 672"/>
            <p:cNvGrpSpPr/>
            <p:nvPr/>
          </p:nvGrpSpPr>
          <p:grpSpPr bwMode="gray">
            <a:xfrm>
              <a:off x="6731050" y="3759441"/>
              <a:ext cx="949960" cy="949958"/>
              <a:chOff x="7887708" y="3050570"/>
              <a:chExt cx="949960" cy="949958"/>
            </a:xfrm>
          </p:grpSpPr>
          <p:sp>
            <p:nvSpPr>
              <p:cNvPr id="677" name="Oval 676"/>
              <p:cNvSpPr/>
              <p:nvPr/>
            </p:nvSpPr>
            <p:spPr bwMode="gray">
              <a:xfrm>
                <a:off x="7887708" y="3050570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678" name="Oval 677"/>
              <p:cNvSpPr/>
              <p:nvPr/>
            </p:nvSpPr>
            <p:spPr bwMode="gray">
              <a:xfrm>
                <a:off x="7962407" y="3125266"/>
                <a:ext cx="800568" cy="800567"/>
              </a:xfrm>
              <a:prstGeom prst="ellipse">
                <a:avLst/>
              </a:prstGeom>
              <a:solidFill>
                <a:srgbClr val="244296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sp>
          <p:nvSpPr>
            <p:cNvPr id="674" name="Freeform 673"/>
            <p:cNvSpPr>
              <a:spLocks/>
            </p:cNvSpPr>
            <p:nvPr/>
          </p:nvSpPr>
          <p:spPr bwMode="gray">
            <a:xfrm>
              <a:off x="6855676" y="4104537"/>
              <a:ext cx="714256" cy="191220"/>
            </a:xfrm>
            <a:custGeom>
              <a:avLst/>
              <a:gdLst>
                <a:gd name="connsiteX0" fmla="*/ 1326195 w 2932955"/>
                <a:gd name="connsiteY0" fmla="*/ 359 h 785207"/>
                <a:gd name="connsiteX1" fmla="*/ 1720948 w 2932955"/>
                <a:gd name="connsiteY1" fmla="*/ 28608 h 785207"/>
                <a:gd name="connsiteX2" fmla="*/ 2054437 w 2932955"/>
                <a:gd name="connsiteY2" fmla="*/ 245166 h 785207"/>
                <a:gd name="connsiteX3" fmla="*/ 2760717 w 2932955"/>
                <a:gd name="connsiteY3" fmla="*/ 396869 h 785207"/>
                <a:gd name="connsiteX4" fmla="*/ 2922621 w 2932955"/>
                <a:gd name="connsiteY4" fmla="*/ 663248 h 785207"/>
                <a:gd name="connsiteX5" fmla="*/ 2783911 w 2932955"/>
                <a:gd name="connsiteY5" fmla="*/ 785207 h 785207"/>
                <a:gd name="connsiteX6" fmla="*/ 2671331 w 2932955"/>
                <a:gd name="connsiteY6" fmla="*/ 785015 h 785207"/>
                <a:gd name="connsiteX7" fmla="*/ 2682243 w 2932955"/>
                <a:gd name="connsiteY7" fmla="*/ 730966 h 785207"/>
                <a:gd name="connsiteX8" fmla="*/ 2377443 w 2932955"/>
                <a:gd name="connsiteY8" fmla="*/ 426166 h 785207"/>
                <a:gd name="connsiteX9" fmla="*/ 2072643 w 2932955"/>
                <a:gd name="connsiteY9" fmla="*/ 730966 h 785207"/>
                <a:gd name="connsiteX10" fmla="*/ 2082769 w 2932955"/>
                <a:gd name="connsiteY10" fmla="*/ 781123 h 785207"/>
                <a:gd name="connsiteX11" fmla="*/ 873797 w 2932955"/>
                <a:gd name="connsiteY11" fmla="*/ 781123 h 785207"/>
                <a:gd name="connsiteX12" fmla="*/ 883923 w 2932955"/>
                <a:gd name="connsiteY12" fmla="*/ 730965 h 785207"/>
                <a:gd name="connsiteX13" fmla="*/ 579123 w 2932955"/>
                <a:gd name="connsiteY13" fmla="*/ 426165 h 785207"/>
                <a:gd name="connsiteX14" fmla="*/ 274323 w 2932955"/>
                <a:gd name="connsiteY14" fmla="*/ 730965 h 785207"/>
                <a:gd name="connsiteX15" fmla="*/ 277299 w 2932955"/>
                <a:gd name="connsiteY15" fmla="*/ 745705 h 785207"/>
                <a:gd name="connsiteX16" fmla="*/ 194109 w 2932955"/>
                <a:gd name="connsiteY16" fmla="*/ 730272 h 785207"/>
                <a:gd name="connsiteX17" fmla="*/ 69050 w 2932955"/>
                <a:gd name="connsiteY17" fmla="*/ 697395 h 785207"/>
                <a:gd name="connsiteX18" fmla="*/ 1297 w 2932955"/>
                <a:gd name="connsiteY18" fmla="*/ 526180 h 785207"/>
                <a:gd name="connsiteX19" fmla="*/ 31507 w 2932955"/>
                <a:gd name="connsiteY19" fmla="*/ 400547 h 785207"/>
                <a:gd name="connsiteX20" fmla="*/ 42653 w 2932955"/>
                <a:gd name="connsiteY20" fmla="*/ 286511 h 785207"/>
                <a:gd name="connsiteX21" fmla="*/ 99261 w 2932955"/>
                <a:gd name="connsiteY21" fmla="*/ 198944 h 785207"/>
                <a:gd name="connsiteX22" fmla="*/ 475572 w 2932955"/>
                <a:gd name="connsiteY22" fmla="*/ 130490 h 785207"/>
                <a:gd name="connsiteX23" fmla="*/ 960700 w 2932955"/>
                <a:gd name="connsiteY23" fmla="*/ 2458 h 785207"/>
                <a:gd name="connsiteX24" fmla="*/ 1326195 w 2932955"/>
                <a:gd name="connsiteY24" fmla="*/ 359 h 785207"/>
                <a:gd name="connsiteX0" fmla="*/ 1326195 w 2932955"/>
                <a:gd name="connsiteY0" fmla="*/ 359 h 785207"/>
                <a:gd name="connsiteX1" fmla="*/ 1720948 w 2932955"/>
                <a:gd name="connsiteY1" fmla="*/ 28608 h 785207"/>
                <a:gd name="connsiteX2" fmla="*/ 2054437 w 2932955"/>
                <a:gd name="connsiteY2" fmla="*/ 245166 h 785207"/>
                <a:gd name="connsiteX3" fmla="*/ 2760717 w 2932955"/>
                <a:gd name="connsiteY3" fmla="*/ 396869 h 785207"/>
                <a:gd name="connsiteX4" fmla="*/ 2922621 w 2932955"/>
                <a:gd name="connsiteY4" fmla="*/ 663248 h 785207"/>
                <a:gd name="connsiteX5" fmla="*/ 2783911 w 2932955"/>
                <a:gd name="connsiteY5" fmla="*/ 785207 h 785207"/>
                <a:gd name="connsiteX6" fmla="*/ 2671331 w 2932955"/>
                <a:gd name="connsiteY6" fmla="*/ 785015 h 785207"/>
                <a:gd name="connsiteX7" fmla="*/ 2682243 w 2932955"/>
                <a:gd name="connsiteY7" fmla="*/ 730966 h 785207"/>
                <a:gd name="connsiteX8" fmla="*/ 2377443 w 2932955"/>
                <a:gd name="connsiteY8" fmla="*/ 426166 h 785207"/>
                <a:gd name="connsiteX9" fmla="*/ 2072643 w 2932955"/>
                <a:gd name="connsiteY9" fmla="*/ 730966 h 785207"/>
                <a:gd name="connsiteX10" fmla="*/ 2082769 w 2932955"/>
                <a:gd name="connsiteY10" fmla="*/ 781123 h 785207"/>
                <a:gd name="connsiteX11" fmla="*/ 873797 w 2932955"/>
                <a:gd name="connsiteY11" fmla="*/ 781123 h 785207"/>
                <a:gd name="connsiteX12" fmla="*/ 883923 w 2932955"/>
                <a:gd name="connsiteY12" fmla="*/ 730965 h 785207"/>
                <a:gd name="connsiteX13" fmla="*/ 579123 w 2932955"/>
                <a:gd name="connsiteY13" fmla="*/ 426165 h 785207"/>
                <a:gd name="connsiteX14" fmla="*/ 274323 w 2932955"/>
                <a:gd name="connsiteY14" fmla="*/ 730965 h 785207"/>
                <a:gd name="connsiteX15" fmla="*/ 277299 w 2932955"/>
                <a:gd name="connsiteY15" fmla="*/ 745705 h 785207"/>
                <a:gd name="connsiteX16" fmla="*/ 194109 w 2932955"/>
                <a:gd name="connsiteY16" fmla="*/ 730272 h 785207"/>
                <a:gd name="connsiteX17" fmla="*/ 69050 w 2932955"/>
                <a:gd name="connsiteY17" fmla="*/ 697395 h 785207"/>
                <a:gd name="connsiteX18" fmla="*/ 1297 w 2932955"/>
                <a:gd name="connsiteY18" fmla="*/ 526180 h 785207"/>
                <a:gd name="connsiteX19" fmla="*/ 31507 w 2932955"/>
                <a:gd name="connsiteY19" fmla="*/ 400547 h 785207"/>
                <a:gd name="connsiteX20" fmla="*/ 42653 w 2932955"/>
                <a:gd name="connsiteY20" fmla="*/ 286511 h 785207"/>
                <a:gd name="connsiteX21" fmla="*/ 99261 w 2932955"/>
                <a:gd name="connsiteY21" fmla="*/ 198944 h 785207"/>
                <a:gd name="connsiteX22" fmla="*/ 504903 w 2932955"/>
                <a:gd name="connsiteY22" fmla="*/ 159821 h 785207"/>
                <a:gd name="connsiteX23" fmla="*/ 960700 w 2932955"/>
                <a:gd name="connsiteY23" fmla="*/ 2458 h 785207"/>
                <a:gd name="connsiteX24" fmla="*/ 1326195 w 2932955"/>
                <a:gd name="connsiteY24" fmla="*/ 359 h 78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932955" h="785207">
                  <a:moveTo>
                    <a:pt x="1326195" y="359"/>
                  </a:moveTo>
                  <a:cubicBezTo>
                    <a:pt x="1475598" y="1838"/>
                    <a:pt x="1629877" y="8376"/>
                    <a:pt x="1720948" y="28608"/>
                  </a:cubicBezTo>
                  <a:cubicBezTo>
                    <a:pt x="1903384" y="69073"/>
                    <a:pt x="1881093" y="183749"/>
                    <a:pt x="2054437" y="245166"/>
                  </a:cubicBezTo>
                  <a:cubicBezTo>
                    <a:pt x="2227780" y="306503"/>
                    <a:pt x="2606438" y="354965"/>
                    <a:pt x="2760717" y="396869"/>
                  </a:cubicBezTo>
                  <a:cubicBezTo>
                    <a:pt x="2907663" y="434774"/>
                    <a:pt x="2956645" y="400547"/>
                    <a:pt x="2922621" y="663248"/>
                  </a:cubicBezTo>
                  <a:cubicBezTo>
                    <a:pt x="2911403" y="765989"/>
                    <a:pt x="2893749" y="783082"/>
                    <a:pt x="2783911" y="785207"/>
                  </a:cubicBezTo>
                  <a:lnTo>
                    <a:pt x="2671331" y="785015"/>
                  </a:lnTo>
                  <a:lnTo>
                    <a:pt x="2682243" y="730966"/>
                  </a:lnTo>
                  <a:cubicBezTo>
                    <a:pt x="2682243" y="562630"/>
                    <a:pt x="2545779" y="426166"/>
                    <a:pt x="2377443" y="426166"/>
                  </a:cubicBezTo>
                  <a:cubicBezTo>
                    <a:pt x="2209107" y="426166"/>
                    <a:pt x="2072643" y="562630"/>
                    <a:pt x="2072643" y="730966"/>
                  </a:cubicBezTo>
                  <a:lnTo>
                    <a:pt x="2082769" y="781123"/>
                  </a:lnTo>
                  <a:lnTo>
                    <a:pt x="873797" y="781123"/>
                  </a:lnTo>
                  <a:lnTo>
                    <a:pt x="883923" y="730965"/>
                  </a:lnTo>
                  <a:cubicBezTo>
                    <a:pt x="883923" y="562629"/>
                    <a:pt x="747459" y="426165"/>
                    <a:pt x="579123" y="426165"/>
                  </a:cubicBezTo>
                  <a:cubicBezTo>
                    <a:pt x="410787" y="426165"/>
                    <a:pt x="274323" y="562629"/>
                    <a:pt x="274323" y="730965"/>
                  </a:cubicBezTo>
                  <a:lnTo>
                    <a:pt x="277299" y="745705"/>
                  </a:lnTo>
                  <a:lnTo>
                    <a:pt x="194109" y="730272"/>
                  </a:lnTo>
                  <a:cubicBezTo>
                    <a:pt x="150810" y="722166"/>
                    <a:pt x="108500" y="712629"/>
                    <a:pt x="69050" y="697395"/>
                  </a:cubicBezTo>
                  <a:cubicBezTo>
                    <a:pt x="-2517" y="670765"/>
                    <a:pt x="-2517" y="590875"/>
                    <a:pt x="1297" y="526180"/>
                  </a:cubicBezTo>
                  <a:cubicBezTo>
                    <a:pt x="1297" y="484275"/>
                    <a:pt x="23881" y="442451"/>
                    <a:pt x="31507" y="400547"/>
                  </a:cubicBezTo>
                  <a:cubicBezTo>
                    <a:pt x="38840" y="362562"/>
                    <a:pt x="50279" y="320738"/>
                    <a:pt x="42653" y="286511"/>
                  </a:cubicBezTo>
                  <a:cubicBezTo>
                    <a:pt x="31507" y="229412"/>
                    <a:pt x="54092" y="206541"/>
                    <a:pt x="99261" y="198944"/>
                  </a:cubicBezTo>
                  <a:cubicBezTo>
                    <a:pt x="129178" y="191267"/>
                    <a:pt x="361477" y="192528"/>
                    <a:pt x="504903" y="159821"/>
                  </a:cubicBezTo>
                  <a:cubicBezTo>
                    <a:pt x="648330" y="127113"/>
                    <a:pt x="738667" y="6217"/>
                    <a:pt x="960700" y="2458"/>
                  </a:cubicBezTo>
                  <a:cubicBezTo>
                    <a:pt x="1032266" y="2458"/>
                    <a:pt x="1176793" y="-1121"/>
                    <a:pt x="1326195" y="35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75" name="Freeform 674"/>
            <p:cNvSpPr/>
            <p:nvPr/>
          </p:nvSpPr>
          <p:spPr bwMode="gray">
            <a:xfrm>
              <a:off x="6935471" y="4217676"/>
              <a:ext cx="122475" cy="122475"/>
            </a:xfrm>
            <a:custGeom>
              <a:avLst/>
              <a:gdLst>
                <a:gd name="connsiteX0" fmla="*/ 251460 w 502920"/>
                <a:gd name="connsiteY0" fmla="*/ 140335 h 502920"/>
                <a:gd name="connsiteX1" fmla="*/ 140335 w 502920"/>
                <a:gd name="connsiteY1" fmla="*/ 251460 h 502920"/>
                <a:gd name="connsiteX2" fmla="*/ 251460 w 502920"/>
                <a:gd name="connsiteY2" fmla="*/ 362585 h 502920"/>
                <a:gd name="connsiteX3" fmla="*/ 362585 w 502920"/>
                <a:gd name="connsiteY3" fmla="*/ 251460 h 502920"/>
                <a:gd name="connsiteX4" fmla="*/ 251460 w 502920"/>
                <a:gd name="connsiteY4" fmla="*/ 140335 h 502920"/>
                <a:gd name="connsiteX5" fmla="*/ 251460 w 502920"/>
                <a:gd name="connsiteY5" fmla="*/ 0 h 502920"/>
                <a:gd name="connsiteX6" fmla="*/ 502920 w 502920"/>
                <a:gd name="connsiteY6" fmla="*/ 251460 h 502920"/>
                <a:gd name="connsiteX7" fmla="*/ 251460 w 502920"/>
                <a:gd name="connsiteY7" fmla="*/ 502920 h 502920"/>
                <a:gd name="connsiteX8" fmla="*/ 0 w 502920"/>
                <a:gd name="connsiteY8" fmla="*/ 251460 h 502920"/>
                <a:gd name="connsiteX9" fmla="*/ 251460 w 502920"/>
                <a:gd name="connsiteY9" fmla="*/ 0 h 50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2920" h="502920">
                  <a:moveTo>
                    <a:pt x="251460" y="140335"/>
                  </a:moveTo>
                  <a:cubicBezTo>
                    <a:pt x="190087" y="140335"/>
                    <a:pt x="140335" y="190087"/>
                    <a:pt x="140335" y="251460"/>
                  </a:cubicBezTo>
                  <a:cubicBezTo>
                    <a:pt x="140335" y="312833"/>
                    <a:pt x="190087" y="362585"/>
                    <a:pt x="251460" y="362585"/>
                  </a:cubicBezTo>
                  <a:cubicBezTo>
                    <a:pt x="312833" y="362585"/>
                    <a:pt x="362585" y="312833"/>
                    <a:pt x="362585" y="251460"/>
                  </a:cubicBezTo>
                  <a:cubicBezTo>
                    <a:pt x="362585" y="190087"/>
                    <a:pt x="312833" y="140335"/>
                    <a:pt x="251460" y="140335"/>
                  </a:cubicBezTo>
                  <a:close/>
                  <a:moveTo>
                    <a:pt x="251460" y="0"/>
                  </a:moveTo>
                  <a:cubicBezTo>
                    <a:pt x="390338" y="0"/>
                    <a:pt x="502920" y="112582"/>
                    <a:pt x="502920" y="251460"/>
                  </a:cubicBezTo>
                  <a:cubicBezTo>
                    <a:pt x="502920" y="390338"/>
                    <a:pt x="390338" y="502920"/>
                    <a:pt x="251460" y="502920"/>
                  </a:cubicBezTo>
                  <a:cubicBezTo>
                    <a:pt x="112582" y="502920"/>
                    <a:pt x="0" y="390338"/>
                    <a:pt x="0" y="251460"/>
                  </a:cubicBezTo>
                  <a:cubicBezTo>
                    <a:pt x="0" y="112582"/>
                    <a:pt x="112582" y="0"/>
                    <a:pt x="251460" y="0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76" name="Freeform 675"/>
            <p:cNvSpPr/>
            <p:nvPr/>
          </p:nvSpPr>
          <p:spPr bwMode="gray">
            <a:xfrm>
              <a:off x="7373103" y="4217676"/>
              <a:ext cx="122475" cy="122475"/>
            </a:xfrm>
            <a:custGeom>
              <a:avLst/>
              <a:gdLst>
                <a:gd name="connsiteX0" fmla="*/ 251460 w 502920"/>
                <a:gd name="connsiteY0" fmla="*/ 140335 h 502920"/>
                <a:gd name="connsiteX1" fmla="*/ 140335 w 502920"/>
                <a:gd name="connsiteY1" fmla="*/ 251460 h 502920"/>
                <a:gd name="connsiteX2" fmla="*/ 251460 w 502920"/>
                <a:gd name="connsiteY2" fmla="*/ 362585 h 502920"/>
                <a:gd name="connsiteX3" fmla="*/ 362585 w 502920"/>
                <a:gd name="connsiteY3" fmla="*/ 251460 h 502920"/>
                <a:gd name="connsiteX4" fmla="*/ 251460 w 502920"/>
                <a:gd name="connsiteY4" fmla="*/ 140335 h 502920"/>
                <a:gd name="connsiteX5" fmla="*/ 251460 w 502920"/>
                <a:gd name="connsiteY5" fmla="*/ 0 h 502920"/>
                <a:gd name="connsiteX6" fmla="*/ 502920 w 502920"/>
                <a:gd name="connsiteY6" fmla="*/ 251460 h 502920"/>
                <a:gd name="connsiteX7" fmla="*/ 251460 w 502920"/>
                <a:gd name="connsiteY7" fmla="*/ 502920 h 502920"/>
                <a:gd name="connsiteX8" fmla="*/ 0 w 502920"/>
                <a:gd name="connsiteY8" fmla="*/ 251460 h 502920"/>
                <a:gd name="connsiteX9" fmla="*/ 251460 w 502920"/>
                <a:gd name="connsiteY9" fmla="*/ 0 h 502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2920" h="502920">
                  <a:moveTo>
                    <a:pt x="251460" y="140335"/>
                  </a:moveTo>
                  <a:cubicBezTo>
                    <a:pt x="190087" y="140335"/>
                    <a:pt x="140335" y="190087"/>
                    <a:pt x="140335" y="251460"/>
                  </a:cubicBezTo>
                  <a:cubicBezTo>
                    <a:pt x="140335" y="312833"/>
                    <a:pt x="190087" y="362585"/>
                    <a:pt x="251460" y="362585"/>
                  </a:cubicBezTo>
                  <a:cubicBezTo>
                    <a:pt x="312833" y="362585"/>
                    <a:pt x="362585" y="312833"/>
                    <a:pt x="362585" y="251460"/>
                  </a:cubicBezTo>
                  <a:cubicBezTo>
                    <a:pt x="362585" y="190087"/>
                    <a:pt x="312833" y="140335"/>
                    <a:pt x="251460" y="140335"/>
                  </a:cubicBezTo>
                  <a:close/>
                  <a:moveTo>
                    <a:pt x="251460" y="0"/>
                  </a:moveTo>
                  <a:cubicBezTo>
                    <a:pt x="390338" y="0"/>
                    <a:pt x="502920" y="112582"/>
                    <a:pt x="502920" y="251460"/>
                  </a:cubicBezTo>
                  <a:cubicBezTo>
                    <a:pt x="502920" y="390338"/>
                    <a:pt x="390338" y="502920"/>
                    <a:pt x="251460" y="502920"/>
                  </a:cubicBezTo>
                  <a:cubicBezTo>
                    <a:pt x="112582" y="502920"/>
                    <a:pt x="0" y="390338"/>
                    <a:pt x="0" y="251460"/>
                  </a:cubicBezTo>
                  <a:cubicBezTo>
                    <a:pt x="0" y="112582"/>
                    <a:pt x="112582" y="0"/>
                    <a:pt x="251460" y="0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</p:grpSp>
      <p:sp>
        <p:nvSpPr>
          <p:cNvPr id="679" name="object 2"/>
          <p:cNvSpPr txBox="1"/>
          <p:nvPr/>
        </p:nvSpPr>
        <p:spPr bwMode="gray">
          <a:xfrm>
            <a:off x="876787" y="3217078"/>
            <a:ext cx="1559278" cy="19938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12291" eaLnBrk="1" hangingPunct="1"/>
            <a:r>
              <a:rPr lang="en-US" sz="1108" b="1" dirty="0">
                <a:solidFill>
                  <a:srgbClr val="000000"/>
                </a:solidFill>
                <a:latin typeface="Arial"/>
                <a:cs typeface="Gill Sans"/>
              </a:rPr>
              <a:t>Retail</a:t>
            </a:r>
          </a:p>
        </p:txBody>
      </p:sp>
      <p:grpSp>
        <p:nvGrpSpPr>
          <p:cNvPr id="680" name="Group 679"/>
          <p:cNvGrpSpPr/>
          <p:nvPr/>
        </p:nvGrpSpPr>
        <p:grpSpPr bwMode="gray">
          <a:xfrm>
            <a:off x="455337" y="3147329"/>
            <a:ext cx="366857" cy="366857"/>
            <a:chOff x="7844637" y="3042922"/>
            <a:chExt cx="949960" cy="949958"/>
          </a:xfrm>
        </p:grpSpPr>
        <p:grpSp>
          <p:nvGrpSpPr>
            <p:cNvPr id="681" name="Group 680"/>
            <p:cNvGrpSpPr/>
            <p:nvPr/>
          </p:nvGrpSpPr>
          <p:grpSpPr bwMode="gray">
            <a:xfrm>
              <a:off x="7844637" y="3042922"/>
              <a:ext cx="949960" cy="949958"/>
              <a:chOff x="7844637" y="3042922"/>
              <a:chExt cx="949960" cy="949958"/>
            </a:xfrm>
          </p:grpSpPr>
          <p:sp>
            <p:nvSpPr>
              <p:cNvPr id="683" name="Oval 682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684" name="Oval 683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0066CC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sp>
          <p:nvSpPr>
            <p:cNvPr id="682" name="Freeform 681"/>
            <p:cNvSpPr/>
            <p:nvPr/>
          </p:nvSpPr>
          <p:spPr bwMode="gray">
            <a:xfrm>
              <a:off x="8081449" y="3192562"/>
              <a:ext cx="492973" cy="539565"/>
            </a:xfrm>
            <a:custGeom>
              <a:avLst/>
              <a:gdLst>
                <a:gd name="connsiteX0" fmla="*/ 931340 w 1293073"/>
                <a:gd name="connsiteY0" fmla="*/ 415895 h 1415284"/>
                <a:gd name="connsiteX1" fmla="*/ 885620 w 1293073"/>
                <a:gd name="connsiteY1" fmla="*/ 461615 h 1415284"/>
                <a:gd name="connsiteX2" fmla="*/ 931340 w 1293073"/>
                <a:gd name="connsiteY2" fmla="*/ 507335 h 1415284"/>
                <a:gd name="connsiteX3" fmla="*/ 977060 w 1293073"/>
                <a:gd name="connsiteY3" fmla="*/ 461615 h 1415284"/>
                <a:gd name="connsiteX4" fmla="*/ 931340 w 1293073"/>
                <a:gd name="connsiteY4" fmla="*/ 415895 h 1415284"/>
                <a:gd name="connsiteX5" fmla="*/ 367253 w 1293073"/>
                <a:gd name="connsiteY5" fmla="*/ 377291 h 1415284"/>
                <a:gd name="connsiteX6" fmla="*/ 321533 w 1293073"/>
                <a:gd name="connsiteY6" fmla="*/ 423011 h 1415284"/>
                <a:gd name="connsiteX7" fmla="*/ 367253 w 1293073"/>
                <a:gd name="connsiteY7" fmla="*/ 468731 h 1415284"/>
                <a:gd name="connsiteX8" fmla="*/ 412973 w 1293073"/>
                <a:gd name="connsiteY8" fmla="*/ 423011 h 1415284"/>
                <a:gd name="connsiteX9" fmla="*/ 367253 w 1293073"/>
                <a:gd name="connsiteY9" fmla="*/ 377291 h 1415284"/>
                <a:gd name="connsiteX10" fmla="*/ 1089685 w 1293073"/>
                <a:gd name="connsiteY10" fmla="*/ 340720 h 1415284"/>
                <a:gd name="connsiteX11" fmla="*/ 1293073 w 1293073"/>
                <a:gd name="connsiteY11" fmla="*/ 1197580 h 1415284"/>
                <a:gd name="connsiteX12" fmla="*/ 1147551 w 1293073"/>
                <a:gd name="connsiteY12" fmla="*/ 1359833 h 1415284"/>
                <a:gd name="connsiteX13" fmla="*/ 658035 w 1293073"/>
                <a:gd name="connsiteY13" fmla="*/ 79417 h 1415284"/>
                <a:gd name="connsiteX14" fmla="*/ 520484 w 1293073"/>
                <a:gd name="connsiteY14" fmla="*/ 121952 h 1415284"/>
                <a:gd name="connsiteX15" fmla="*/ 412770 w 1293073"/>
                <a:gd name="connsiteY15" fmla="*/ 287823 h 1415284"/>
                <a:gd name="connsiteX16" fmla="*/ 409112 w 1293073"/>
                <a:gd name="connsiteY16" fmla="*/ 320104 h 1415284"/>
                <a:gd name="connsiteX17" fmla="*/ 896009 w 1293073"/>
                <a:gd name="connsiteY17" fmla="*/ 337604 h 1415284"/>
                <a:gd name="connsiteX18" fmla="*/ 893234 w 1293073"/>
                <a:gd name="connsiteY18" fmla="*/ 300041 h 1415284"/>
                <a:gd name="connsiteX19" fmla="*/ 793479 w 1293073"/>
                <a:gd name="connsiteY19" fmla="*/ 129831 h 1415284"/>
                <a:gd name="connsiteX20" fmla="*/ 658035 w 1293073"/>
                <a:gd name="connsiteY20" fmla="*/ 79417 h 1415284"/>
                <a:gd name="connsiteX21" fmla="*/ 659969 w 1293073"/>
                <a:gd name="connsiteY21" fmla="*/ 114 h 1415284"/>
                <a:gd name="connsiteX22" fmla="*/ 835494 w 1293073"/>
                <a:gd name="connsiteY22" fmla="*/ 62205 h 1415284"/>
                <a:gd name="connsiteX23" fmla="*/ 970660 w 1293073"/>
                <a:gd name="connsiteY23" fmla="*/ 282687 h 1415284"/>
                <a:gd name="connsiteX24" fmla="*/ 975081 w 1293073"/>
                <a:gd name="connsiteY24" fmla="*/ 340446 h 1415284"/>
                <a:gd name="connsiteX25" fmla="*/ 1064394 w 1293073"/>
                <a:gd name="connsiteY25" fmla="*/ 343656 h 1415284"/>
                <a:gd name="connsiteX26" fmla="*/ 1130919 w 1293073"/>
                <a:gd name="connsiteY26" fmla="*/ 1415284 h 1415284"/>
                <a:gd name="connsiteX27" fmla="*/ 0 w 1293073"/>
                <a:gd name="connsiteY27" fmla="*/ 1298311 h 1415284"/>
                <a:gd name="connsiteX28" fmla="*/ 224521 w 1293073"/>
                <a:gd name="connsiteY28" fmla="*/ 313469 h 1415284"/>
                <a:gd name="connsiteX29" fmla="*/ 330299 w 1293073"/>
                <a:gd name="connsiteY29" fmla="*/ 317271 h 1415284"/>
                <a:gd name="connsiteX30" fmla="*/ 336264 w 1293073"/>
                <a:gd name="connsiteY30" fmla="*/ 266733 h 1415284"/>
                <a:gd name="connsiteX31" fmla="*/ 481808 w 1293073"/>
                <a:gd name="connsiteY31" fmla="*/ 52391 h 1415284"/>
                <a:gd name="connsiteX32" fmla="*/ 659969 w 1293073"/>
                <a:gd name="connsiteY32" fmla="*/ 114 h 1415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93073" h="1415284">
                  <a:moveTo>
                    <a:pt x="931340" y="415895"/>
                  </a:moveTo>
                  <a:cubicBezTo>
                    <a:pt x="906090" y="415895"/>
                    <a:pt x="885620" y="436365"/>
                    <a:pt x="885620" y="461615"/>
                  </a:cubicBezTo>
                  <a:cubicBezTo>
                    <a:pt x="885620" y="486865"/>
                    <a:pt x="906090" y="507335"/>
                    <a:pt x="931340" y="507335"/>
                  </a:cubicBezTo>
                  <a:cubicBezTo>
                    <a:pt x="956590" y="507335"/>
                    <a:pt x="977060" y="486865"/>
                    <a:pt x="977060" y="461615"/>
                  </a:cubicBezTo>
                  <a:cubicBezTo>
                    <a:pt x="977060" y="436365"/>
                    <a:pt x="956590" y="415895"/>
                    <a:pt x="931340" y="415895"/>
                  </a:cubicBezTo>
                  <a:close/>
                  <a:moveTo>
                    <a:pt x="367253" y="377291"/>
                  </a:moveTo>
                  <a:cubicBezTo>
                    <a:pt x="342003" y="377291"/>
                    <a:pt x="321533" y="397761"/>
                    <a:pt x="321533" y="423011"/>
                  </a:cubicBezTo>
                  <a:cubicBezTo>
                    <a:pt x="321533" y="448261"/>
                    <a:pt x="342003" y="468731"/>
                    <a:pt x="367253" y="468731"/>
                  </a:cubicBezTo>
                  <a:cubicBezTo>
                    <a:pt x="392503" y="468731"/>
                    <a:pt x="412973" y="448261"/>
                    <a:pt x="412973" y="423011"/>
                  </a:cubicBezTo>
                  <a:cubicBezTo>
                    <a:pt x="412973" y="397761"/>
                    <a:pt x="392503" y="377291"/>
                    <a:pt x="367253" y="377291"/>
                  </a:cubicBezTo>
                  <a:close/>
                  <a:moveTo>
                    <a:pt x="1089685" y="340720"/>
                  </a:moveTo>
                  <a:lnTo>
                    <a:pt x="1293073" y="1197580"/>
                  </a:lnTo>
                  <a:lnTo>
                    <a:pt x="1147551" y="1359833"/>
                  </a:lnTo>
                  <a:close/>
                  <a:moveTo>
                    <a:pt x="658035" y="79417"/>
                  </a:moveTo>
                  <a:cubicBezTo>
                    <a:pt x="610465" y="78044"/>
                    <a:pt x="562545" y="92162"/>
                    <a:pt x="520484" y="121952"/>
                  </a:cubicBezTo>
                  <a:cubicBezTo>
                    <a:pt x="466504" y="160184"/>
                    <a:pt x="428432" y="219897"/>
                    <a:pt x="412770" y="287823"/>
                  </a:cubicBezTo>
                  <a:lnTo>
                    <a:pt x="409112" y="320104"/>
                  </a:lnTo>
                  <a:lnTo>
                    <a:pt x="896009" y="337604"/>
                  </a:lnTo>
                  <a:lnTo>
                    <a:pt x="893234" y="300041"/>
                  </a:lnTo>
                  <a:cubicBezTo>
                    <a:pt x="880402" y="231939"/>
                    <a:pt x="845218" y="170779"/>
                    <a:pt x="793479" y="129831"/>
                  </a:cubicBezTo>
                  <a:cubicBezTo>
                    <a:pt x="752823" y="97654"/>
                    <a:pt x="705604" y="80790"/>
                    <a:pt x="658035" y="79417"/>
                  </a:cubicBezTo>
                  <a:close/>
                  <a:moveTo>
                    <a:pt x="659969" y="114"/>
                  </a:moveTo>
                  <a:cubicBezTo>
                    <a:pt x="721476" y="1820"/>
                    <a:pt x="782544" y="22588"/>
                    <a:pt x="835494" y="62205"/>
                  </a:cubicBezTo>
                  <a:cubicBezTo>
                    <a:pt x="905513" y="114591"/>
                    <a:pt x="953266" y="193999"/>
                    <a:pt x="970660" y="282687"/>
                  </a:cubicBezTo>
                  <a:lnTo>
                    <a:pt x="975081" y="340446"/>
                  </a:lnTo>
                  <a:lnTo>
                    <a:pt x="1064394" y="343656"/>
                  </a:lnTo>
                  <a:lnTo>
                    <a:pt x="1130919" y="1415284"/>
                  </a:lnTo>
                  <a:lnTo>
                    <a:pt x="0" y="1298311"/>
                  </a:lnTo>
                  <a:lnTo>
                    <a:pt x="224521" y="313469"/>
                  </a:lnTo>
                  <a:lnTo>
                    <a:pt x="330299" y="317271"/>
                  </a:lnTo>
                  <a:lnTo>
                    <a:pt x="336264" y="266733"/>
                  </a:lnTo>
                  <a:cubicBezTo>
                    <a:pt x="357473" y="178466"/>
                    <a:pt x="408994" y="101143"/>
                    <a:pt x="481808" y="52391"/>
                  </a:cubicBezTo>
                  <a:cubicBezTo>
                    <a:pt x="536516" y="15762"/>
                    <a:pt x="598462" y="-1593"/>
                    <a:pt x="659969" y="114"/>
                  </a:cubicBezTo>
                  <a:close/>
                </a:path>
              </a:pathLst>
            </a:custGeom>
            <a:solidFill>
              <a:srgbClr val="FFFFF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84406" tIns="42203" rIns="84406" bIns="42203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420576" eaLnBrk="1" fontAlgn="auto" latinLnBrk="0" hangingPunct="1">
                <a:lnSpc>
                  <a:spcPct val="100000"/>
                </a:lnSpc>
                <a:spcBef>
                  <a:spcPct val="10000"/>
                </a:spcBef>
                <a:spcAft>
                  <a:spcPct val="10000"/>
                </a:spcAft>
                <a:buClrTx/>
                <a:buSzTx/>
                <a:buFontTx/>
                <a:buNone/>
                <a:tabLst>
                  <a:tab pos="175851" algn="l"/>
                  <a:tab pos="575911" algn="l"/>
                  <a:tab pos="4806582" algn="r"/>
                  <a:tab pos="5334133" algn="r"/>
                  <a:tab pos="5697558" algn="r"/>
                  <a:tab pos="6337947" algn="l"/>
                  <a:tab pos="6484489" algn="l"/>
                  <a:tab pos="6913857" algn="r"/>
                  <a:tab pos="6966613" algn="r"/>
                  <a:tab pos="7549850" algn="r"/>
                  <a:tab pos="7650965" algn="r"/>
                </a:tabLst>
                <a:defRPr/>
              </a:pPr>
              <a:endParaRPr kumimoji="0" lang="en-US" sz="1477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</p:grpSp>
      <p:grpSp>
        <p:nvGrpSpPr>
          <p:cNvPr id="685" name="Group 684"/>
          <p:cNvGrpSpPr/>
          <p:nvPr/>
        </p:nvGrpSpPr>
        <p:grpSpPr bwMode="gray">
          <a:xfrm>
            <a:off x="1394285" y="2043802"/>
            <a:ext cx="6336378" cy="2559174"/>
            <a:chOff x="1510475" y="1443138"/>
            <a:chExt cx="6864410" cy="2772438"/>
          </a:xfrm>
        </p:grpSpPr>
        <p:grpSp>
          <p:nvGrpSpPr>
            <p:cNvPr id="686" name="Group 685"/>
            <p:cNvGrpSpPr/>
            <p:nvPr/>
          </p:nvGrpSpPr>
          <p:grpSpPr bwMode="gray">
            <a:xfrm>
              <a:off x="1510475" y="1443138"/>
              <a:ext cx="6864410" cy="2772438"/>
              <a:chOff x="930574" y="1920876"/>
              <a:chExt cx="7352482" cy="4024313"/>
            </a:xfrm>
            <a:solidFill>
              <a:srgbClr val="58575C">
                <a:lumMod val="20000"/>
                <a:lumOff val="80000"/>
              </a:srgbClr>
            </a:solidFill>
          </p:grpSpPr>
          <p:sp>
            <p:nvSpPr>
              <p:cNvPr id="1006" name="Freeform 4"/>
              <p:cNvSpPr>
                <a:spLocks/>
              </p:cNvSpPr>
              <p:nvPr/>
            </p:nvSpPr>
            <p:spPr bwMode="gray">
              <a:xfrm>
                <a:off x="1160736" y="3906839"/>
                <a:ext cx="9524" cy="9525"/>
              </a:xfrm>
              <a:custGeom>
                <a:avLst/>
                <a:gdLst>
                  <a:gd name="T0" fmla="*/ 2 w 6"/>
                  <a:gd name="T1" fmla="*/ 0 h 6"/>
                  <a:gd name="T2" fmla="*/ 0 w 6"/>
                  <a:gd name="T3" fmla="*/ 2 h 6"/>
                  <a:gd name="T4" fmla="*/ 0 w 6"/>
                  <a:gd name="T5" fmla="*/ 4 h 6"/>
                  <a:gd name="T6" fmla="*/ 2 w 6"/>
                  <a:gd name="T7" fmla="*/ 4 h 6"/>
                  <a:gd name="T8" fmla="*/ 6 w 6"/>
                  <a:gd name="T9" fmla="*/ 6 h 6"/>
                  <a:gd name="T10" fmla="*/ 4 w 6"/>
                  <a:gd name="T11" fmla="*/ 2 h 6"/>
                  <a:gd name="T12" fmla="*/ 2 w 6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6" y="6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07" name="Freeform 5"/>
              <p:cNvSpPr>
                <a:spLocks/>
              </p:cNvSpPr>
              <p:nvPr/>
            </p:nvSpPr>
            <p:spPr bwMode="gray">
              <a:xfrm>
                <a:off x="1160736" y="3906839"/>
                <a:ext cx="9524" cy="9525"/>
              </a:xfrm>
              <a:custGeom>
                <a:avLst/>
                <a:gdLst>
                  <a:gd name="T0" fmla="*/ 2 w 6"/>
                  <a:gd name="T1" fmla="*/ 0 h 6"/>
                  <a:gd name="T2" fmla="*/ 0 w 6"/>
                  <a:gd name="T3" fmla="*/ 2 h 6"/>
                  <a:gd name="T4" fmla="*/ 0 w 6"/>
                  <a:gd name="T5" fmla="*/ 4 h 6"/>
                  <a:gd name="T6" fmla="*/ 2 w 6"/>
                  <a:gd name="T7" fmla="*/ 4 h 6"/>
                  <a:gd name="T8" fmla="*/ 6 w 6"/>
                  <a:gd name="T9" fmla="*/ 6 h 6"/>
                  <a:gd name="T10" fmla="*/ 4 w 6"/>
                  <a:gd name="T11" fmla="*/ 2 h 6"/>
                  <a:gd name="T12" fmla="*/ 2 w 6"/>
                  <a:gd name="T13" fmla="*/ 0 h 6"/>
                  <a:gd name="T14" fmla="*/ 2 w 6"/>
                  <a:gd name="T15" fmla="*/ 0 h 6"/>
                  <a:gd name="T16" fmla="*/ 2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6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08" name="Freeform 6"/>
              <p:cNvSpPr>
                <a:spLocks/>
              </p:cNvSpPr>
              <p:nvPr/>
            </p:nvSpPr>
            <p:spPr bwMode="gray">
              <a:xfrm>
                <a:off x="1195657" y="3916364"/>
                <a:ext cx="7937" cy="11113"/>
              </a:xfrm>
              <a:custGeom>
                <a:avLst/>
                <a:gdLst>
                  <a:gd name="T0" fmla="*/ 3 w 5"/>
                  <a:gd name="T1" fmla="*/ 0 h 7"/>
                  <a:gd name="T2" fmla="*/ 1 w 5"/>
                  <a:gd name="T3" fmla="*/ 0 h 7"/>
                  <a:gd name="T4" fmla="*/ 0 w 5"/>
                  <a:gd name="T5" fmla="*/ 1 h 7"/>
                  <a:gd name="T6" fmla="*/ 0 w 5"/>
                  <a:gd name="T7" fmla="*/ 3 h 7"/>
                  <a:gd name="T8" fmla="*/ 5 w 5"/>
                  <a:gd name="T9" fmla="*/ 5 h 7"/>
                  <a:gd name="T10" fmla="*/ 5 w 5"/>
                  <a:gd name="T11" fmla="*/ 7 h 7"/>
                  <a:gd name="T12" fmla="*/ 5 w 5"/>
                  <a:gd name="T13" fmla="*/ 3 h 7"/>
                  <a:gd name="T14" fmla="*/ 3 w 5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09" name="Freeform 7"/>
              <p:cNvSpPr>
                <a:spLocks/>
              </p:cNvSpPr>
              <p:nvPr/>
            </p:nvSpPr>
            <p:spPr bwMode="gray">
              <a:xfrm>
                <a:off x="1195657" y="3916364"/>
                <a:ext cx="7937" cy="11113"/>
              </a:xfrm>
              <a:custGeom>
                <a:avLst/>
                <a:gdLst>
                  <a:gd name="T0" fmla="*/ 3 w 5"/>
                  <a:gd name="T1" fmla="*/ 0 h 7"/>
                  <a:gd name="T2" fmla="*/ 1 w 5"/>
                  <a:gd name="T3" fmla="*/ 0 h 7"/>
                  <a:gd name="T4" fmla="*/ 0 w 5"/>
                  <a:gd name="T5" fmla="*/ 1 h 7"/>
                  <a:gd name="T6" fmla="*/ 0 w 5"/>
                  <a:gd name="T7" fmla="*/ 3 h 7"/>
                  <a:gd name="T8" fmla="*/ 5 w 5"/>
                  <a:gd name="T9" fmla="*/ 5 h 7"/>
                  <a:gd name="T10" fmla="*/ 5 w 5"/>
                  <a:gd name="T11" fmla="*/ 5 h 7"/>
                  <a:gd name="T12" fmla="*/ 5 w 5"/>
                  <a:gd name="T13" fmla="*/ 7 h 7"/>
                  <a:gd name="T14" fmla="*/ 5 w 5"/>
                  <a:gd name="T15" fmla="*/ 7 h 7"/>
                  <a:gd name="T16" fmla="*/ 5 w 5"/>
                  <a:gd name="T17" fmla="*/ 3 h 7"/>
                  <a:gd name="T18" fmla="*/ 3 w 5"/>
                  <a:gd name="T19" fmla="*/ 0 h 7"/>
                  <a:gd name="T20" fmla="*/ 3 w 5"/>
                  <a:gd name="T21" fmla="*/ 0 h 7"/>
                  <a:gd name="T22" fmla="*/ 3 w 5"/>
                  <a:gd name="T2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7">
                    <a:moveTo>
                      <a:pt x="3" y="0"/>
                    </a:move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0" name="Freeform 8"/>
              <p:cNvSpPr>
                <a:spLocks/>
              </p:cNvSpPr>
              <p:nvPr/>
            </p:nvSpPr>
            <p:spPr bwMode="gray">
              <a:xfrm>
                <a:off x="1232166" y="3937001"/>
                <a:ext cx="4762" cy="9525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2 h 6"/>
                  <a:gd name="T4" fmla="*/ 2 w 3"/>
                  <a:gd name="T5" fmla="*/ 6 h 6"/>
                  <a:gd name="T6" fmla="*/ 3 w 3"/>
                  <a:gd name="T7" fmla="*/ 6 h 6"/>
                  <a:gd name="T8" fmla="*/ 3 w 3"/>
                  <a:gd name="T9" fmla="*/ 4 h 6"/>
                  <a:gd name="T10" fmla="*/ 2 w 3"/>
                  <a:gd name="T11" fmla="*/ 2 h 6"/>
                  <a:gd name="T12" fmla="*/ 0 w 3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0" y="2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1" name="Freeform 9"/>
              <p:cNvSpPr>
                <a:spLocks/>
              </p:cNvSpPr>
              <p:nvPr/>
            </p:nvSpPr>
            <p:spPr bwMode="gray">
              <a:xfrm>
                <a:off x="1232166" y="3937001"/>
                <a:ext cx="4762" cy="9525"/>
              </a:xfrm>
              <a:custGeom>
                <a:avLst/>
                <a:gdLst>
                  <a:gd name="T0" fmla="*/ 0 w 3"/>
                  <a:gd name="T1" fmla="*/ 0 h 6"/>
                  <a:gd name="T2" fmla="*/ 0 w 3"/>
                  <a:gd name="T3" fmla="*/ 2 h 6"/>
                  <a:gd name="T4" fmla="*/ 2 w 3"/>
                  <a:gd name="T5" fmla="*/ 6 h 6"/>
                  <a:gd name="T6" fmla="*/ 3 w 3"/>
                  <a:gd name="T7" fmla="*/ 6 h 6"/>
                  <a:gd name="T8" fmla="*/ 3 w 3"/>
                  <a:gd name="T9" fmla="*/ 4 h 6"/>
                  <a:gd name="T10" fmla="*/ 2 w 3"/>
                  <a:gd name="T11" fmla="*/ 2 h 6"/>
                  <a:gd name="T12" fmla="*/ 0 w 3"/>
                  <a:gd name="T13" fmla="*/ 0 h 6"/>
                  <a:gd name="T14" fmla="*/ 0 w 3"/>
                  <a:gd name="T15" fmla="*/ 0 h 6"/>
                  <a:gd name="T16" fmla="*/ 0 w 3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">
                    <a:moveTo>
                      <a:pt x="0" y="0"/>
                    </a:moveTo>
                    <a:lnTo>
                      <a:pt x="0" y="2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2" name="Freeform 10"/>
              <p:cNvSpPr>
                <a:spLocks/>
              </p:cNvSpPr>
              <p:nvPr/>
            </p:nvSpPr>
            <p:spPr bwMode="gray">
              <a:xfrm>
                <a:off x="1240102" y="3963989"/>
                <a:ext cx="22223" cy="25400"/>
              </a:xfrm>
              <a:custGeom>
                <a:avLst/>
                <a:gdLst>
                  <a:gd name="T0" fmla="*/ 4 w 14"/>
                  <a:gd name="T1" fmla="*/ 0 h 16"/>
                  <a:gd name="T2" fmla="*/ 2 w 14"/>
                  <a:gd name="T3" fmla="*/ 2 h 16"/>
                  <a:gd name="T4" fmla="*/ 0 w 14"/>
                  <a:gd name="T5" fmla="*/ 4 h 16"/>
                  <a:gd name="T6" fmla="*/ 0 w 14"/>
                  <a:gd name="T7" fmla="*/ 8 h 16"/>
                  <a:gd name="T8" fmla="*/ 0 w 14"/>
                  <a:gd name="T9" fmla="*/ 12 h 16"/>
                  <a:gd name="T10" fmla="*/ 0 w 14"/>
                  <a:gd name="T11" fmla="*/ 14 h 16"/>
                  <a:gd name="T12" fmla="*/ 4 w 14"/>
                  <a:gd name="T13" fmla="*/ 16 h 16"/>
                  <a:gd name="T14" fmla="*/ 4 w 14"/>
                  <a:gd name="T15" fmla="*/ 16 h 16"/>
                  <a:gd name="T16" fmla="*/ 6 w 14"/>
                  <a:gd name="T17" fmla="*/ 14 h 16"/>
                  <a:gd name="T18" fmla="*/ 10 w 14"/>
                  <a:gd name="T19" fmla="*/ 10 h 16"/>
                  <a:gd name="T20" fmla="*/ 14 w 14"/>
                  <a:gd name="T21" fmla="*/ 8 h 16"/>
                  <a:gd name="T22" fmla="*/ 10 w 14"/>
                  <a:gd name="T23" fmla="*/ 4 h 16"/>
                  <a:gd name="T24" fmla="*/ 10 w 14"/>
                  <a:gd name="T25" fmla="*/ 0 h 16"/>
                  <a:gd name="T26" fmla="*/ 6 w 14"/>
                  <a:gd name="T27" fmla="*/ 0 h 16"/>
                  <a:gd name="T28" fmla="*/ 4 w 14"/>
                  <a:gd name="T2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6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3" name="Freeform 11"/>
              <p:cNvSpPr>
                <a:spLocks/>
              </p:cNvSpPr>
              <p:nvPr/>
            </p:nvSpPr>
            <p:spPr bwMode="gray">
              <a:xfrm>
                <a:off x="1240102" y="3963989"/>
                <a:ext cx="22223" cy="25400"/>
              </a:xfrm>
              <a:custGeom>
                <a:avLst/>
                <a:gdLst>
                  <a:gd name="T0" fmla="*/ 4 w 14"/>
                  <a:gd name="T1" fmla="*/ 0 h 16"/>
                  <a:gd name="T2" fmla="*/ 2 w 14"/>
                  <a:gd name="T3" fmla="*/ 2 h 16"/>
                  <a:gd name="T4" fmla="*/ 0 w 14"/>
                  <a:gd name="T5" fmla="*/ 4 h 16"/>
                  <a:gd name="T6" fmla="*/ 0 w 14"/>
                  <a:gd name="T7" fmla="*/ 8 h 16"/>
                  <a:gd name="T8" fmla="*/ 0 w 14"/>
                  <a:gd name="T9" fmla="*/ 12 h 16"/>
                  <a:gd name="T10" fmla="*/ 0 w 14"/>
                  <a:gd name="T11" fmla="*/ 14 h 16"/>
                  <a:gd name="T12" fmla="*/ 4 w 14"/>
                  <a:gd name="T13" fmla="*/ 16 h 16"/>
                  <a:gd name="T14" fmla="*/ 4 w 14"/>
                  <a:gd name="T15" fmla="*/ 16 h 16"/>
                  <a:gd name="T16" fmla="*/ 6 w 14"/>
                  <a:gd name="T17" fmla="*/ 14 h 16"/>
                  <a:gd name="T18" fmla="*/ 10 w 14"/>
                  <a:gd name="T19" fmla="*/ 10 h 16"/>
                  <a:gd name="T20" fmla="*/ 14 w 14"/>
                  <a:gd name="T21" fmla="*/ 8 h 16"/>
                  <a:gd name="T22" fmla="*/ 10 w 14"/>
                  <a:gd name="T23" fmla="*/ 4 h 16"/>
                  <a:gd name="T24" fmla="*/ 10 w 14"/>
                  <a:gd name="T25" fmla="*/ 0 h 16"/>
                  <a:gd name="T26" fmla="*/ 6 w 14"/>
                  <a:gd name="T27" fmla="*/ 0 h 16"/>
                  <a:gd name="T28" fmla="*/ 4 w 14"/>
                  <a:gd name="T29" fmla="*/ 0 h 16"/>
                  <a:gd name="T30" fmla="*/ 4 w 14"/>
                  <a:gd name="T31" fmla="*/ 0 h 16"/>
                  <a:gd name="T32" fmla="*/ 4 w 14"/>
                  <a:gd name="T3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6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4" name="Freeform 12"/>
              <p:cNvSpPr>
                <a:spLocks/>
              </p:cNvSpPr>
              <p:nvPr/>
            </p:nvSpPr>
            <p:spPr bwMode="gray">
              <a:xfrm>
                <a:off x="8278294" y="3930651"/>
                <a:ext cx="4762" cy="6350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2 h 4"/>
                  <a:gd name="T4" fmla="*/ 1 w 3"/>
                  <a:gd name="T5" fmla="*/ 4 h 4"/>
                  <a:gd name="T6" fmla="*/ 3 w 3"/>
                  <a:gd name="T7" fmla="*/ 4 h 4"/>
                  <a:gd name="T8" fmla="*/ 3 w 3"/>
                  <a:gd name="T9" fmla="*/ 2 h 4"/>
                  <a:gd name="T10" fmla="*/ 3 w 3"/>
                  <a:gd name="T11" fmla="*/ 0 h 4"/>
                  <a:gd name="T12" fmla="*/ 0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5" name="Freeform 13"/>
              <p:cNvSpPr>
                <a:spLocks/>
              </p:cNvSpPr>
              <p:nvPr/>
            </p:nvSpPr>
            <p:spPr bwMode="gray">
              <a:xfrm>
                <a:off x="8278294" y="3930651"/>
                <a:ext cx="4762" cy="6350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2 h 4"/>
                  <a:gd name="T4" fmla="*/ 1 w 3"/>
                  <a:gd name="T5" fmla="*/ 4 h 4"/>
                  <a:gd name="T6" fmla="*/ 3 w 3"/>
                  <a:gd name="T7" fmla="*/ 4 h 4"/>
                  <a:gd name="T8" fmla="*/ 3 w 3"/>
                  <a:gd name="T9" fmla="*/ 2 h 4"/>
                  <a:gd name="T10" fmla="*/ 3 w 3"/>
                  <a:gd name="T11" fmla="*/ 0 h 4"/>
                  <a:gd name="T12" fmla="*/ 0 w 3"/>
                  <a:gd name="T13" fmla="*/ 0 h 4"/>
                  <a:gd name="T14" fmla="*/ 0 w 3"/>
                  <a:gd name="T15" fmla="*/ 0 h 4"/>
                  <a:gd name="T16" fmla="*/ 0 w 3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6" name="Freeform 14"/>
              <p:cNvSpPr>
                <a:spLocks/>
              </p:cNvSpPr>
              <p:nvPr/>
            </p:nvSpPr>
            <p:spPr bwMode="gray">
              <a:xfrm>
                <a:off x="4825866" y="4835526"/>
                <a:ext cx="152383" cy="176213"/>
              </a:xfrm>
              <a:custGeom>
                <a:avLst/>
                <a:gdLst>
                  <a:gd name="T0" fmla="*/ 65 w 96"/>
                  <a:gd name="T1" fmla="*/ 10 h 111"/>
                  <a:gd name="T2" fmla="*/ 71 w 96"/>
                  <a:gd name="T3" fmla="*/ 10 h 111"/>
                  <a:gd name="T4" fmla="*/ 77 w 96"/>
                  <a:gd name="T5" fmla="*/ 14 h 111"/>
                  <a:gd name="T6" fmla="*/ 85 w 96"/>
                  <a:gd name="T7" fmla="*/ 17 h 111"/>
                  <a:gd name="T8" fmla="*/ 92 w 96"/>
                  <a:gd name="T9" fmla="*/ 21 h 111"/>
                  <a:gd name="T10" fmla="*/ 94 w 96"/>
                  <a:gd name="T11" fmla="*/ 29 h 111"/>
                  <a:gd name="T12" fmla="*/ 90 w 96"/>
                  <a:gd name="T13" fmla="*/ 35 h 111"/>
                  <a:gd name="T14" fmla="*/ 92 w 96"/>
                  <a:gd name="T15" fmla="*/ 44 h 111"/>
                  <a:gd name="T16" fmla="*/ 96 w 96"/>
                  <a:gd name="T17" fmla="*/ 50 h 111"/>
                  <a:gd name="T18" fmla="*/ 92 w 96"/>
                  <a:gd name="T19" fmla="*/ 56 h 111"/>
                  <a:gd name="T20" fmla="*/ 90 w 96"/>
                  <a:gd name="T21" fmla="*/ 62 h 111"/>
                  <a:gd name="T22" fmla="*/ 92 w 96"/>
                  <a:gd name="T23" fmla="*/ 65 h 111"/>
                  <a:gd name="T24" fmla="*/ 90 w 96"/>
                  <a:gd name="T25" fmla="*/ 75 h 111"/>
                  <a:gd name="T26" fmla="*/ 92 w 96"/>
                  <a:gd name="T27" fmla="*/ 85 h 111"/>
                  <a:gd name="T28" fmla="*/ 90 w 96"/>
                  <a:gd name="T29" fmla="*/ 88 h 111"/>
                  <a:gd name="T30" fmla="*/ 94 w 96"/>
                  <a:gd name="T31" fmla="*/ 90 h 111"/>
                  <a:gd name="T32" fmla="*/ 88 w 96"/>
                  <a:gd name="T33" fmla="*/ 100 h 111"/>
                  <a:gd name="T34" fmla="*/ 77 w 96"/>
                  <a:gd name="T35" fmla="*/ 111 h 111"/>
                  <a:gd name="T36" fmla="*/ 67 w 96"/>
                  <a:gd name="T37" fmla="*/ 110 h 111"/>
                  <a:gd name="T38" fmla="*/ 64 w 96"/>
                  <a:gd name="T39" fmla="*/ 108 h 111"/>
                  <a:gd name="T40" fmla="*/ 56 w 96"/>
                  <a:gd name="T41" fmla="*/ 110 h 111"/>
                  <a:gd name="T42" fmla="*/ 52 w 96"/>
                  <a:gd name="T43" fmla="*/ 108 h 111"/>
                  <a:gd name="T44" fmla="*/ 46 w 96"/>
                  <a:gd name="T45" fmla="*/ 104 h 111"/>
                  <a:gd name="T46" fmla="*/ 39 w 96"/>
                  <a:gd name="T47" fmla="*/ 100 h 111"/>
                  <a:gd name="T48" fmla="*/ 37 w 96"/>
                  <a:gd name="T49" fmla="*/ 94 h 111"/>
                  <a:gd name="T50" fmla="*/ 37 w 96"/>
                  <a:gd name="T51" fmla="*/ 86 h 111"/>
                  <a:gd name="T52" fmla="*/ 33 w 96"/>
                  <a:gd name="T53" fmla="*/ 83 h 111"/>
                  <a:gd name="T54" fmla="*/ 29 w 96"/>
                  <a:gd name="T55" fmla="*/ 77 h 111"/>
                  <a:gd name="T56" fmla="*/ 27 w 96"/>
                  <a:gd name="T57" fmla="*/ 73 h 111"/>
                  <a:gd name="T58" fmla="*/ 21 w 96"/>
                  <a:gd name="T59" fmla="*/ 69 h 111"/>
                  <a:gd name="T60" fmla="*/ 16 w 96"/>
                  <a:gd name="T61" fmla="*/ 67 h 111"/>
                  <a:gd name="T62" fmla="*/ 10 w 96"/>
                  <a:gd name="T63" fmla="*/ 60 h 111"/>
                  <a:gd name="T64" fmla="*/ 6 w 96"/>
                  <a:gd name="T65" fmla="*/ 52 h 111"/>
                  <a:gd name="T66" fmla="*/ 0 w 96"/>
                  <a:gd name="T67" fmla="*/ 44 h 111"/>
                  <a:gd name="T68" fmla="*/ 2 w 96"/>
                  <a:gd name="T69" fmla="*/ 40 h 111"/>
                  <a:gd name="T70" fmla="*/ 10 w 96"/>
                  <a:gd name="T71" fmla="*/ 40 h 111"/>
                  <a:gd name="T72" fmla="*/ 16 w 96"/>
                  <a:gd name="T73" fmla="*/ 40 h 111"/>
                  <a:gd name="T74" fmla="*/ 25 w 96"/>
                  <a:gd name="T75" fmla="*/ 38 h 111"/>
                  <a:gd name="T76" fmla="*/ 33 w 96"/>
                  <a:gd name="T77" fmla="*/ 37 h 111"/>
                  <a:gd name="T78" fmla="*/ 39 w 96"/>
                  <a:gd name="T79" fmla="*/ 29 h 111"/>
                  <a:gd name="T80" fmla="*/ 40 w 96"/>
                  <a:gd name="T81" fmla="*/ 21 h 111"/>
                  <a:gd name="T82" fmla="*/ 46 w 96"/>
                  <a:gd name="T83" fmla="*/ 17 h 111"/>
                  <a:gd name="T84" fmla="*/ 48 w 96"/>
                  <a:gd name="T85" fmla="*/ 12 h 111"/>
                  <a:gd name="T86" fmla="*/ 54 w 96"/>
                  <a:gd name="T87" fmla="*/ 8 h 111"/>
                  <a:gd name="T88" fmla="*/ 65 w 96"/>
                  <a:gd name="T8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6" h="111">
                    <a:moveTo>
                      <a:pt x="65" y="0"/>
                    </a:moveTo>
                    <a:lnTo>
                      <a:pt x="65" y="10"/>
                    </a:lnTo>
                    <a:lnTo>
                      <a:pt x="67" y="10"/>
                    </a:lnTo>
                    <a:lnTo>
                      <a:pt x="71" y="10"/>
                    </a:lnTo>
                    <a:lnTo>
                      <a:pt x="73" y="12"/>
                    </a:lnTo>
                    <a:lnTo>
                      <a:pt x="77" y="14"/>
                    </a:lnTo>
                    <a:lnTo>
                      <a:pt x="81" y="15"/>
                    </a:lnTo>
                    <a:lnTo>
                      <a:pt x="85" y="17"/>
                    </a:lnTo>
                    <a:lnTo>
                      <a:pt x="88" y="19"/>
                    </a:lnTo>
                    <a:lnTo>
                      <a:pt x="92" y="21"/>
                    </a:lnTo>
                    <a:lnTo>
                      <a:pt x="94" y="25"/>
                    </a:lnTo>
                    <a:lnTo>
                      <a:pt x="94" y="29"/>
                    </a:lnTo>
                    <a:lnTo>
                      <a:pt x="92" y="29"/>
                    </a:lnTo>
                    <a:lnTo>
                      <a:pt x="90" y="35"/>
                    </a:lnTo>
                    <a:lnTo>
                      <a:pt x="90" y="38"/>
                    </a:lnTo>
                    <a:lnTo>
                      <a:pt x="92" y="44"/>
                    </a:lnTo>
                    <a:lnTo>
                      <a:pt x="94" y="48"/>
                    </a:lnTo>
                    <a:lnTo>
                      <a:pt x="96" y="50"/>
                    </a:lnTo>
                    <a:lnTo>
                      <a:pt x="96" y="52"/>
                    </a:lnTo>
                    <a:lnTo>
                      <a:pt x="92" y="56"/>
                    </a:lnTo>
                    <a:lnTo>
                      <a:pt x="90" y="58"/>
                    </a:lnTo>
                    <a:lnTo>
                      <a:pt x="90" y="62"/>
                    </a:lnTo>
                    <a:lnTo>
                      <a:pt x="92" y="63"/>
                    </a:lnTo>
                    <a:lnTo>
                      <a:pt x="92" y="65"/>
                    </a:lnTo>
                    <a:lnTo>
                      <a:pt x="92" y="69"/>
                    </a:lnTo>
                    <a:lnTo>
                      <a:pt x="90" y="75"/>
                    </a:lnTo>
                    <a:lnTo>
                      <a:pt x="92" y="79"/>
                    </a:lnTo>
                    <a:lnTo>
                      <a:pt x="92" y="85"/>
                    </a:lnTo>
                    <a:lnTo>
                      <a:pt x="90" y="88"/>
                    </a:lnTo>
                    <a:lnTo>
                      <a:pt x="90" y="88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0" y="96"/>
                    </a:lnTo>
                    <a:lnTo>
                      <a:pt x="88" y="100"/>
                    </a:lnTo>
                    <a:lnTo>
                      <a:pt x="79" y="111"/>
                    </a:lnTo>
                    <a:lnTo>
                      <a:pt x="77" y="111"/>
                    </a:lnTo>
                    <a:lnTo>
                      <a:pt x="71" y="110"/>
                    </a:lnTo>
                    <a:lnTo>
                      <a:pt x="67" y="110"/>
                    </a:lnTo>
                    <a:lnTo>
                      <a:pt x="67" y="108"/>
                    </a:lnTo>
                    <a:lnTo>
                      <a:pt x="64" y="108"/>
                    </a:lnTo>
                    <a:lnTo>
                      <a:pt x="60" y="110"/>
                    </a:lnTo>
                    <a:lnTo>
                      <a:pt x="56" y="110"/>
                    </a:lnTo>
                    <a:lnTo>
                      <a:pt x="54" y="108"/>
                    </a:lnTo>
                    <a:lnTo>
                      <a:pt x="52" y="108"/>
                    </a:lnTo>
                    <a:lnTo>
                      <a:pt x="48" y="104"/>
                    </a:lnTo>
                    <a:lnTo>
                      <a:pt x="46" y="104"/>
                    </a:lnTo>
                    <a:lnTo>
                      <a:pt x="42" y="102"/>
                    </a:lnTo>
                    <a:lnTo>
                      <a:pt x="39" y="100"/>
                    </a:lnTo>
                    <a:lnTo>
                      <a:pt x="39" y="98"/>
                    </a:lnTo>
                    <a:lnTo>
                      <a:pt x="37" y="94"/>
                    </a:lnTo>
                    <a:lnTo>
                      <a:pt x="39" y="88"/>
                    </a:lnTo>
                    <a:lnTo>
                      <a:pt x="37" y="86"/>
                    </a:lnTo>
                    <a:lnTo>
                      <a:pt x="35" y="85"/>
                    </a:lnTo>
                    <a:lnTo>
                      <a:pt x="33" y="83"/>
                    </a:lnTo>
                    <a:lnTo>
                      <a:pt x="31" y="81"/>
                    </a:lnTo>
                    <a:lnTo>
                      <a:pt x="29" y="77"/>
                    </a:lnTo>
                    <a:lnTo>
                      <a:pt x="29" y="75"/>
                    </a:lnTo>
                    <a:lnTo>
                      <a:pt x="27" y="73"/>
                    </a:lnTo>
                    <a:lnTo>
                      <a:pt x="21" y="69"/>
                    </a:lnTo>
                    <a:lnTo>
                      <a:pt x="21" y="69"/>
                    </a:lnTo>
                    <a:lnTo>
                      <a:pt x="17" y="69"/>
                    </a:lnTo>
                    <a:lnTo>
                      <a:pt x="16" y="67"/>
                    </a:lnTo>
                    <a:lnTo>
                      <a:pt x="14" y="65"/>
                    </a:lnTo>
                    <a:lnTo>
                      <a:pt x="10" y="60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21" y="40"/>
                    </a:lnTo>
                    <a:lnTo>
                      <a:pt x="25" y="38"/>
                    </a:lnTo>
                    <a:lnTo>
                      <a:pt x="29" y="37"/>
                    </a:lnTo>
                    <a:lnTo>
                      <a:pt x="33" y="37"/>
                    </a:lnTo>
                    <a:lnTo>
                      <a:pt x="37" y="35"/>
                    </a:lnTo>
                    <a:lnTo>
                      <a:pt x="39" y="29"/>
                    </a:lnTo>
                    <a:lnTo>
                      <a:pt x="40" y="23"/>
                    </a:lnTo>
                    <a:lnTo>
                      <a:pt x="40" y="21"/>
                    </a:lnTo>
                    <a:lnTo>
                      <a:pt x="42" y="19"/>
                    </a:lnTo>
                    <a:lnTo>
                      <a:pt x="46" y="17"/>
                    </a:lnTo>
                    <a:lnTo>
                      <a:pt x="46" y="14"/>
                    </a:lnTo>
                    <a:lnTo>
                      <a:pt x="48" y="12"/>
                    </a:lnTo>
                    <a:lnTo>
                      <a:pt x="50" y="10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7" name="Freeform 15"/>
              <p:cNvSpPr>
                <a:spLocks/>
              </p:cNvSpPr>
              <p:nvPr/>
            </p:nvSpPr>
            <p:spPr bwMode="gray">
              <a:xfrm>
                <a:off x="4762373" y="4662489"/>
                <a:ext cx="225400" cy="236538"/>
              </a:xfrm>
              <a:custGeom>
                <a:avLst/>
                <a:gdLst>
                  <a:gd name="T0" fmla="*/ 33 w 142"/>
                  <a:gd name="T1" fmla="*/ 144 h 149"/>
                  <a:gd name="T2" fmla="*/ 40 w 142"/>
                  <a:gd name="T3" fmla="*/ 149 h 149"/>
                  <a:gd name="T4" fmla="*/ 50 w 142"/>
                  <a:gd name="T5" fmla="*/ 149 h 149"/>
                  <a:gd name="T6" fmla="*/ 61 w 142"/>
                  <a:gd name="T7" fmla="*/ 149 h 149"/>
                  <a:gd name="T8" fmla="*/ 73 w 142"/>
                  <a:gd name="T9" fmla="*/ 146 h 149"/>
                  <a:gd name="T10" fmla="*/ 80 w 142"/>
                  <a:gd name="T11" fmla="*/ 132 h 149"/>
                  <a:gd name="T12" fmla="*/ 86 w 142"/>
                  <a:gd name="T13" fmla="*/ 126 h 149"/>
                  <a:gd name="T14" fmla="*/ 90 w 142"/>
                  <a:gd name="T15" fmla="*/ 119 h 149"/>
                  <a:gd name="T16" fmla="*/ 105 w 142"/>
                  <a:gd name="T17" fmla="*/ 109 h 149"/>
                  <a:gd name="T18" fmla="*/ 102 w 142"/>
                  <a:gd name="T19" fmla="*/ 101 h 149"/>
                  <a:gd name="T20" fmla="*/ 128 w 142"/>
                  <a:gd name="T21" fmla="*/ 84 h 149"/>
                  <a:gd name="T22" fmla="*/ 130 w 142"/>
                  <a:gd name="T23" fmla="*/ 71 h 149"/>
                  <a:gd name="T24" fmla="*/ 140 w 142"/>
                  <a:gd name="T25" fmla="*/ 59 h 149"/>
                  <a:gd name="T26" fmla="*/ 136 w 142"/>
                  <a:gd name="T27" fmla="*/ 50 h 149"/>
                  <a:gd name="T28" fmla="*/ 140 w 142"/>
                  <a:gd name="T29" fmla="*/ 40 h 149"/>
                  <a:gd name="T30" fmla="*/ 142 w 142"/>
                  <a:gd name="T31" fmla="*/ 29 h 149"/>
                  <a:gd name="T32" fmla="*/ 138 w 142"/>
                  <a:gd name="T33" fmla="*/ 17 h 149"/>
                  <a:gd name="T34" fmla="*/ 128 w 142"/>
                  <a:gd name="T35" fmla="*/ 13 h 149"/>
                  <a:gd name="T36" fmla="*/ 125 w 142"/>
                  <a:gd name="T37" fmla="*/ 4 h 149"/>
                  <a:gd name="T38" fmla="*/ 119 w 142"/>
                  <a:gd name="T39" fmla="*/ 5 h 149"/>
                  <a:gd name="T40" fmla="*/ 115 w 142"/>
                  <a:gd name="T41" fmla="*/ 7 h 149"/>
                  <a:gd name="T42" fmla="*/ 107 w 142"/>
                  <a:gd name="T43" fmla="*/ 4 h 149"/>
                  <a:gd name="T44" fmla="*/ 84 w 142"/>
                  <a:gd name="T45" fmla="*/ 7 h 149"/>
                  <a:gd name="T46" fmla="*/ 77 w 142"/>
                  <a:gd name="T47" fmla="*/ 17 h 149"/>
                  <a:gd name="T48" fmla="*/ 77 w 142"/>
                  <a:gd name="T49" fmla="*/ 23 h 149"/>
                  <a:gd name="T50" fmla="*/ 79 w 142"/>
                  <a:gd name="T51" fmla="*/ 32 h 149"/>
                  <a:gd name="T52" fmla="*/ 79 w 142"/>
                  <a:gd name="T53" fmla="*/ 42 h 149"/>
                  <a:gd name="T54" fmla="*/ 88 w 142"/>
                  <a:gd name="T55" fmla="*/ 52 h 149"/>
                  <a:gd name="T56" fmla="*/ 96 w 142"/>
                  <a:gd name="T57" fmla="*/ 57 h 149"/>
                  <a:gd name="T58" fmla="*/ 104 w 142"/>
                  <a:gd name="T59" fmla="*/ 71 h 149"/>
                  <a:gd name="T60" fmla="*/ 94 w 142"/>
                  <a:gd name="T61" fmla="*/ 71 h 149"/>
                  <a:gd name="T62" fmla="*/ 86 w 142"/>
                  <a:gd name="T63" fmla="*/ 65 h 149"/>
                  <a:gd name="T64" fmla="*/ 77 w 142"/>
                  <a:gd name="T65" fmla="*/ 57 h 149"/>
                  <a:gd name="T66" fmla="*/ 73 w 142"/>
                  <a:gd name="T67" fmla="*/ 48 h 149"/>
                  <a:gd name="T68" fmla="*/ 65 w 142"/>
                  <a:gd name="T69" fmla="*/ 48 h 149"/>
                  <a:gd name="T70" fmla="*/ 54 w 142"/>
                  <a:gd name="T71" fmla="*/ 52 h 149"/>
                  <a:gd name="T72" fmla="*/ 46 w 142"/>
                  <a:gd name="T73" fmla="*/ 50 h 149"/>
                  <a:gd name="T74" fmla="*/ 46 w 142"/>
                  <a:gd name="T75" fmla="*/ 42 h 149"/>
                  <a:gd name="T76" fmla="*/ 42 w 142"/>
                  <a:gd name="T77" fmla="*/ 42 h 149"/>
                  <a:gd name="T78" fmla="*/ 36 w 142"/>
                  <a:gd name="T79" fmla="*/ 44 h 149"/>
                  <a:gd name="T80" fmla="*/ 34 w 142"/>
                  <a:gd name="T81" fmla="*/ 36 h 149"/>
                  <a:gd name="T82" fmla="*/ 31 w 142"/>
                  <a:gd name="T83" fmla="*/ 46 h 149"/>
                  <a:gd name="T84" fmla="*/ 29 w 142"/>
                  <a:gd name="T85" fmla="*/ 57 h 149"/>
                  <a:gd name="T86" fmla="*/ 29 w 142"/>
                  <a:gd name="T87" fmla="*/ 65 h 149"/>
                  <a:gd name="T88" fmla="*/ 2 w 142"/>
                  <a:gd name="T89" fmla="*/ 123 h 149"/>
                  <a:gd name="T90" fmla="*/ 9 w 142"/>
                  <a:gd name="T91" fmla="*/ 13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2" h="149">
                    <a:moveTo>
                      <a:pt x="17" y="146"/>
                    </a:moveTo>
                    <a:lnTo>
                      <a:pt x="31" y="146"/>
                    </a:lnTo>
                    <a:lnTo>
                      <a:pt x="33" y="144"/>
                    </a:lnTo>
                    <a:lnTo>
                      <a:pt x="36" y="146"/>
                    </a:lnTo>
                    <a:lnTo>
                      <a:pt x="38" y="149"/>
                    </a:lnTo>
                    <a:lnTo>
                      <a:pt x="40" y="149"/>
                    </a:lnTo>
                    <a:lnTo>
                      <a:pt x="42" y="149"/>
                    </a:lnTo>
                    <a:lnTo>
                      <a:pt x="46" y="149"/>
                    </a:lnTo>
                    <a:lnTo>
                      <a:pt x="50" y="149"/>
                    </a:lnTo>
                    <a:lnTo>
                      <a:pt x="52" y="149"/>
                    </a:lnTo>
                    <a:lnTo>
                      <a:pt x="56" y="149"/>
                    </a:lnTo>
                    <a:lnTo>
                      <a:pt x="61" y="149"/>
                    </a:lnTo>
                    <a:lnTo>
                      <a:pt x="65" y="147"/>
                    </a:lnTo>
                    <a:lnTo>
                      <a:pt x="69" y="146"/>
                    </a:lnTo>
                    <a:lnTo>
                      <a:pt x="73" y="146"/>
                    </a:lnTo>
                    <a:lnTo>
                      <a:pt x="77" y="144"/>
                    </a:lnTo>
                    <a:lnTo>
                      <a:pt x="79" y="138"/>
                    </a:lnTo>
                    <a:lnTo>
                      <a:pt x="80" y="132"/>
                    </a:lnTo>
                    <a:lnTo>
                      <a:pt x="80" y="130"/>
                    </a:lnTo>
                    <a:lnTo>
                      <a:pt x="82" y="128"/>
                    </a:lnTo>
                    <a:lnTo>
                      <a:pt x="86" y="126"/>
                    </a:lnTo>
                    <a:lnTo>
                      <a:pt x="86" y="123"/>
                    </a:lnTo>
                    <a:lnTo>
                      <a:pt x="88" y="121"/>
                    </a:lnTo>
                    <a:lnTo>
                      <a:pt x="90" y="119"/>
                    </a:lnTo>
                    <a:lnTo>
                      <a:pt x="94" y="117"/>
                    </a:lnTo>
                    <a:lnTo>
                      <a:pt x="96" y="115"/>
                    </a:lnTo>
                    <a:lnTo>
                      <a:pt x="105" y="109"/>
                    </a:lnTo>
                    <a:lnTo>
                      <a:pt x="105" y="109"/>
                    </a:lnTo>
                    <a:lnTo>
                      <a:pt x="105" y="105"/>
                    </a:lnTo>
                    <a:lnTo>
                      <a:pt x="102" y="101"/>
                    </a:lnTo>
                    <a:lnTo>
                      <a:pt x="130" y="92"/>
                    </a:lnTo>
                    <a:lnTo>
                      <a:pt x="130" y="90"/>
                    </a:lnTo>
                    <a:lnTo>
                      <a:pt x="128" y="84"/>
                    </a:lnTo>
                    <a:lnTo>
                      <a:pt x="130" y="80"/>
                    </a:lnTo>
                    <a:lnTo>
                      <a:pt x="130" y="76"/>
                    </a:lnTo>
                    <a:lnTo>
                      <a:pt x="130" y="71"/>
                    </a:lnTo>
                    <a:lnTo>
                      <a:pt x="132" y="67"/>
                    </a:lnTo>
                    <a:lnTo>
                      <a:pt x="138" y="63"/>
                    </a:lnTo>
                    <a:lnTo>
                      <a:pt x="140" y="59"/>
                    </a:lnTo>
                    <a:lnTo>
                      <a:pt x="138" y="57"/>
                    </a:lnTo>
                    <a:lnTo>
                      <a:pt x="136" y="55"/>
                    </a:lnTo>
                    <a:lnTo>
                      <a:pt x="136" y="50"/>
                    </a:lnTo>
                    <a:lnTo>
                      <a:pt x="136" y="46"/>
                    </a:lnTo>
                    <a:lnTo>
                      <a:pt x="138" y="42"/>
                    </a:lnTo>
                    <a:lnTo>
                      <a:pt x="140" y="40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9"/>
                    </a:lnTo>
                    <a:lnTo>
                      <a:pt x="140" y="23"/>
                    </a:lnTo>
                    <a:lnTo>
                      <a:pt x="138" y="21"/>
                    </a:lnTo>
                    <a:lnTo>
                      <a:pt x="138" y="17"/>
                    </a:lnTo>
                    <a:lnTo>
                      <a:pt x="134" y="17"/>
                    </a:lnTo>
                    <a:lnTo>
                      <a:pt x="130" y="15"/>
                    </a:lnTo>
                    <a:lnTo>
                      <a:pt x="128" y="13"/>
                    </a:lnTo>
                    <a:lnTo>
                      <a:pt x="125" y="11"/>
                    </a:lnTo>
                    <a:lnTo>
                      <a:pt x="125" y="7"/>
                    </a:lnTo>
                    <a:lnTo>
                      <a:pt x="125" y="4"/>
                    </a:lnTo>
                    <a:lnTo>
                      <a:pt x="123" y="4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17" y="7"/>
                    </a:lnTo>
                    <a:lnTo>
                      <a:pt x="115" y="7"/>
                    </a:lnTo>
                    <a:lnTo>
                      <a:pt x="111" y="7"/>
                    </a:lnTo>
                    <a:lnTo>
                      <a:pt x="109" y="5"/>
                    </a:lnTo>
                    <a:lnTo>
                      <a:pt x="107" y="4"/>
                    </a:lnTo>
                    <a:lnTo>
                      <a:pt x="105" y="0"/>
                    </a:lnTo>
                    <a:lnTo>
                      <a:pt x="86" y="5"/>
                    </a:lnTo>
                    <a:lnTo>
                      <a:pt x="84" y="7"/>
                    </a:lnTo>
                    <a:lnTo>
                      <a:pt x="79" y="13"/>
                    </a:lnTo>
                    <a:lnTo>
                      <a:pt x="79" y="15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21"/>
                    </a:lnTo>
                    <a:lnTo>
                      <a:pt x="77" y="23"/>
                    </a:lnTo>
                    <a:lnTo>
                      <a:pt x="77" y="25"/>
                    </a:lnTo>
                    <a:lnTo>
                      <a:pt x="77" y="27"/>
                    </a:lnTo>
                    <a:lnTo>
                      <a:pt x="79" y="32"/>
                    </a:lnTo>
                    <a:lnTo>
                      <a:pt x="80" y="36"/>
                    </a:lnTo>
                    <a:lnTo>
                      <a:pt x="79" y="40"/>
                    </a:lnTo>
                    <a:lnTo>
                      <a:pt x="79" y="42"/>
                    </a:lnTo>
                    <a:lnTo>
                      <a:pt x="80" y="46"/>
                    </a:lnTo>
                    <a:lnTo>
                      <a:pt x="84" y="50"/>
                    </a:lnTo>
                    <a:lnTo>
                      <a:pt x="88" y="52"/>
                    </a:lnTo>
                    <a:lnTo>
                      <a:pt x="92" y="53"/>
                    </a:lnTo>
                    <a:lnTo>
                      <a:pt x="94" y="57"/>
                    </a:lnTo>
                    <a:lnTo>
                      <a:pt x="96" y="57"/>
                    </a:lnTo>
                    <a:lnTo>
                      <a:pt x="100" y="55"/>
                    </a:lnTo>
                    <a:lnTo>
                      <a:pt x="104" y="55"/>
                    </a:lnTo>
                    <a:lnTo>
                      <a:pt x="104" y="71"/>
                    </a:lnTo>
                    <a:lnTo>
                      <a:pt x="98" y="69"/>
                    </a:lnTo>
                    <a:lnTo>
                      <a:pt x="96" y="69"/>
                    </a:lnTo>
                    <a:lnTo>
                      <a:pt x="94" y="71"/>
                    </a:lnTo>
                    <a:lnTo>
                      <a:pt x="90" y="73"/>
                    </a:lnTo>
                    <a:lnTo>
                      <a:pt x="86" y="69"/>
                    </a:lnTo>
                    <a:lnTo>
                      <a:pt x="86" y="65"/>
                    </a:lnTo>
                    <a:lnTo>
                      <a:pt x="86" y="61"/>
                    </a:lnTo>
                    <a:lnTo>
                      <a:pt x="80" y="59"/>
                    </a:lnTo>
                    <a:lnTo>
                      <a:pt x="77" y="57"/>
                    </a:lnTo>
                    <a:lnTo>
                      <a:pt x="75" y="53"/>
                    </a:lnTo>
                    <a:lnTo>
                      <a:pt x="73" y="52"/>
                    </a:lnTo>
                    <a:lnTo>
                      <a:pt x="73" y="48"/>
                    </a:lnTo>
                    <a:lnTo>
                      <a:pt x="69" y="48"/>
                    </a:lnTo>
                    <a:lnTo>
                      <a:pt x="67" y="46"/>
                    </a:lnTo>
                    <a:lnTo>
                      <a:pt x="65" y="48"/>
                    </a:lnTo>
                    <a:lnTo>
                      <a:pt x="63" y="52"/>
                    </a:lnTo>
                    <a:lnTo>
                      <a:pt x="59" y="52"/>
                    </a:lnTo>
                    <a:lnTo>
                      <a:pt x="54" y="52"/>
                    </a:lnTo>
                    <a:lnTo>
                      <a:pt x="50" y="52"/>
                    </a:lnTo>
                    <a:lnTo>
                      <a:pt x="46" y="50"/>
                    </a:lnTo>
                    <a:lnTo>
                      <a:pt x="46" y="50"/>
                    </a:lnTo>
                    <a:lnTo>
                      <a:pt x="46" y="48"/>
                    </a:lnTo>
                    <a:lnTo>
                      <a:pt x="46" y="44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4" y="42"/>
                    </a:lnTo>
                    <a:lnTo>
                      <a:pt x="42" y="42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6" y="44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34" y="36"/>
                    </a:lnTo>
                    <a:lnTo>
                      <a:pt x="29" y="36"/>
                    </a:lnTo>
                    <a:lnTo>
                      <a:pt x="29" y="40"/>
                    </a:lnTo>
                    <a:lnTo>
                      <a:pt x="31" y="46"/>
                    </a:lnTo>
                    <a:lnTo>
                      <a:pt x="29" y="50"/>
                    </a:lnTo>
                    <a:lnTo>
                      <a:pt x="29" y="53"/>
                    </a:lnTo>
                    <a:lnTo>
                      <a:pt x="29" y="57"/>
                    </a:lnTo>
                    <a:lnTo>
                      <a:pt x="29" y="59"/>
                    </a:lnTo>
                    <a:lnTo>
                      <a:pt x="29" y="63"/>
                    </a:lnTo>
                    <a:lnTo>
                      <a:pt x="29" y="65"/>
                    </a:lnTo>
                    <a:lnTo>
                      <a:pt x="2" y="65"/>
                    </a:lnTo>
                    <a:lnTo>
                      <a:pt x="0" y="121"/>
                    </a:lnTo>
                    <a:lnTo>
                      <a:pt x="2" y="123"/>
                    </a:lnTo>
                    <a:lnTo>
                      <a:pt x="4" y="126"/>
                    </a:lnTo>
                    <a:lnTo>
                      <a:pt x="6" y="132"/>
                    </a:lnTo>
                    <a:lnTo>
                      <a:pt x="9" y="136"/>
                    </a:lnTo>
                    <a:lnTo>
                      <a:pt x="13" y="144"/>
                    </a:lnTo>
                    <a:lnTo>
                      <a:pt x="17" y="1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8" name="Freeform 16"/>
              <p:cNvSpPr>
                <a:spLocks noEditPoints="1"/>
              </p:cNvSpPr>
              <p:nvPr/>
            </p:nvSpPr>
            <p:spPr bwMode="gray">
              <a:xfrm>
                <a:off x="4560783" y="4314826"/>
                <a:ext cx="396831" cy="463550"/>
              </a:xfrm>
              <a:custGeom>
                <a:avLst/>
                <a:gdLst>
                  <a:gd name="T0" fmla="*/ 94 w 250"/>
                  <a:gd name="T1" fmla="*/ 4 h 292"/>
                  <a:gd name="T2" fmla="*/ 115 w 250"/>
                  <a:gd name="T3" fmla="*/ 10 h 292"/>
                  <a:gd name="T4" fmla="*/ 138 w 250"/>
                  <a:gd name="T5" fmla="*/ 13 h 292"/>
                  <a:gd name="T6" fmla="*/ 152 w 250"/>
                  <a:gd name="T7" fmla="*/ 10 h 292"/>
                  <a:gd name="T8" fmla="*/ 163 w 250"/>
                  <a:gd name="T9" fmla="*/ 6 h 292"/>
                  <a:gd name="T10" fmla="*/ 184 w 250"/>
                  <a:gd name="T11" fmla="*/ 2 h 292"/>
                  <a:gd name="T12" fmla="*/ 198 w 250"/>
                  <a:gd name="T13" fmla="*/ 11 h 292"/>
                  <a:gd name="T14" fmla="*/ 213 w 250"/>
                  <a:gd name="T15" fmla="*/ 13 h 292"/>
                  <a:gd name="T16" fmla="*/ 223 w 250"/>
                  <a:gd name="T17" fmla="*/ 11 h 292"/>
                  <a:gd name="T18" fmla="*/ 236 w 250"/>
                  <a:gd name="T19" fmla="*/ 27 h 292"/>
                  <a:gd name="T20" fmla="*/ 250 w 250"/>
                  <a:gd name="T21" fmla="*/ 36 h 292"/>
                  <a:gd name="T22" fmla="*/ 242 w 250"/>
                  <a:gd name="T23" fmla="*/ 56 h 292"/>
                  <a:gd name="T24" fmla="*/ 240 w 250"/>
                  <a:gd name="T25" fmla="*/ 67 h 292"/>
                  <a:gd name="T26" fmla="*/ 232 w 250"/>
                  <a:gd name="T27" fmla="*/ 77 h 292"/>
                  <a:gd name="T28" fmla="*/ 221 w 250"/>
                  <a:gd name="T29" fmla="*/ 100 h 292"/>
                  <a:gd name="T30" fmla="*/ 211 w 250"/>
                  <a:gd name="T31" fmla="*/ 106 h 292"/>
                  <a:gd name="T32" fmla="*/ 219 w 250"/>
                  <a:gd name="T33" fmla="*/ 104 h 292"/>
                  <a:gd name="T34" fmla="*/ 217 w 250"/>
                  <a:gd name="T35" fmla="*/ 115 h 292"/>
                  <a:gd name="T36" fmla="*/ 211 w 250"/>
                  <a:gd name="T37" fmla="*/ 117 h 292"/>
                  <a:gd name="T38" fmla="*/ 209 w 250"/>
                  <a:gd name="T39" fmla="*/ 130 h 292"/>
                  <a:gd name="T40" fmla="*/ 217 w 250"/>
                  <a:gd name="T41" fmla="*/ 136 h 292"/>
                  <a:gd name="T42" fmla="*/ 213 w 250"/>
                  <a:gd name="T43" fmla="*/ 148 h 292"/>
                  <a:gd name="T44" fmla="*/ 215 w 250"/>
                  <a:gd name="T45" fmla="*/ 159 h 292"/>
                  <a:gd name="T46" fmla="*/ 213 w 250"/>
                  <a:gd name="T47" fmla="*/ 180 h 292"/>
                  <a:gd name="T48" fmla="*/ 231 w 250"/>
                  <a:gd name="T49" fmla="*/ 211 h 292"/>
                  <a:gd name="T50" fmla="*/ 206 w 250"/>
                  <a:gd name="T51" fmla="*/ 228 h 292"/>
                  <a:gd name="T52" fmla="*/ 200 w 250"/>
                  <a:gd name="T53" fmla="*/ 236 h 292"/>
                  <a:gd name="T54" fmla="*/ 204 w 250"/>
                  <a:gd name="T55" fmla="*/ 246 h 292"/>
                  <a:gd name="T56" fmla="*/ 207 w 250"/>
                  <a:gd name="T57" fmla="*/ 265 h 292"/>
                  <a:gd name="T58" fmla="*/ 223 w 250"/>
                  <a:gd name="T59" fmla="*/ 276 h 292"/>
                  <a:gd name="T60" fmla="*/ 223 w 250"/>
                  <a:gd name="T61" fmla="*/ 288 h 292"/>
                  <a:gd name="T62" fmla="*/ 213 w 250"/>
                  <a:gd name="T63" fmla="*/ 280 h 292"/>
                  <a:gd name="T64" fmla="*/ 200 w 250"/>
                  <a:gd name="T65" fmla="*/ 267 h 292"/>
                  <a:gd name="T66" fmla="*/ 186 w 250"/>
                  <a:gd name="T67" fmla="*/ 271 h 292"/>
                  <a:gd name="T68" fmla="*/ 173 w 250"/>
                  <a:gd name="T69" fmla="*/ 263 h 292"/>
                  <a:gd name="T70" fmla="*/ 167 w 250"/>
                  <a:gd name="T71" fmla="*/ 263 h 292"/>
                  <a:gd name="T72" fmla="*/ 161 w 250"/>
                  <a:gd name="T73" fmla="*/ 255 h 292"/>
                  <a:gd name="T74" fmla="*/ 140 w 250"/>
                  <a:gd name="T75" fmla="*/ 257 h 292"/>
                  <a:gd name="T76" fmla="*/ 133 w 250"/>
                  <a:gd name="T77" fmla="*/ 244 h 292"/>
                  <a:gd name="T78" fmla="*/ 131 w 250"/>
                  <a:gd name="T79" fmla="*/ 226 h 292"/>
                  <a:gd name="T80" fmla="*/ 125 w 250"/>
                  <a:gd name="T81" fmla="*/ 207 h 292"/>
                  <a:gd name="T82" fmla="*/ 112 w 250"/>
                  <a:gd name="T83" fmla="*/ 194 h 292"/>
                  <a:gd name="T84" fmla="*/ 100 w 250"/>
                  <a:gd name="T85" fmla="*/ 203 h 292"/>
                  <a:gd name="T86" fmla="*/ 83 w 250"/>
                  <a:gd name="T87" fmla="*/ 209 h 292"/>
                  <a:gd name="T88" fmla="*/ 73 w 250"/>
                  <a:gd name="T89" fmla="*/ 190 h 292"/>
                  <a:gd name="T90" fmla="*/ 46 w 250"/>
                  <a:gd name="T91" fmla="*/ 175 h 292"/>
                  <a:gd name="T92" fmla="*/ 12 w 250"/>
                  <a:gd name="T93" fmla="*/ 182 h 292"/>
                  <a:gd name="T94" fmla="*/ 0 w 250"/>
                  <a:gd name="T95" fmla="*/ 169 h 292"/>
                  <a:gd name="T96" fmla="*/ 14 w 250"/>
                  <a:gd name="T97" fmla="*/ 155 h 292"/>
                  <a:gd name="T98" fmla="*/ 27 w 250"/>
                  <a:gd name="T99" fmla="*/ 152 h 292"/>
                  <a:gd name="T100" fmla="*/ 37 w 250"/>
                  <a:gd name="T101" fmla="*/ 146 h 292"/>
                  <a:gd name="T102" fmla="*/ 50 w 250"/>
                  <a:gd name="T103" fmla="*/ 153 h 292"/>
                  <a:gd name="T104" fmla="*/ 60 w 250"/>
                  <a:gd name="T105" fmla="*/ 140 h 292"/>
                  <a:gd name="T106" fmla="*/ 64 w 250"/>
                  <a:gd name="T107" fmla="*/ 123 h 292"/>
                  <a:gd name="T108" fmla="*/ 71 w 250"/>
                  <a:gd name="T109" fmla="*/ 102 h 292"/>
                  <a:gd name="T110" fmla="*/ 77 w 250"/>
                  <a:gd name="T111" fmla="*/ 69 h 292"/>
                  <a:gd name="T112" fmla="*/ 83 w 250"/>
                  <a:gd name="T113" fmla="*/ 44 h 292"/>
                  <a:gd name="T114" fmla="*/ 217 w 250"/>
                  <a:gd name="T115" fmla="*/ 125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50" h="292">
                    <a:moveTo>
                      <a:pt x="85" y="29"/>
                    </a:moveTo>
                    <a:lnTo>
                      <a:pt x="85" y="15"/>
                    </a:lnTo>
                    <a:lnTo>
                      <a:pt x="88" y="15"/>
                    </a:lnTo>
                    <a:lnTo>
                      <a:pt x="92" y="10"/>
                    </a:lnTo>
                    <a:lnTo>
                      <a:pt x="94" y="4"/>
                    </a:lnTo>
                    <a:lnTo>
                      <a:pt x="96" y="2"/>
                    </a:lnTo>
                    <a:lnTo>
                      <a:pt x="102" y="2"/>
                    </a:lnTo>
                    <a:lnTo>
                      <a:pt x="106" y="4"/>
                    </a:lnTo>
                    <a:lnTo>
                      <a:pt x="112" y="8"/>
                    </a:lnTo>
                    <a:lnTo>
                      <a:pt x="115" y="10"/>
                    </a:lnTo>
                    <a:lnTo>
                      <a:pt x="119" y="11"/>
                    </a:lnTo>
                    <a:lnTo>
                      <a:pt x="125" y="11"/>
                    </a:lnTo>
                    <a:lnTo>
                      <a:pt x="129" y="11"/>
                    </a:lnTo>
                    <a:lnTo>
                      <a:pt x="133" y="13"/>
                    </a:lnTo>
                    <a:lnTo>
                      <a:pt x="138" y="13"/>
                    </a:lnTo>
                    <a:lnTo>
                      <a:pt x="140" y="15"/>
                    </a:lnTo>
                    <a:lnTo>
                      <a:pt x="140" y="11"/>
                    </a:lnTo>
                    <a:lnTo>
                      <a:pt x="144" y="8"/>
                    </a:lnTo>
                    <a:lnTo>
                      <a:pt x="148" y="10"/>
                    </a:lnTo>
                    <a:lnTo>
                      <a:pt x="152" y="10"/>
                    </a:lnTo>
                    <a:lnTo>
                      <a:pt x="158" y="10"/>
                    </a:lnTo>
                    <a:lnTo>
                      <a:pt x="160" y="10"/>
                    </a:lnTo>
                    <a:lnTo>
                      <a:pt x="158" y="6"/>
                    </a:lnTo>
                    <a:lnTo>
                      <a:pt x="161" y="4"/>
                    </a:lnTo>
                    <a:lnTo>
                      <a:pt x="163" y="6"/>
                    </a:lnTo>
                    <a:lnTo>
                      <a:pt x="165" y="6"/>
                    </a:lnTo>
                    <a:lnTo>
                      <a:pt x="169" y="2"/>
                    </a:lnTo>
                    <a:lnTo>
                      <a:pt x="173" y="0"/>
                    </a:lnTo>
                    <a:lnTo>
                      <a:pt x="183" y="0"/>
                    </a:lnTo>
                    <a:lnTo>
                      <a:pt x="184" y="2"/>
                    </a:lnTo>
                    <a:lnTo>
                      <a:pt x="186" y="2"/>
                    </a:lnTo>
                    <a:lnTo>
                      <a:pt x="190" y="2"/>
                    </a:lnTo>
                    <a:lnTo>
                      <a:pt x="194" y="2"/>
                    </a:lnTo>
                    <a:lnTo>
                      <a:pt x="198" y="8"/>
                    </a:lnTo>
                    <a:lnTo>
                      <a:pt x="198" y="11"/>
                    </a:lnTo>
                    <a:lnTo>
                      <a:pt x="200" y="13"/>
                    </a:lnTo>
                    <a:lnTo>
                      <a:pt x="204" y="15"/>
                    </a:lnTo>
                    <a:lnTo>
                      <a:pt x="206" y="11"/>
                    </a:lnTo>
                    <a:lnTo>
                      <a:pt x="207" y="11"/>
                    </a:lnTo>
                    <a:lnTo>
                      <a:pt x="213" y="13"/>
                    </a:lnTo>
                    <a:lnTo>
                      <a:pt x="215" y="15"/>
                    </a:lnTo>
                    <a:lnTo>
                      <a:pt x="217" y="11"/>
                    </a:lnTo>
                    <a:lnTo>
                      <a:pt x="219" y="11"/>
                    </a:lnTo>
                    <a:lnTo>
                      <a:pt x="221" y="11"/>
                    </a:lnTo>
                    <a:lnTo>
                      <a:pt x="223" y="11"/>
                    </a:lnTo>
                    <a:lnTo>
                      <a:pt x="225" y="13"/>
                    </a:lnTo>
                    <a:lnTo>
                      <a:pt x="227" y="19"/>
                    </a:lnTo>
                    <a:lnTo>
                      <a:pt x="229" y="23"/>
                    </a:lnTo>
                    <a:lnTo>
                      <a:pt x="232" y="25"/>
                    </a:lnTo>
                    <a:lnTo>
                      <a:pt x="236" y="27"/>
                    </a:lnTo>
                    <a:lnTo>
                      <a:pt x="240" y="27"/>
                    </a:lnTo>
                    <a:lnTo>
                      <a:pt x="242" y="27"/>
                    </a:lnTo>
                    <a:lnTo>
                      <a:pt x="248" y="31"/>
                    </a:lnTo>
                    <a:lnTo>
                      <a:pt x="250" y="33"/>
                    </a:lnTo>
                    <a:lnTo>
                      <a:pt x="250" y="36"/>
                    </a:lnTo>
                    <a:lnTo>
                      <a:pt x="246" y="42"/>
                    </a:lnTo>
                    <a:lnTo>
                      <a:pt x="244" y="44"/>
                    </a:lnTo>
                    <a:lnTo>
                      <a:pt x="246" y="46"/>
                    </a:lnTo>
                    <a:lnTo>
                      <a:pt x="242" y="50"/>
                    </a:lnTo>
                    <a:lnTo>
                      <a:pt x="242" y="56"/>
                    </a:lnTo>
                    <a:lnTo>
                      <a:pt x="242" y="58"/>
                    </a:lnTo>
                    <a:lnTo>
                      <a:pt x="244" y="59"/>
                    </a:lnTo>
                    <a:lnTo>
                      <a:pt x="244" y="63"/>
                    </a:lnTo>
                    <a:lnTo>
                      <a:pt x="240" y="69"/>
                    </a:lnTo>
                    <a:lnTo>
                      <a:pt x="240" y="67"/>
                    </a:lnTo>
                    <a:lnTo>
                      <a:pt x="242" y="63"/>
                    </a:lnTo>
                    <a:lnTo>
                      <a:pt x="236" y="67"/>
                    </a:lnTo>
                    <a:lnTo>
                      <a:pt x="232" y="71"/>
                    </a:lnTo>
                    <a:lnTo>
                      <a:pt x="232" y="73"/>
                    </a:lnTo>
                    <a:lnTo>
                      <a:pt x="232" y="77"/>
                    </a:lnTo>
                    <a:lnTo>
                      <a:pt x="227" y="79"/>
                    </a:lnTo>
                    <a:lnTo>
                      <a:pt x="225" y="82"/>
                    </a:lnTo>
                    <a:lnTo>
                      <a:pt x="223" y="86"/>
                    </a:lnTo>
                    <a:lnTo>
                      <a:pt x="223" y="92"/>
                    </a:lnTo>
                    <a:lnTo>
                      <a:pt x="221" y="100"/>
                    </a:lnTo>
                    <a:lnTo>
                      <a:pt x="219" y="98"/>
                    </a:lnTo>
                    <a:lnTo>
                      <a:pt x="217" y="98"/>
                    </a:lnTo>
                    <a:lnTo>
                      <a:pt x="213" y="100"/>
                    </a:lnTo>
                    <a:lnTo>
                      <a:pt x="211" y="104"/>
                    </a:lnTo>
                    <a:lnTo>
                      <a:pt x="211" y="106"/>
                    </a:lnTo>
                    <a:lnTo>
                      <a:pt x="213" y="107"/>
                    </a:lnTo>
                    <a:lnTo>
                      <a:pt x="213" y="107"/>
                    </a:lnTo>
                    <a:lnTo>
                      <a:pt x="217" y="107"/>
                    </a:lnTo>
                    <a:lnTo>
                      <a:pt x="217" y="106"/>
                    </a:lnTo>
                    <a:lnTo>
                      <a:pt x="219" y="104"/>
                    </a:lnTo>
                    <a:lnTo>
                      <a:pt x="219" y="106"/>
                    </a:lnTo>
                    <a:lnTo>
                      <a:pt x="217" y="107"/>
                    </a:lnTo>
                    <a:lnTo>
                      <a:pt x="215" y="111"/>
                    </a:lnTo>
                    <a:lnTo>
                      <a:pt x="215" y="113"/>
                    </a:lnTo>
                    <a:lnTo>
                      <a:pt x="217" y="115"/>
                    </a:lnTo>
                    <a:lnTo>
                      <a:pt x="217" y="115"/>
                    </a:lnTo>
                    <a:lnTo>
                      <a:pt x="217" y="119"/>
                    </a:lnTo>
                    <a:lnTo>
                      <a:pt x="217" y="123"/>
                    </a:lnTo>
                    <a:lnTo>
                      <a:pt x="213" y="119"/>
                    </a:lnTo>
                    <a:lnTo>
                      <a:pt x="211" y="117"/>
                    </a:lnTo>
                    <a:lnTo>
                      <a:pt x="209" y="121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9"/>
                    </a:lnTo>
                    <a:lnTo>
                      <a:pt x="209" y="130"/>
                    </a:lnTo>
                    <a:lnTo>
                      <a:pt x="211" y="130"/>
                    </a:lnTo>
                    <a:lnTo>
                      <a:pt x="211" y="132"/>
                    </a:lnTo>
                    <a:lnTo>
                      <a:pt x="211" y="132"/>
                    </a:lnTo>
                    <a:lnTo>
                      <a:pt x="213" y="136"/>
                    </a:lnTo>
                    <a:lnTo>
                      <a:pt x="217" y="136"/>
                    </a:lnTo>
                    <a:lnTo>
                      <a:pt x="219" y="142"/>
                    </a:lnTo>
                    <a:lnTo>
                      <a:pt x="219" y="144"/>
                    </a:lnTo>
                    <a:lnTo>
                      <a:pt x="217" y="144"/>
                    </a:lnTo>
                    <a:lnTo>
                      <a:pt x="215" y="144"/>
                    </a:lnTo>
                    <a:lnTo>
                      <a:pt x="213" y="148"/>
                    </a:lnTo>
                    <a:lnTo>
                      <a:pt x="211" y="153"/>
                    </a:lnTo>
                    <a:lnTo>
                      <a:pt x="211" y="155"/>
                    </a:lnTo>
                    <a:lnTo>
                      <a:pt x="211" y="157"/>
                    </a:lnTo>
                    <a:lnTo>
                      <a:pt x="213" y="159"/>
                    </a:lnTo>
                    <a:lnTo>
                      <a:pt x="215" y="159"/>
                    </a:lnTo>
                    <a:lnTo>
                      <a:pt x="213" y="163"/>
                    </a:lnTo>
                    <a:lnTo>
                      <a:pt x="213" y="167"/>
                    </a:lnTo>
                    <a:lnTo>
                      <a:pt x="217" y="171"/>
                    </a:lnTo>
                    <a:lnTo>
                      <a:pt x="215" y="177"/>
                    </a:lnTo>
                    <a:lnTo>
                      <a:pt x="213" y="180"/>
                    </a:lnTo>
                    <a:lnTo>
                      <a:pt x="215" y="188"/>
                    </a:lnTo>
                    <a:lnTo>
                      <a:pt x="219" y="198"/>
                    </a:lnTo>
                    <a:lnTo>
                      <a:pt x="231" y="205"/>
                    </a:lnTo>
                    <a:lnTo>
                      <a:pt x="231" y="209"/>
                    </a:lnTo>
                    <a:lnTo>
                      <a:pt x="231" y="211"/>
                    </a:lnTo>
                    <a:lnTo>
                      <a:pt x="232" y="215"/>
                    </a:lnTo>
                    <a:lnTo>
                      <a:pt x="232" y="219"/>
                    </a:lnTo>
                    <a:lnTo>
                      <a:pt x="213" y="224"/>
                    </a:lnTo>
                    <a:lnTo>
                      <a:pt x="206" y="232"/>
                    </a:lnTo>
                    <a:lnTo>
                      <a:pt x="206" y="228"/>
                    </a:lnTo>
                    <a:lnTo>
                      <a:pt x="207" y="226"/>
                    </a:lnTo>
                    <a:lnTo>
                      <a:pt x="202" y="230"/>
                    </a:lnTo>
                    <a:lnTo>
                      <a:pt x="198" y="232"/>
                    </a:lnTo>
                    <a:lnTo>
                      <a:pt x="200" y="234"/>
                    </a:lnTo>
                    <a:lnTo>
                      <a:pt x="200" y="236"/>
                    </a:lnTo>
                    <a:lnTo>
                      <a:pt x="202" y="236"/>
                    </a:lnTo>
                    <a:lnTo>
                      <a:pt x="202" y="240"/>
                    </a:lnTo>
                    <a:lnTo>
                      <a:pt x="204" y="242"/>
                    </a:lnTo>
                    <a:lnTo>
                      <a:pt x="204" y="244"/>
                    </a:lnTo>
                    <a:lnTo>
                      <a:pt x="204" y="246"/>
                    </a:lnTo>
                    <a:lnTo>
                      <a:pt x="206" y="251"/>
                    </a:lnTo>
                    <a:lnTo>
                      <a:pt x="207" y="255"/>
                    </a:lnTo>
                    <a:lnTo>
                      <a:pt x="206" y="259"/>
                    </a:lnTo>
                    <a:lnTo>
                      <a:pt x="206" y="261"/>
                    </a:lnTo>
                    <a:lnTo>
                      <a:pt x="207" y="265"/>
                    </a:lnTo>
                    <a:lnTo>
                      <a:pt x="211" y="269"/>
                    </a:lnTo>
                    <a:lnTo>
                      <a:pt x="215" y="271"/>
                    </a:lnTo>
                    <a:lnTo>
                      <a:pt x="219" y="272"/>
                    </a:lnTo>
                    <a:lnTo>
                      <a:pt x="221" y="276"/>
                    </a:lnTo>
                    <a:lnTo>
                      <a:pt x="223" y="276"/>
                    </a:lnTo>
                    <a:lnTo>
                      <a:pt x="227" y="274"/>
                    </a:lnTo>
                    <a:lnTo>
                      <a:pt x="231" y="274"/>
                    </a:lnTo>
                    <a:lnTo>
                      <a:pt x="231" y="290"/>
                    </a:lnTo>
                    <a:lnTo>
                      <a:pt x="225" y="288"/>
                    </a:lnTo>
                    <a:lnTo>
                      <a:pt x="223" y="288"/>
                    </a:lnTo>
                    <a:lnTo>
                      <a:pt x="221" y="290"/>
                    </a:lnTo>
                    <a:lnTo>
                      <a:pt x="217" y="292"/>
                    </a:lnTo>
                    <a:lnTo>
                      <a:pt x="213" y="288"/>
                    </a:lnTo>
                    <a:lnTo>
                      <a:pt x="213" y="284"/>
                    </a:lnTo>
                    <a:lnTo>
                      <a:pt x="213" y="280"/>
                    </a:lnTo>
                    <a:lnTo>
                      <a:pt x="207" y="278"/>
                    </a:lnTo>
                    <a:lnTo>
                      <a:pt x="204" y="276"/>
                    </a:lnTo>
                    <a:lnTo>
                      <a:pt x="202" y="272"/>
                    </a:lnTo>
                    <a:lnTo>
                      <a:pt x="200" y="271"/>
                    </a:lnTo>
                    <a:lnTo>
                      <a:pt x="200" y="267"/>
                    </a:lnTo>
                    <a:lnTo>
                      <a:pt x="196" y="267"/>
                    </a:lnTo>
                    <a:lnTo>
                      <a:pt x="194" y="265"/>
                    </a:lnTo>
                    <a:lnTo>
                      <a:pt x="192" y="267"/>
                    </a:lnTo>
                    <a:lnTo>
                      <a:pt x="190" y="271"/>
                    </a:lnTo>
                    <a:lnTo>
                      <a:pt x="186" y="271"/>
                    </a:lnTo>
                    <a:lnTo>
                      <a:pt x="177" y="271"/>
                    </a:lnTo>
                    <a:lnTo>
                      <a:pt x="173" y="269"/>
                    </a:lnTo>
                    <a:lnTo>
                      <a:pt x="173" y="269"/>
                    </a:lnTo>
                    <a:lnTo>
                      <a:pt x="173" y="267"/>
                    </a:lnTo>
                    <a:lnTo>
                      <a:pt x="173" y="263"/>
                    </a:lnTo>
                    <a:lnTo>
                      <a:pt x="173" y="261"/>
                    </a:lnTo>
                    <a:lnTo>
                      <a:pt x="173" y="261"/>
                    </a:lnTo>
                    <a:lnTo>
                      <a:pt x="171" y="261"/>
                    </a:lnTo>
                    <a:lnTo>
                      <a:pt x="169" y="261"/>
                    </a:lnTo>
                    <a:lnTo>
                      <a:pt x="167" y="263"/>
                    </a:lnTo>
                    <a:lnTo>
                      <a:pt x="165" y="263"/>
                    </a:lnTo>
                    <a:lnTo>
                      <a:pt x="163" y="263"/>
                    </a:lnTo>
                    <a:lnTo>
                      <a:pt x="163" y="261"/>
                    </a:lnTo>
                    <a:lnTo>
                      <a:pt x="163" y="257"/>
                    </a:lnTo>
                    <a:lnTo>
                      <a:pt x="161" y="255"/>
                    </a:lnTo>
                    <a:lnTo>
                      <a:pt x="156" y="255"/>
                    </a:lnTo>
                    <a:lnTo>
                      <a:pt x="152" y="255"/>
                    </a:lnTo>
                    <a:lnTo>
                      <a:pt x="146" y="255"/>
                    </a:lnTo>
                    <a:lnTo>
                      <a:pt x="144" y="255"/>
                    </a:lnTo>
                    <a:lnTo>
                      <a:pt x="140" y="257"/>
                    </a:lnTo>
                    <a:lnTo>
                      <a:pt x="138" y="259"/>
                    </a:lnTo>
                    <a:lnTo>
                      <a:pt x="135" y="257"/>
                    </a:lnTo>
                    <a:lnTo>
                      <a:pt x="133" y="253"/>
                    </a:lnTo>
                    <a:lnTo>
                      <a:pt x="133" y="248"/>
                    </a:lnTo>
                    <a:lnTo>
                      <a:pt x="133" y="244"/>
                    </a:lnTo>
                    <a:lnTo>
                      <a:pt x="133" y="240"/>
                    </a:lnTo>
                    <a:lnTo>
                      <a:pt x="135" y="236"/>
                    </a:lnTo>
                    <a:lnTo>
                      <a:pt x="133" y="234"/>
                    </a:lnTo>
                    <a:lnTo>
                      <a:pt x="131" y="230"/>
                    </a:lnTo>
                    <a:lnTo>
                      <a:pt x="131" y="226"/>
                    </a:lnTo>
                    <a:lnTo>
                      <a:pt x="129" y="223"/>
                    </a:lnTo>
                    <a:lnTo>
                      <a:pt x="127" y="217"/>
                    </a:lnTo>
                    <a:lnTo>
                      <a:pt x="129" y="213"/>
                    </a:lnTo>
                    <a:lnTo>
                      <a:pt x="127" y="209"/>
                    </a:lnTo>
                    <a:lnTo>
                      <a:pt x="125" y="207"/>
                    </a:lnTo>
                    <a:lnTo>
                      <a:pt x="125" y="201"/>
                    </a:lnTo>
                    <a:lnTo>
                      <a:pt x="119" y="198"/>
                    </a:lnTo>
                    <a:lnTo>
                      <a:pt x="113" y="198"/>
                    </a:lnTo>
                    <a:lnTo>
                      <a:pt x="113" y="194"/>
                    </a:lnTo>
                    <a:lnTo>
                      <a:pt x="112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200"/>
                    </a:lnTo>
                    <a:lnTo>
                      <a:pt x="100" y="203"/>
                    </a:lnTo>
                    <a:lnTo>
                      <a:pt x="98" y="205"/>
                    </a:lnTo>
                    <a:lnTo>
                      <a:pt x="94" y="205"/>
                    </a:lnTo>
                    <a:lnTo>
                      <a:pt x="92" y="207"/>
                    </a:lnTo>
                    <a:lnTo>
                      <a:pt x="88" y="209"/>
                    </a:lnTo>
                    <a:lnTo>
                      <a:pt x="83" y="209"/>
                    </a:lnTo>
                    <a:lnTo>
                      <a:pt x="79" y="207"/>
                    </a:lnTo>
                    <a:lnTo>
                      <a:pt x="77" y="203"/>
                    </a:lnTo>
                    <a:lnTo>
                      <a:pt x="75" y="200"/>
                    </a:lnTo>
                    <a:lnTo>
                      <a:pt x="75" y="194"/>
                    </a:lnTo>
                    <a:lnTo>
                      <a:pt x="73" y="190"/>
                    </a:lnTo>
                    <a:lnTo>
                      <a:pt x="73" y="186"/>
                    </a:lnTo>
                    <a:lnTo>
                      <a:pt x="73" y="182"/>
                    </a:lnTo>
                    <a:lnTo>
                      <a:pt x="71" y="178"/>
                    </a:lnTo>
                    <a:lnTo>
                      <a:pt x="71" y="175"/>
                    </a:lnTo>
                    <a:lnTo>
                      <a:pt x="46" y="175"/>
                    </a:lnTo>
                    <a:lnTo>
                      <a:pt x="41" y="175"/>
                    </a:lnTo>
                    <a:lnTo>
                      <a:pt x="29" y="175"/>
                    </a:lnTo>
                    <a:lnTo>
                      <a:pt x="21" y="175"/>
                    </a:lnTo>
                    <a:lnTo>
                      <a:pt x="17" y="178"/>
                    </a:lnTo>
                    <a:lnTo>
                      <a:pt x="12" y="182"/>
                    </a:lnTo>
                    <a:lnTo>
                      <a:pt x="8" y="184"/>
                    </a:lnTo>
                    <a:lnTo>
                      <a:pt x="6" y="184"/>
                    </a:lnTo>
                    <a:lnTo>
                      <a:pt x="4" y="177"/>
                    </a:lnTo>
                    <a:lnTo>
                      <a:pt x="0" y="171"/>
                    </a:lnTo>
                    <a:lnTo>
                      <a:pt x="0" y="169"/>
                    </a:lnTo>
                    <a:lnTo>
                      <a:pt x="2" y="169"/>
                    </a:lnTo>
                    <a:lnTo>
                      <a:pt x="12" y="163"/>
                    </a:lnTo>
                    <a:lnTo>
                      <a:pt x="10" y="163"/>
                    </a:lnTo>
                    <a:lnTo>
                      <a:pt x="12" y="159"/>
                    </a:lnTo>
                    <a:lnTo>
                      <a:pt x="14" y="155"/>
                    </a:lnTo>
                    <a:lnTo>
                      <a:pt x="16" y="153"/>
                    </a:lnTo>
                    <a:lnTo>
                      <a:pt x="17" y="153"/>
                    </a:lnTo>
                    <a:lnTo>
                      <a:pt x="19" y="152"/>
                    </a:lnTo>
                    <a:lnTo>
                      <a:pt x="23" y="152"/>
                    </a:lnTo>
                    <a:lnTo>
                      <a:pt x="27" y="152"/>
                    </a:lnTo>
                    <a:lnTo>
                      <a:pt x="29" y="150"/>
                    </a:lnTo>
                    <a:lnTo>
                      <a:pt x="29" y="146"/>
                    </a:lnTo>
                    <a:lnTo>
                      <a:pt x="29" y="146"/>
                    </a:lnTo>
                    <a:lnTo>
                      <a:pt x="33" y="148"/>
                    </a:lnTo>
                    <a:lnTo>
                      <a:pt x="37" y="146"/>
                    </a:lnTo>
                    <a:lnTo>
                      <a:pt x="39" y="146"/>
                    </a:lnTo>
                    <a:lnTo>
                      <a:pt x="39" y="153"/>
                    </a:lnTo>
                    <a:lnTo>
                      <a:pt x="41" y="153"/>
                    </a:lnTo>
                    <a:lnTo>
                      <a:pt x="46" y="153"/>
                    </a:lnTo>
                    <a:lnTo>
                      <a:pt x="50" y="153"/>
                    </a:lnTo>
                    <a:lnTo>
                      <a:pt x="52" y="152"/>
                    </a:lnTo>
                    <a:lnTo>
                      <a:pt x="56" y="152"/>
                    </a:lnTo>
                    <a:lnTo>
                      <a:pt x="58" y="150"/>
                    </a:lnTo>
                    <a:lnTo>
                      <a:pt x="60" y="146"/>
                    </a:lnTo>
                    <a:lnTo>
                      <a:pt x="60" y="140"/>
                    </a:lnTo>
                    <a:lnTo>
                      <a:pt x="60" y="138"/>
                    </a:lnTo>
                    <a:lnTo>
                      <a:pt x="64" y="134"/>
                    </a:lnTo>
                    <a:lnTo>
                      <a:pt x="64" y="132"/>
                    </a:lnTo>
                    <a:lnTo>
                      <a:pt x="65" y="129"/>
                    </a:lnTo>
                    <a:lnTo>
                      <a:pt x="64" y="123"/>
                    </a:lnTo>
                    <a:lnTo>
                      <a:pt x="62" y="117"/>
                    </a:lnTo>
                    <a:lnTo>
                      <a:pt x="64" y="113"/>
                    </a:lnTo>
                    <a:lnTo>
                      <a:pt x="65" y="107"/>
                    </a:lnTo>
                    <a:lnTo>
                      <a:pt x="69" y="106"/>
                    </a:lnTo>
                    <a:lnTo>
                      <a:pt x="71" y="102"/>
                    </a:lnTo>
                    <a:lnTo>
                      <a:pt x="71" y="94"/>
                    </a:lnTo>
                    <a:lnTo>
                      <a:pt x="75" y="88"/>
                    </a:lnTo>
                    <a:lnTo>
                      <a:pt x="77" y="81"/>
                    </a:lnTo>
                    <a:lnTo>
                      <a:pt x="77" y="73"/>
                    </a:lnTo>
                    <a:lnTo>
                      <a:pt x="77" y="69"/>
                    </a:lnTo>
                    <a:lnTo>
                      <a:pt x="77" y="63"/>
                    </a:lnTo>
                    <a:lnTo>
                      <a:pt x="77" y="59"/>
                    </a:lnTo>
                    <a:lnTo>
                      <a:pt x="79" y="52"/>
                    </a:lnTo>
                    <a:lnTo>
                      <a:pt x="79" y="46"/>
                    </a:lnTo>
                    <a:lnTo>
                      <a:pt x="83" y="44"/>
                    </a:lnTo>
                    <a:lnTo>
                      <a:pt x="85" y="35"/>
                    </a:lnTo>
                    <a:lnTo>
                      <a:pt x="85" y="29"/>
                    </a:lnTo>
                    <a:close/>
                    <a:moveTo>
                      <a:pt x="217" y="123"/>
                    </a:moveTo>
                    <a:lnTo>
                      <a:pt x="217" y="125"/>
                    </a:lnTo>
                    <a:lnTo>
                      <a:pt x="217" y="125"/>
                    </a:lnTo>
                    <a:lnTo>
                      <a:pt x="215" y="127"/>
                    </a:lnTo>
                    <a:lnTo>
                      <a:pt x="215" y="127"/>
                    </a:lnTo>
                    <a:lnTo>
                      <a:pt x="215" y="125"/>
                    </a:lnTo>
                    <a:lnTo>
                      <a:pt x="217" y="12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19" name="Freeform 17"/>
              <p:cNvSpPr>
                <a:spLocks/>
              </p:cNvSpPr>
              <p:nvPr/>
            </p:nvSpPr>
            <p:spPr bwMode="gray">
              <a:xfrm>
                <a:off x="4692531" y="3276601"/>
                <a:ext cx="103176" cy="117475"/>
              </a:xfrm>
              <a:custGeom>
                <a:avLst/>
                <a:gdLst>
                  <a:gd name="T0" fmla="*/ 5 w 65"/>
                  <a:gd name="T1" fmla="*/ 65 h 74"/>
                  <a:gd name="T2" fmla="*/ 11 w 65"/>
                  <a:gd name="T3" fmla="*/ 65 h 74"/>
                  <a:gd name="T4" fmla="*/ 21 w 65"/>
                  <a:gd name="T5" fmla="*/ 65 h 74"/>
                  <a:gd name="T6" fmla="*/ 29 w 65"/>
                  <a:gd name="T7" fmla="*/ 69 h 74"/>
                  <a:gd name="T8" fmla="*/ 36 w 65"/>
                  <a:gd name="T9" fmla="*/ 69 h 74"/>
                  <a:gd name="T10" fmla="*/ 48 w 65"/>
                  <a:gd name="T11" fmla="*/ 65 h 74"/>
                  <a:gd name="T12" fmla="*/ 59 w 65"/>
                  <a:gd name="T13" fmla="*/ 57 h 74"/>
                  <a:gd name="T14" fmla="*/ 61 w 65"/>
                  <a:gd name="T15" fmla="*/ 49 h 74"/>
                  <a:gd name="T16" fmla="*/ 59 w 65"/>
                  <a:gd name="T17" fmla="*/ 42 h 74"/>
                  <a:gd name="T18" fmla="*/ 57 w 65"/>
                  <a:gd name="T19" fmla="*/ 34 h 74"/>
                  <a:gd name="T20" fmla="*/ 65 w 65"/>
                  <a:gd name="T21" fmla="*/ 28 h 74"/>
                  <a:gd name="T22" fmla="*/ 63 w 65"/>
                  <a:gd name="T23" fmla="*/ 25 h 74"/>
                  <a:gd name="T24" fmla="*/ 57 w 65"/>
                  <a:gd name="T25" fmla="*/ 21 h 74"/>
                  <a:gd name="T26" fmla="*/ 59 w 65"/>
                  <a:gd name="T27" fmla="*/ 19 h 74"/>
                  <a:gd name="T28" fmla="*/ 63 w 65"/>
                  <a:gd name="T29" fmla="*/ 19 h 74"/>
                  <a:gd name="T30" fmla="*/ 63 w 65"/>
                  <a:gd name="T31" fmla="*/ 17 h 74"/>
                  <a:gd name="T32" fmla="*/ 57 w 65"/>
                  <a:gd name="T33" fmla="*/ 13 h 74"/>
                  <a:gd name="T34" fmla="*/ 52 w 65"/>
                  <a:gd name="T35" fmla="*/ 15 h 74"/>
                  <a:gd name="T36" fmla="*/ 50 w 65"/>
                  <a:gd name="T37" fmla="*/ 17 h 74"/>
                  <a:gd name="T38" fmla="*/ 46 w 65"/>
                  <a:gd name="T39" fmla="*/ 13 h 74"/>
                  <a:gd name="T40" fmla="*/ 42 w 65"/>
                  <a:gd name="T41" fmla="*/ 11 h 74"/>
                  <a:gd name="T42" fmla="*/ 40 w 65"/>
                  <a:gd name="T43" fmla="*/ 3 h 74"/>
                  <a:gd name="T44" fmla="*/ 32 w 65"/>
                  <a:gd name="T45" fmla="*/ 0 h 74"/>
                  <a:gd name="T46" fmla="*/ 25 w 65"/>
                  <a:gd name="T47" fmla="*/ 0 h 74"/>
                  <a:gd name="T48" fmla="*/ 19 w 65"/>
                  <a:gd name="T49" fmla="*/ 5 h 74"/>
                  <a:gd name="T50" fmla="*/ 13 w 65"/>
                  <a:gd name="T51" fmla="*/ 9 h 74"/>
                  <a:gd name="T52" fmla="*/ 15 w 65"/>
                  <a:gd name="T53" fmla="*/ 15 h 74"/>
                  <a:gd name="T54" fmla="*/ 15 w 65"/>
                  <a:gd name="T55" fmla="*/ 19 h 74"/>
                  <a:gd name="T56" fmla="*/ 13 w 65"/>
                  <a:gd name="T57" fmla="*/ 21 h 74"/>
                  <a:gd name="T58" fmla="*/ 15 w 65"/>
                  <a:gd name="T59" fmla="*/ 28 h 74"/>
                  <a:gd name="T60" fmla="*/ 13 w 65"/>
                  <a:gd name="T61" fmla="*/ 32 h 74"/>
                  <a:gd name="T62" fmla="*/ 13 w 65"/>
                  <a:gd name="T63" fmla="*/ 36 h 74"/>
                  <a:gd name="T64" fmla="*/ 15 w 65"/>
                  <a:gd name="T65" fmla="*/ 42 h 74"/>
                  <a:gd name="T66" fmla="*/ 9 w 65"/>
                  <a:gd name="T67" fmla="*/ 44 h 74"/>
                  <a:gd name="T68" fmla="*/ 5 w 65"/>
                  <a:gd name="T69" fmla="*/ 48 h 74"/>
                  <a:gd name="T70" fmla="*/ 2 w 65"/>
                  <a:gd name="T71" fmla="*/ 55 h 74"/>
                  <a:gd name="T72" fmla="*/ 2 w 65"/>
                  <a:gd name="T73" fmla="*/ 6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5" h="74">
                    <a:moveTo>
                      <a:pt x="0" y="63"/>
                    </a:moveTo>
                    <a:lnTo>
                      <a:pt x="5" y="65"/>
                    </a:lnTo>
                    <a:lnTo>
                      <a:pt x="11" y="67"/>
                    </a:lnTo>
                    <a:lnTo>
                      <a:pt x="11" y="65"/>
                    </a:lnTo>
                    <a:lnTo>
                      <a:pt x="19" y="61"/>
                    </a:lnTo>
                    <a:lnTo>
                      <a:pt x="21" y="65"/>
                    </a:lnTo>
                    <a:lnTo>
                      <a:pt x="23" y="63"/>
                    </a:lnTo>
                    <a:lnTo>
                      <a:pt x="29" y="69"/>
                    </a:lnTo>
                    <a:lnTo>
                      <a:pt x="30" y="74"/>
                    </a:lnTo>
                    <a:lnTo>
                      <a:pt x="36" y="69"/>
                    </a:lnTo>
                    <a:lnTo>
                      <a:pt x="44" y="69"/>
                    </a:lnTo>
                    <a:lnTo>
                      <a:pt x="48" y="65"/>
                    </a:lnTo>
                    <a:lnTo>
                      <a:pt x="59" y="59"/>
                    </a:lnTo>
                    <a:lnTo>
                      <a:pt x="59" y="57"/>
                    </a:lnTo>
                    <a:lnTo>
                      <a:pt x="59" y="55"/>
                    </a:lnTo>
                    <a:lnTo>
                      <a:pt x="61" y="49"/>
                    </a:lnTo>
                    <a:lnTo>
                      <a:pt x="63" y="46"/>
                    </a:lnTo>
                    <a:lnTo>
                      <a:pt x="59" y="42"/>
                    </a:lnTo>
                    <a:lnTo>
                      <a:pt x="57" y="38"/>
                    </a:lnTo>
                    <a:lnTo>
                      <a:pt x="57" y="34"/>
                    </a:lnTo>
                    <a:lnTo>
                      <a:pt x="61" y="32"/>
                    </a:lnTo>
                    <a:lnTo>
                      <a:pt x="65" y="28"/>
                    </a:lnTo>
                    <a:lnTo>
                      <a:pt x="65" y="26"/>
                    </a:lnTo>
                    <a:lnTo>
                      <a:pt x="63" y="25"/>
                    </a:lnTo>
                    <a:lnTo>
                      <a:pt x="59" y="23"/>
                    </a:lnTo>
                    <a:lnTo>
                      <a:pt x="57" y="21"/>
                    </a:lnTo>
                    <a:lnTo>
                      <a:pt x="57" y="21"/>
                    </a:lnTo>
                    <a:lnTo>
                      <a:pt x="59" y="19"/>
                    </a:lnTo>
                    <a:lnTo>
                      <a:pt x="61" y="19"/>
                    </a:lnTo>
                    <a:lnTo>
                      <a:pt x="63" y="19"/>
                    </a:lnTo>
                    <a:lnTo>
                      <a:pt x="63" y="19"/>
                    </a:lnTo>
                    <a:lnTo>
                      <a:pt x="63" y="17"/>
                    </a:lnTo>
                    <a:lnTo>
                      <a:pt x="61" y="17"/>
                    </a:lnTo>
                    <a:lnTo>
                      <a:pt x="57" y="13"/>
                    </a:lnTo>
                    <a:lnTo>
                      <a:pt x="53" y="15"/>
                    </a:lnTo>
                    <a:lnTo>
                      <a:pt x="52" y="15"/>
                    </a:lnTo>
                    <a:lnTo>
                      <a:pt x="52" y="17"/>
                    </a:lnTo>
                    <a:lnTo>
                      <a:pt x="50" y="17"/>
                    </a:lnTo>
                    <a:lnTo>
                      <a:pt x="48" y="17"/>
                    </a:lnTo>
                    <a:lnTo>
                      <a:pt x="46" y="13"/>
                    </a:lnTo>
                    <a:lnTo>
                      <a:pt x="44" y="13"/>
                    </a:lnTo>
                    <a:lnTo>
                      <a:pt x="42" y="11"/>
                    </a:lnTo>
                    <a:lnTo>
                      <a:pt x="42" y="9"/>
                    </a:lnTo>
                    <a:lnTo>
                      <a:pt x="40" y="3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1" y="3"/>
                    </a:lnTo>
                    <a:lnTo>
                      <a:pt x="19" y="5"/>
                    </a:lnTo>
                    <a:lnTo>
                      <a:pt x="15" y="7"/>
                    </a:lnTo>
                    <a:lnTo>
                      <a:pt x="13" y="9"/>
                    </a:lnTo>
                    <a:lnTo>
                      <a:pt x="13" y="13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3" y="21"/>
                    </a:lnTo>
                    <a:lnTo>
                      <a:pt x="13" y="21"/>
                    </a:lnTo>
                    <a:lnTo>
                      <a:pt x="13" y="25"/>
                    </a:lnTo>
                    <a:lnTo>
                      <a:pt x="15" y="28"/>
                    </a:lnTo>
                    <a:lnTo>
                      <a:pt x="17" y="30"/>
                    </a:lnTo>
                    <a:lnTo>
                      <a:pt x="13" y="32"/>
                    </a:lnTo>
                    <a:lnTo>
                      <a:pt x="11" y="34"/>
                    </a:lnTo>
                    <a:lnTo>
                      <a:pt x="13" y="36"/>
                    </a:lnTo>
                    <a:lnTo>
                      <a:pt x="17" y="40"/>
                    </a:lnTo>
                    <a:lnTo>
                      <a:pt x="15" y="42"/>
                    </a:lnTo>
                    <a:lnTo>
                      <a:pt x="11" y="42"/>
                    </a:lnTo>
                    <a:lnTo>
                      <a:pt x="9" y="44"/>
                    </a:lnTo>
                    <a:lnTo>
                      <a:pt x="7" y="48"/>
                    </a:lnTo>
                    <a:lnTo>
                      <a:pt x="5" y="48"/>
                    </a:lnTo>
                    <a:lnTo>
                      <a:pt x="4" y="49"/>
                    </a:lnTo>
                    <a:lnTo>
                      <a:pt x="2" y="55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0" y="6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0" name="Freeform 18"/>
              <p:cNvSpPr>
                <a:spLocks noEditPoints="1"/>
              </p:cNvSpPr>
              <p:nvPr/>
            </p:nvSpPr>
            <p:spPr bwMode="gray">
              <a:xfrm>
                <a:off x="5173490" y="3989389"/>
                <a:ext cx="231749" cy="153988"/>
              </a:xfrm>
              <a:custGeom>
                <a:avLst/>
                <a:gdLst>
                  <a:gd name="T0" fmla="*/ 4 w 146"/>
                  <a:gd name="T1" fmla="*/ 30 h 97"/>
                  <a:gd name="T2" fmla="*/ 6 w 146"/>
                  <a:gd name="T3" fmla="*/ 26 h 97"/>
                  <a:gd name="T4" fmla="*/ 8 w 146"/>
                  <a:gd name="T5" fmla="*/ 23 h 97"/>
                  <a:gd name="T6" fmla="*/ 10 w 146"/>
                  <a:gd name="T7" fmla="*/ 19 h 97"/>
                  <a:gd name="T8" fmla="*/ 15 w 146"/>
                  <a:gd name="T9" fmla="*/ 19 h 97"/>
                  <a:gd name="T10" fmla="*/ 19 w 146"/>
                  <a:gd name="T11" fmla="*/ 23 h 97"/>
                  <a:gd name="T12" fmla="*/ 36 w 146"/>
                  <a:gd name="T13" fmla="*/ 25 h 97"/>
                  <a:gd name="T14" fmla="*/ 48 w 146"/>
                  <a:gd name="T15" fmla="*/ 44 h 97"/>
                  <a:gd name="T16" fmla="*/ 54 w 146"/>
                  <a:gd name="T17" fmla="*/ 36 h 97"/>
                  <a:gd name="T18" fmla="*/ 115 w 146"/>
                  <a:gd name="T19" fmla="*/ 0 h 97"/>
                  <a:gd name="T20" fmla="*/ 127 w 146"/>
                  <a:gd name="T21" fmla="*/ 26 h 97"/>
                  <a:gd name="T22" fmla="*/ 132 w 146"/>
                  <a:gd name="T23" fmla="*/ 34 h 97"/>
                  <a:gd name="T24" fmla="*/ 119 w 146"/>
                  <a:gd name="T25" fmla="*/ 38 h 97"/>
                  <a:gd name="T26" fmla="*/ 119 w 146"/>
                  <a:gd name="T27" fmla="*/ 48 h 97"/>
                  <a:gd name="T28" fmla="*/ 113 w 146"/>
                  <a:gd name="T29" fmla="*/ 53 h 97"/>
                  <a:gd name="T30" fmla="*/ 111 w 146"/>
                  <a:gd name="T31" fmla="*/ 55 h 97"/>
                  <a:gd name="T32" fmla="*/ 79 w 146"/>
                  <a:gd name="T33" fmla="*/ 69 h 97"/>
                  <a:gd name="T34" fmla="*/ 73 w 146"/>
                  <a:gd name="T35" fmla="*/ 76 h 97"/>
                  <a:gd name="T36" fmla="*/ 63 w 146"/>
                  <a:gd name="T37" fmla="*/ 78 h 97"/>
                  <a:gd name="T38" fmla="*/ 59 w 146"/>
                  <a:gd name="T39" fmla="*/ 74 h 97"/>
                  <a:gd name="T40" fmla="*/ 54 w 146"/>
                  <a:gd name="T41" fmla="*/ 78 h 97"/>
                  <a:gd name="T42" fmla="*/ 42 w 146"/>
                  <a:gd name="T43" fmla="*/ 78 h 97"/>
                  <a:gd name="T44" fmla="*/ 23 w 146"/>
                  <a:gd name="T45" fmla="*/ 90 h 97"/>
                  <a:gd name="T46" fmla="*/ 13 w 146"/>
                  <a:gd name="T47" fmla="*/ 90 h 97"/>
                  <a:gd name="T48" fmla="*/ 10 w 146"/>
                  <a:gd name="T49" fmla="*/ 86 h 97"/>
                  <a:gd name="T50" fmla="*/ 8 w 146"/>
                  <a:gd name="T51" fmla="*/ 73 h 97"/>
                  <a:gd name="T52" fmla="*/ 2 w 146"/>
                  <a:gd name="T53" fmla="*/ 67 h 97"/>
                  <a:gd name="T54" fmla="*/ 4 w 146"/>
                  <a:gd name="T55" fmla="*/ 65 h 97"/>
                  <a:gd name="T56" fmla="*/ 0 w 146"/>
                  <a:gd name="T57" fmla="*/ 42 h 97"/>
                  <a:gd name="T58" fmla="*/ 0 w 146"/>
                  <a:gd name="T59" fmla="*/ 36 h 97"/>
                  <a:gd name="T60" fmla="*/ 2 w 146"/>
                  <a:gd name="T61" fmla="*/ 32 h 97"/>
                  <a:gd name="T62" fmla="*/ 140 w 146"/>
                  <a:gd name="T63" fmla="*/ 96 h 97"/>
                  <a:gd name="T64" fmla="*/ 146 w 146"/>
                  <a:gd name="T65" fmla="*/ 97 h 97"/>
                  <a:gd name="T66" fmla="*/ 144 w 146"/>
                  <a:gd name="T67" fmla="*/ 9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6" h="97">
                    <a:moveTo>
                      <a:pt x="2" y="32"/>
                    </a:moveTo>
                    <a:lnTo>
                      <a:pt x="4" y="30"/>
                    </a:lnTo>
                    <a:lnTo>
                      <a:pt x="4" y="28"/>
                    </a:lnTo>
                    <a:lnTo>
                      <a:pt x="6" y="26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8" y="21"/>
                    </a:lnTo>
                    <a:lnTo>
                      <a:pt x="10" y="19"/>
                    </a:lnTo>
                    <a:lnTo>
                      <a:pt x="11" y="19"/>
                    </a:lnTo>
                    <a:lnTo>
                      <a:pt x="15" y="19"/>
                    </a:lnTo>
                    <a:lnTo>
                      <a:pt x="15" y="23"/>
                    </a:lnTo>
                    <a:lnTo>
                      <a:pt x="19" y="23"/>
                    </a:lnTo>
                    <a:lnTo>
                      <a:pt x="23" y="23"/>
                    </a:lnTo>
                    <a:lnTo>
                      <a:pt x="36" y="25"/>
                    </a:lnTo>
                    <a:lnTo>
                      <a:pt x="46" y="28"/>
                    </a:lnTo>
                    <a:lnTo>
                      <a:pt x="48" y="44"/>
                    </a:lnTo>
                    <a:lnTo>
                      <a:pt x="52" y="40"/>
                    </a:lnTo>
                    <a:lnTo>
                      <a:pt x="54" y="36"/>
                    </a:lnTo>
                    <a:lnTo>
                      <a:pt x="71" y="15"/>
                    </a:lnTo>
                    <a:lnTo>
                      <a:pt x="115" y="0"/>
                    </a:lnTo>
                    <a:lnTo>
                      <a:pt x="115" y="3"/>
                    </a:lnTo>
                    <a:lnTo>
                      <a:pt x="127" y="26"/>
                    </a:lnTo>
                    <a:lnTo>
                      <a:pt x="134" y="34"/>
                    </a:lnTo>
                    <a:lnTo>
                      <a:pt x="132" y="34"/>
                    </a:lnTo>
                    <a:lnTo>
                      <a:pt x="125" y="34"/>
                    </a:lnTo>
                    <a:lnTo>
                      <a:pt x="119" y="38"/>
                    </a:lnTo>
                    <a:lnTo>
                      <a:pt x="117" y="44"/>
                    </a:lnTo>
                    <a:lnTo>
                      <a:pt x="119" y="48"/>
                    </a:lnTo>
                    <a:lnTo>
                      <a:pt x="115" y="48"/>
                    </a:lnTo>
                    <a:lnTo>
                      <a:pt x="113" y="53"/>
                    </a:lnTo>
                    <a:lnTo>
                      <a:pt x="111" y="53"/>
                    </a:lnTo>
                    <a:lnTo>
                      <a:pt x="111" y="55"/>
                    </a:lnTo>
                    <a:lnTo>
                      <a:pt x="96" y="63"/>
                    </a:lnTo>
                    <a:lnTo>
                      <a:pt x="79" y="69"/>
                    </a:lnTo>
                    <a:lnTo>
                      <a:pt x="75" y="73"/>
                    </a:lnTo>
                    <a:lnTo>
                      <a:pt x="73" y="76"/>
                    </a:lnTo>
                    <a:lnTo>
                      <a:pt x="67" y="78"/>
                    </a:lnTo>
                    <a:lnTo>
                      <a:pt x="63" y="78"/>
                    </a:lnTo>
                    <a:lnTo>
                      <a:pt x="61" y="76"/>
                    </a:lnTo>
                    <a:lnTo>
                      <a:pt x="59" y="74"/>
                    </a:lnTo>
                    <a:lnTo>
                      <a:pt x="56" y="76"/>
                    </a:lnTo>
                    <a:lnTo>
                      <a:pt x="54" y="78"/>
                    </a:lnTo>
                    <a:lnTo>
                      <a:pt x="48" y="78"/>
                    </a:lnTo>
                    <a:lnTo>
                      <a:pt x="42" y="78"/>
                    </a:lnTo>
                    <a:lnTo>
                      <a:pt x="33" y="84"/>
                    </a:lnTo>
                    <a:lnTo>
                      <a:pt x="23" y="90"/>
                    </a:lnTo>
                    <a:lnTo>
                      <a:pt x="17" y="90"/>
                    </a:lnTo>
                    <a:lnTo>
                      <a:pt x="13" y="90"/>
                    </a:lnTo>
                    <a:lnTo>
                      <a:pt x="11" y="88"/>
                    </a:lnTo>
                    <a:lnTo>
                      <a:pt x="10" y="86"/>
                    </a:lnTo>
                    <a:lnTo>
                      <a:pt x="10" y="80"/>
                    </a:lnTo>
                    <a:lnTo>
                      <a:pt x="8" y="73"/>
                    </a:lnTo>
                    <a:lnTo>
                      <a:pt x="4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2" y="51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2" y="32"/>
                    </a:lnTo>
                    <a:close/>
                    <a:moveTo>
                      <a:pt x="140" y="94"/>
                    </a:moveTo>
                    <a:lnTo>
                      <a:pt x="140" y="96"/>
                    </a:lnTo>
                    <a:lnTo>
                      <a:pt x="146" y="97"/>
                    </a:lnTo>
                    <a:lnTo>
                      <a:pt x="146" y="97"/>
                    </a:lnTo>
                    <a:lnTo>
                      <a:pt x="146" y="96"/>
                    </a:lnTo>
                    <a:lnTo>
                      <a:pt x="144" y="94"/>
                    </a:lnTo>
                    <a:lnTo>
                      <a:pt x="140" y="9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1" name="Freeform 19"/>
              <p:cNvSpPr>
                <a:spLocks/>
              </p:cNvSpPr>
              <p:nvPr/>
            </p:nvSpPr>
            <p:spPr bwMode="gray">
              <a:xfrm>
                <a:off x="3990934" y="3767139"/>
                <a:ext cx="177780" cy="163513"/>
              </a:xfrm>
              <a:custGeom>
                <a:avLst/>
                <a:gdLst>
                  <a:gd name="T0" fmla="*/ 60 w 112"/>
                  <a:gd name="T1" fmla="*/ 0 h 103"/>
                  <a:gd name="T2" fmla="*/ 58 w 112"/>
                  <a:gd name="T3" fmla="*/ 3 h 103"/>
                  <a:gd name="T4" fmla="*/ 58 w 112"/>
                  <a:gd name="T5" fmla="*/ 5 h 103"/>
                  <a:gd name="T6" fmla="*/ 52 w 112"/>
                  <a:gd name="T7" fmla="*/ 5 h 103"/>
                  <a:gd name="T8" fmla="*/ 48 w 112"/>
                  <a:gd name="T9" fmla="*/ 7 h 103"/>
                  <a:gd name="T10" fmla="*/ 46 w 112"/>
                  <a:gd name="T11" fmla="*/ 13 h 103"/>
                  <a:gd name="T12" fmla="*/ 44 w 112"/>
                  <a:gd name="T13" fmla="*/ 19 h 103"/>
                  <a:gd name="T14" fmla="*/ 39 w 112"/>
                  <a:gd name="T15" fmla="*/ 23 h 103"/>
                  <a:gd name="T16" fmla="*/ 35 w 112"/>
                  <a:gd name="T17" fmla="*/ 26 h 103"/>
                  <a:gd name="T18" fmla="*/ 29 w 112"/>
                  <a:gd name="T19" fmla="*/ 40 h 103"/>
                  <a:gd name="T20" fmla="*/ 25 w 112"/>
                  <a:gd name="T21" fmla="*/ 55 h 103"/>
                  <a:gd name="T22" fmla="*/ 20 w 112"/>
                  <a:gd name="T23" fmla="*/ 59 h 103"/>
                  <a:gd name="T24" fmla="*/ 16 w 112"/>
                  <a:gd name="T25" fmla="*/ 65 h 103"/>
                  <a:gd name="T26" fmla="*/ 12 w 112"/>
                  <a:gd name="T27" fmla="*/ 76 h 103"/>
                  <a:gd name="T28" fmla="*/ 8 w 112"/>
                  <a:gd name="T29" fmla="*/ 88 h 103"/>
                  <a:gd name="T30" fmla="*/ 4 w 112"/>
                  <a:gd name="T31" fmla="*/ 90 h 103"/>
                  <a:gd name="T32" fmla="*/ 2 w 112"/>
                  <a:gd name="T33" fmla="*/ 92 h 103"/>
                  <a:gd name="T34" fmla="*/ 0 w 112"/>
                  <a:gd name="T35" fmla="*/ 99 h 103"/>
                  <a:gd name="T36" fmla="*/ 0 w 112"/>
                  <a:gd name="T37" fmla="*/ 103 h 103"/>
                  <a:gd name="T38" fmla="*/ 4 w 112"/>
                  <a:gd name="T39" fmla="*/ 101 h 103"/>
                  <a:gd name="T40" fmla="*/ 4 w 112"/>
                  <a:gd name="T41" fmla="*/ 101 h 103"/>
                  <a:gd name="T42" fmla="*/ 50 w 112"/>
                  <a:gd name="T43" fmla="*/ 99 h 103"/>
                  <a:gd name="T44" fmla="*/ 50 w 112"/>
                  <a:gd name="T45" fmla="*/ 92 h 103"/>
                  <a:gd name="T46" fmla="*/ 50 w 112"/>
                  <a:gd name="T47" fmla="*/ 74 h 103"/>
                  <a:gd name="T48" fmla="*/ 50 w 112"/>
                  <a:gd name="T49" fmla="*/ 72 h 103"/>
                  <a:gd name="T50" fmla="*/ 52 w 112"/>
                  <a:gd name="T51" fmla="*/ 69 h 103"/>
                  <a:gd name="T52" fmla="*/ 54 w 112"/>
                  <a:gd name="T53" fmla="*/ 69 h 103"/>
                  <a:gd name="T54" fmla="*/ 58 w 112"/>
                  <a:gd name="T55" fmla="*/ 67 h 103"/>
                  <a:gd name="T56" fmla="*/ 62 w 112"/>
                  <a:gd name="T57" fmla="*/ 67 h 103"/>
                  <a:gd name="T58" fmla="*/ 64 w 112"/>
                  <a:gd name="T59" fmla="*/ 67 h 103"/>
                  <a:gd name="T60" fmla="*/ 66 w 112"/>
                  <a:gd name="T61" fmla="*/ 32 h 103"/>
                  <a:gd name="T62" fmla="*/ 112 w 112"/>
                  <a:gd name="T63" fmla="*/ 32 h 103"/>
                  <a:gd name="T64" fmla="*/ 112 w 112"/>
                  <a:gd name="T65" fmla="*/ 9 h 103"/>
                  <a:gd name="T66" fmla="*/ 112 w 112"/>
                  <a:gd name="T67" fmla="*/ 0 h 103"/>
                  <a:gd name="T68" fmla="*/ 60 w 112"/>
                  <a:gd name="T6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12" h="103">
                    <a:moveTo>
                      <a:pt x="60" y="0"/>
                    </a:moveTo>
                    <a:lnTo>
                      <a:pt x="58" y="3"/>
                    </a:lnTo>
                    <a:lnTo>
                      <a:pt x="58" y="5"/>
                    </a:lnTo>
                    <a:lnTo>
                      <a:pt x="52" y="5"/>
                    </a:lnTo>
                    <a:lnTo>
                      <a:pt x="48" y="7"/>
                    </a:lnTo>
                    <a:lnTo>
                      <a:pt x="46" y="13"/>
                    </a:lnTo>
                    <a:lnTo>
                      <a:pt x="44" y="19"/>
                    </a:lnTo>
                    <a:lnTo>
                      <a:pt x="39" y="23"/>
                    </a:lnTo>
                    <a:lnTo>
                      <a:pt x="35" y="26"/>
                    </a:lnTo>
                    <a:lnTo>
                      <a:pt x="29" y="40"/>
                    </a:lnTo>
                    <a:lnTo>
                      <a:pt x="25" y="55"/>
                    </a:lnTo>
                    <a:lnTo>
                      <a:pt x="20" y="59"/>
                    </a:lnTo>
                    <a:lnTo>
                      <a:pt x="16" y="65"/>
                    </a:lnTo>
                    <a:lnTo>
                      <a:pt x="12" y="76"/>
                    </a:lnTo>
                    <a:lnTo>
                      <a:pt x="8" y="88"/>
                    </a:lnTo>
                    <a:lnTo>
                      <a:pt x="4" y="90"/>
                    </a:lnTo>
                    <a:lnTo>
                      <a:pt x="2" y="92"/>
                    </a:lnTo>
                    <a:lnTo>
                      <a:pt x="0" y="99"/>
                    </a:lnTo>
                    <a:lnTo>
                      <a:pt x="0" y="103"/>
                    </a:lnTo>
                    <a:lnTo>
                      <a:pt x="4" y="101"/>
                    </a:lnTo>
                    <a:lnTo>
                      <a:pt x="4" y="101"/>
                    </a:lnTo>
                    <a:lnTo>
                      <a:pt x="50" y="99"/>
                    </a:lnTo>
                    <a:lnTo>
                      <a:pt x="50" y="92"/>
                    </a:lnTo>
                    <a:lnTo>
                      <a:pt x="50" y="74"/>
                    </a:lnTo>
                    <a:lnTo>
                      <a:pt x="50" y="72"/>
                    </a:lnTo>
                    <a:lnTo>
                      <a:pt x="52" y="69"/>
                    </a:lnTo>
                    <a:lnTo>
                      <a:pt x="54" y="69"/>
                    </a:lnTo>
                    <a:lnTo>
                      <a:pt x="58" y="67"/>
                    </a:lnTo>
                    <a:lnTo>
                      <a:pt x="62" y="67"/>
                    </a:lnTo>
                    <a:lnTo>
                      <a:pt x="64" y="67"/>
                    </a:lnTo>
                    <a:lnTo>
                      <a:pt x="66" y="32"/>
                    </a:lnTo>
                    <a:lnTo>
                      <a:pt x="112" y="32"/>
                    </a:lnTo>
                    <a:lnTo>
                      <a:pt x="112" y="9"/>
                    </a:lnTo>
                    <a:lnTo>
                      <a:pt x="112" y="0"/>
                    </a:lnTo>
                    <a:lnTo>
                      <a:pt x="6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2" name="Freeform 20"/>
              <p:cNvSpPr>
                <a:spLocks noEditPoints="1"/>
              </p:cNvSpPr>
              <p:nvPr/>
            </p:nvSpPr>
            <p:spPr bwMode="gray">
              <a:xfrm>
                <a:off x="6360807" y="3890964"/>
                <a:ext cx="131748" cy="357188"/>
              </a:xfrm>
              <a:custGeom>
                <a:avLst/>
                <a:gdLst>
                  <a:gd name="T0" fmla="*/ 54 w 83"/>
                  <a:gd name="T1" fmla="*/ 21 h 225"/>
                  <a:gd name="T2" fmla="*/ 45 w 83"/>
                  <a:gd name="T3" fmla="*/ 12 h 225"/>
                  <a:gd name="T4" fmla="*/ 35 w 83"/>
                  <a:gd name="T5" fmla="*/ 2 h 225"/>
                  <a:gd name="T6" fmla="*/ 18 w 83"/>
                  <a:gd name="T7" fmla="*/ 4 h 225"/>
                  <a:gd name="T8" fmla="*/ 0 w 83"/>
                  <a:gd name="T9" fmla="*/ 6 h 225"/>
                  <a:gd name="T10" fmla="*/ 8 w 83"/>
                  <a:gd name="T11" fmla="*/ 17 h 225"/>
                  <a:gd name="T12" fmla="*/ 20 w 83"/>
                  <a:gd name="T13" fmla="*/ 19 h 225"/>
                  <a:gd name="T14" fmla="*/ 29 w 83"/>
                  <a:gd name="T15" fmla="*/ 33 h 225"/>
                  <a:gd name="T16" fmla="*/ 23 w 83"/>
                  <a:gd name="T17" fmla="*/ 48 h 225"/>
                  <a:gd name="T18" fmla="*/ 16 w 83"/>
                  <a:gd name="T19" fmla="*/ 58 h 225"/>
                  <a:gd name="T20" fmla="*/ 31 w 83"/>
                  <a:gd name="T21" fmla="*/ 79 h 225"/>
                  <a:gd name="T22" fmla="*/ 41 w 83"/>
                  <a:gd name="T23" fmla="*/ 92 h 225"/>
                  <a:gd name="T24" fmla="*/ 50 w 83"/>
                  <a:gd name="T25" fmla="*/ 108 h 225"/>
                  <a:gd name="T26" fmla="*/ 58 w 83"/>
                  <a:gd name="T27" fmla="*/ 125 h 225"/>
                  <a:gd name="T28" fmla="*/ 60 w 83"/>
                  <a:gd name="T29" fmla="*/ 142 h 225"/>
                  <a:gd name="T30" fmla="*/ 62 w 83"/>
                  <a:gd name="T31" fmla="*/ 159 h 225"/>
                  <a:gd name="T32" fmla="*/ 50 w 83"/>
                  <a:gd name="T33" fmla="*/ 181 h 225"/>
                  <a:gd name="T34" fmla="*/ 33 w 83"/>
                  <a:gd name="T35" fmla="*/ 188 h 225"/>
                  <a:gd name="T36" fmla="*/ 22 w 83"/>
                  <a:gd name="T37" fmla="*/ 194 h 225"/>
                  <a:gd name="T38" fmla="*/ 23 w 83"/>
                  <a:gd name="T39" fmla="*/ 200 h 225"/>
                  <a:gd name="T40" fmla="*/ 23 w 83"/>
                  <a:gd name="T41" fmla="*/ 217 h 225"/>
                  <a:gd name="T42" fmla="*/ 25 w 83"/>
                  <a:gd name="T43" fmla="*/ 225 h 225"/>
                  <a:gd name="T44" fmla="*/ 33 w 83"/>
                  <a:gd name="T45" fmla="*/ 217 h 225"/>
                  <a:gd name="T46" fmla="*/ 37 w 83"/>
                  <a:gd name="T47" fmla="*/ 213 h 225"/>
                  <a:gd name="T48" fmla="*/ 43 w 83"/>
                  <a:gd name="T49" fmla="*/ 211 h 225"/>
                  <a:gd name="T50" fmla="*/ 41 w 83"/>
                  <a:gd name="T51" fmla="*/ 204 h 225"/>
                  <a:gd name="T52" fmla="*/ 37 w 83"/>
                  <a:gd name="T53" fmla="*/ 198 h 225"/>
                  <a:gd name="T54" fmla="*/ 41 w 83"/>
                  <a:gd name="T55" fmla="*/ 200 h 225"/>
                  <a:gd name="T56" fmla="*/ 52 w 83"/>
                  <a:gd name="T57" fmla="*/ 198 h 225"/>
                  <a:gd name="T58" fmla="*/ 62 w 83"/>
                  <a:gd name="T59" fmla="*/ 194 h 225"/>
                  <a:gd name="T60" fmla="*/ 79 w 83"/>
                  <a:gd name="T61" fmla="*/ 179 h 225"/>
                  <a:gd name="T62" fmla="*/ 79 w 83"/>
                  <a:gd name="T63" fmla="*/ 138 h 225"/>
                  <a:gd name="T64" fmla="*/ 68 w 83"/>
                  <a:gd name="T65" fmla="*/ 117 h 225"/>
                  <a:gd name="T66" fmla="*/ 62 w 83"/>
                  <a:gd name="T67" fmla="*/ 104 h 225"/>
                  <a:gd name="T68" fmla="*/ 56 w 83"/>
                  <a:gd name="T69" fmla="*/ 92 h 225"/>
                  <a:gd name="T70" fmla="*/ 45 w 83"/>
                  <a:gd name="T71" fmla="*/ 85 h 225"/>
                  <a:gd name="T72" fmla="*/ 39 w 83"/>
                  <a:gd name="T73" fmla="*/ 77 h 225"/>
                  <a:gd name="T74" fmla="*/ 37 w 83"/>
                  <a:gd name="T75" fmla="*/ 58 h 225"/>
                  <a:gd name="T76" fmla="*/ 45 w 83"/>
                  <a:gd name="T77" fmla="*/ 48 h 225"/>
                  <a:gd name="T78" fmla="*/ 58 w 83"/>
                  <a:gd name="T79" fmla="*/ 29 h 225"/>
                  <a:gd name="T80" fmla="*/ 37 w 83"/>
                  <a:gd name="T81" fmla="*/ 204 h 225"/>
                  <a:gd name="T82" fmla="*/ 35 w 83"/>
                  <a:gd name="T83" fmla="*/ 204 h 225"/>
                  <a:gd name="T84" fmla="*/ 35 w 83"/>
                  <a:gd name="T85" fmla="*/ 202 h 225"/>
                  <a:gd name="T86" fmla="*/ 35 w 83"/>
                  <a:gd name="T87" fmla="*/ 200 h 225"/>
                  <a:gd name="T88" fmla="*/ 33 w 83"/>
                  <a:gd name="T89" fmla="*/ 194 h 225"/>
                  <a:gd name="T90" fmla="*/ 29 w 83"/>
                  <a:gd name="T91" fmla="*/ 19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3" h="225">
                    <a:moveTo>
                      <a:pt x="66" y="25"/>
                    </a:moveTo>
                    <a:lnTo>
                      <a:pt x="62" y="21"/>
                    </a:lnTo>
                    <a:lnTo>
                      <a:pt x="54" y="21"/>
                    </a:lnTo>
                    <a:lnTo>
                      <a:pt x="48" y="25"/>
                    </a:lnTo>
                    <a:lnTo>
                      <a:pt x="43" y="17"/>
                    </a:lnTo>
                    <a:lnTo>
                      <a:pt x="45" y="12"/>
                    </a:lnTo>
                    <a:lnTo>
                      <a:pt x="45" y="8"/>
                    </a:lnTo>
                    <a:lnTo>
                      <a:pt x="41" y="8"/>
                    </a:lnTo>
                    <a:lnTo>
                      <a:pt x="35" y="2"/>
                    </a:lnTo>
                    <a:lnTo>
                      <a:pt x="29" y="0"/>
                    </a:lnTo>
                    <a:lnTo>
                      <a:pt x="25" y="4"/>
                    </a:lnTo>
                    <a:lnTo>
                      <a:pt x="18" y="4"/>
                    </a:lnTo>
                    <a:lnTo>
                      <a:pt x="12" y="8"/>
                    </a:lnTo>
                    <a:lnTo>
                      <a:pt x="6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8" y="17"/>
                    </a:lnTo>
                    <a:lnTo>
                      <a:pt x="10" y="21"/>
                    </a:lnTo>
                    <a:lnTo>
                      <a:pt x="16" y="23"/>
                    </a:lnTo>
                    <a:lnTo>
                      <a:pt x="20" y="19"/>
                    </a:lnTo>
                    <a:lnTo>
                      <a:pt x="25" y="19"/>
                    </a:lnTo>
                    <a:lnTo>
                      <a:pt x="29" y="25"/>
                    </a:lnTo>
                    <a:lnTo>
                      <a:pt x="29" y="33"/>
                    </a:lnTo>
                    <a:lnTo>
                      <a:pt x="25" y="35"/>
                    </a:lnTo>
                    <a:lnTo>
                      <a:pt x="25" y="46"/>
                    </a:lnTo>
                    <a:lnTo>
                      <a:pt x="23" y="48"/>
                    </a:lnTo>
                    <a:lnTo>
                      <a:pt x="18" y="48"/>
                    </a:lnTo>
                    <a:lnTo>
                      <a:pt x="14" y="52"/>
                    </a:lnTo>
                    <a:lnTo>
                      <a:pt x="16" y="58"/>
                    </a:lnTo>
                    <a:lnTo>
                      <a:pt x="23" y="62"/>
                    </a:lnTo>
                    <a:lnTo>
                      <a:pt x="27" y="71"/>
                    </a:lnTo>
                    <a:lnTo>
                      <a:pt x="31" y="79"/>
                    </a:lnTo>
                    <a:lnTo>
                      <a:pt x="35" y="83"/>
                    </a:lnTo>
                    <a:lnTo>
                      <a:pt x="37" y="87"/>
                    </a:lnTo>
                    <a:lnTo>
                      <a:pt x="41" y="92"/>
                    </a:lnTo>
                    <a:lnTo>
                      <a:pt x="46" y="96"/>
                    </a:lnTo>
                    <a:lnTo>
                      <a:pt x="48" y="102"/>
                    </a:lnTo>
                    <a:lnTo>
                      <a:pt x="50" y="108"/>
                    </a:lnTo>
                    <a:lnTo>
                      <a:pt x="56" y="112"/>
                    </a:lnTo>
                    <a:lnTo>
                      <a:pt x="56" y="117"/>
                    </a:lnTo>
                    <a:lnTo>
                      <a:pt x="58" y="125"/>
                    </a:lnTo>
                    <a:lnTo>
                      <a:pt x="56" y="129"/>
                    </a:lnTo>
                    <a:lnTo>
                      <a:pt x="58" y="136"/>
                    </a:lnTo>
                    <a:lnTo>
                      <a:pt x="60" y="142"/>
                    </a:lnTo>
                    <a:lnTo>
                      <a:pt x="60" y="148"/>
                    </a:lnTo>
                    <a:lnTo>
                      <a:pt x="62" y="154"/>
                    </a:lnTo>
                    <a:lnTo>
                      <a:pt x="62" y="159"/>
                    </a:lnTo>
                    <a:lnTo>
                      <a:pt x="62" y="167"/>
                    </a:lnTo>
                    <a:lnTo>
                      <a:pt x="58" y="177"/>
                    </a:lnTo>
                    <a:lnTo>
                      <a:pt x="50" y="181"/>
                    </a:lnTo>
                    <a:lnTo>
                      <a:pt x="45" y="184"/>
                    </a:lnTo>
                    <a:lnTo>
                      <a:pt x="43" y="190"/>
                    </a:lnTo>
                    <a:lnTo>
                      <a:pt x="33" y="188"/>
                    </a:lnTo>
                    <a:lnTo>
                      <a:pt x="29" y="188"/>
                    </a:lnTo>
                    <a:lnTo>
                      <a:pt x="25" y="190"/>
                    </a:lnTo>
                    <a:lnTo>
                      <a:pt x="22" y="194"/>
                    </a:lnTo>
                    <a:lnTo>
                      <a:pt x="20" y="198"/>
                    </a:lnTo>
                    <a:lnTo>
                      <a:pt x="22" y="200"/>
                    </a:lnTo>
                    <a:lnTo>
                      <a:pt x="23" y="200"/>
                    </a:lnTo>
                    <a:lnTo>
                      <a:pt x="23" y="207"/>
                    </a:lnTo>
                    <a:lnTo>
                      <a:pt x="22" y="213"/>
                    </a:lnTo>
                    <a:lnTo>
                      <a:pt x="23" y="217"/>
                    </a:lnTo>
                    <a:lnTo>
                      <a:pt x="27" y="221"/>
                    </a:lnTo>
                    <a:lnTo>
                      <a:pt x="27" y="223"/>
                    </a:lnTo>
                    <a:lnTo>
                      <a:pt x="25" y="225"/>
                    </a:lnTo>
                    <a:lnTo>
                      <a:pt x="29" y="223"/>
                    </a:lnTo>
                    <a:lnTo>
                      <a:pt x="33" y="221"/>
                    </a:lnTo>
                    <a:lnTo>
                      <a:pt x="33" y="217"/>
                    </a:lnTo>
                    <a:lnTo>
                      <a:pt x="37" y="217"/>
                    </a:lnTo>
                    <a:lnTo>
                      <a:pt x="39" y="217"/>
                    </a:lnTo>
                    <a:lnTo>
                      <a:pt x="37" y="213"/>
                    </a:lnTo>
                    <a:lnTo>
                      <a:pt x="37" y="207"/>
                    </a:lnTo>
                    <a:lnTo>
                      <a:pt x="39" y="209"/>
                    </a:lnTo>
                    <a:lnTo>
                      <a:pt x="43" y="211"/>
                    </a:lnTo>
                    <a:lnTo>
                      <a:pt x="43" y="209"/>
                    </a:lnTo>
                    <a:lnTo>
                      <a:pt x="45" y="206"/>
                    </a:lnTo>
                    <a:lnTo>
                      <a:pt x="41" y="204"/>
                    </a:lnTo>
                    <a:lnTo>
                      <a:pt x="39" y="202"/>
                    </a:lnTo>
                    <a:lnTo>
                      <a:pt x="37" y="198"/>
                    </a:lnTo>
                    <a:lnTo>
                      <a:pt x="37" y="198"/>
                    </a:lnTo>
                    <a:lnTo>
                      <a:pt x="37" y="196"/>
                    </a:lnTo>
                    <a:lnTo>
                      <a:pt x="41" y="198"/>
                    </a:lnTo>
                    <a:lnTo>
                      <a:pt x="41" y="200"/>
                    </a:lnTo>
                    <a:lnTo>
                      <a:pt x="48" y="200"/>
                    </a:lnTo>
                    <a:lnTo>
                      <a:pt x="54" y="200"/>
                    </a:lnTo>
                    <a:lnTo>
                      <a:pt x="52" y="198"/>
                    </a:lnTo>
                    <a:lnTo>
                      <a:pt x="52" y="196"/>
                    </a:lnTo>
                    <a:lnTo>
                      <a:pt x="56" y="196"/>
                    </a:lnTo>
                    <a:lnTo>
                      <a:pt x="62" y="194"/>
                    </a:lnTo>
                    <a:lnTo>
                      <a:pt x="70" y="188"/>
                    </a:lnTo>
                    <a:lnTo>
                      <a:pt x="75" y="184"/>
                    </a:lnTo>
                    <a:lnTo>
                      <a:pt x="79" y="179"/>
                    </a:lnTo>
                    <a:lnTo>
                      <a:pt x="81" y="171"/>
                    </a:lnTo>
                    <a:lnTo>
                      <a:pt x="83" y="158"/>
                    </a:lnTo>
                    <a:lnTo>
                      <a:pt x="79" y="138"/>
                    </a:lnTo>
                    <a:lnTo>
                      <a:pt x="75" y="123"/>
                    </a:lnTo>
                    <a:lnTo>
                      <a:pt x="71" y="121"/>
                    </a:lnTo>
                    <a:lnTo>
                      <a:pt x="68" y="117"/>
                    </a:lnTo>
                    <a:lnTo>
                      <a:pt x="68" y="113"/>
                    </a:lnTo>
                    <a:lnTo>
                      <a:pt x="68" y="110"/>
                    </a:lnTo>
                    <a:lnTo>
                      <a:pt x="62" y="104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2"/>
                    </a:lnTo>
                    <a:lnTo>
                      <a:pt x="52" y="90"/>
                    </a:lnTo>
                    <a:lnTo>
                      <a:pt x="46" y="88"/>
                    </a:lnTo>
                    <a:lnTo>
                      <a:pt x="45" y="85"/>
                    </a:lnTo>
                    <a:lnTo>
                      <a:pt x="45" y="81"/>
                    </a:lnTo>
                    <a:lnTo>
                      <a:pt x="43" y="79"/>
                    </a:lnTo>
                    <a:lnTo>
                      <a:pt x="39" y="77"/>
                    </a:lnTo>
                    <a:lnTo>
                      <a:pt x="37" y="71"/>
                    </a:lnTo>
                    <a:lnTo>
                      <a:pt x="35" y="64"/>
                    </a:lnTo>
                    <a:lnTo>
                      <a:pt x="37" y="58"/>
                    </a:lnTo>
                    <a:lnTo>
                      <a:pt x="39" y="50"/>
                    </a:lnTo>
                    <a:lnTo>
                      <a:pt x="41" y="48"/>
                    </a:lnTo>
                    <a:lnTo>
                      <a:pt x="45" y="48"/>
                    </a:lnTo>
                    <a:lnTo>
                      <a:pt x="48" y="42"/>
                    </a:lnTo>
                    <a:lnTo>
                      <a:pt x="52" y="35"/>
                    </a:lnTo>
                    <a:lnTo>
                      <a:pt x="58" y="29"/>
                    </a:lnTo>
                    <a:lnTo>
                      <a:pt x="66" y="25"/>
                    </a:lnTo>
                    <a:lnTo>
                      <a:pt x="66" y="25"/>
                    </a:lnTo>
                    <a:close/>
                    <a:moveTo>
                      <a:pt x="37" y="204"/>
                    </a:moveTo>
                    <a:lnTo>
                      <a:pt x="37" y="206"/>
                    </a:lnTo>
                    <a:lnTo>
                      <a:pt x="35" y="207"/>
                    </a:lnTo>
                    <a:lnTo>
                      <a:pt x="35" y="204"/>
                    </a:lnTo>
                    <a:lnTo>
                      <a:pt x="37" y="204"/>
                    </a:lnTo>
                    <a:close/>
                    <a:moveTo>
                      <a:pt x="35" y="200"/>
                    </a:moveTo>
                    <a:lnTo>
                      <a:pt x="35" y="202"/>
                    </a:lnTo>
                    <a:lnTo>
                      <a:pt x="33" y="204"/>
                    </a:lnTo>
                    <a:lnTo>
                      <a:pt x="33" y="200"/>
                    </a:lnTo>
                    <a:lnTo>
                      <a:pt x="35" y="200"/>
                    </a:lnTo>
                    <a:close/>
                    <a:moveTo>
                      <a:pt x="31" y="192"/>
                    </a:moveTo>
                    <a:lnTo>
                      <a:pt x="33" y="192"/>
                    </a:lnTo>
                    <a:lnTo>
                      <a:pt x="33" y="194"/>
                    </a:lnTo>
                    <a:lnTo>
                      <a:pt x="31" y="196"/>
                    </a:lnTo>
                    <a:lnTo>
                      <a:pt x="29" y="196"/>
                    </a:lnTo>
                    <a:lnTo>
                      <a:pt x="29" y="192"/>
                    </a:lnTo>
                    <a:lnTo>
                      <a:pt x="31" y="19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3" name="Freeform 21"/>
              <p:cNvSpPr>
                <a:spLocks/>
              </p:cNvSpPr>
              <p:nvPr/>
            </p:nvSpPr>
            <p:spPr bwMode="gray">
              <a:xfrm>
                <a:off x="2870283" y="4168776"/>
                <a:ext cx="268258" cy="279400"/>
              </a:xfrm>
              <a:custGeom>
                <a:avLst/>
                <a:gdLst>
                  <a:gd name="T0" fmla="*/ 142 w 169"/>
                  <a:gd name="T1" fmla="*/ 52 h 176"/>
                  <a:gd name="T2" fmla="*/ 148 w 169"/>
                  <a:gd name="T3" fmla="*/ 46 h 176"/>
                  <a:gd name="T4" fmla="*/ 159 w 169"/>
                  <a:gd name="T5" fmla="*/ 34 h 176"/>
                  <a:gd name="T6" fmla="*/ 152 w 169"/>
                  <a:gd name="T7" fmla="*/ 32 h 176"/>
                  <a:gd name="T8" fmla="*/ 140 w 169"/>
                  <a:gd name="T9" fmla="*/ 31 h 176"/>
                  <a:gd name="T10" fmla="*/ 140 w 169"/>
                  <a:gd name="T11" fmla="*/ 19 h 176"/>
                  <a:gd name="T12" fmla="*/ 125 w 169"/>
                  <a:gd name="T13" fmla="*/ 19 h 176"/>
                  <a:gd name="T14" fmla="*/ 117 w 169"/>
                  <a:gd name="T15" fmla="*/ 23 h 176"/>
                  <a:gd name="T16" fmla="*/ 94 w 169"/>
                  <a:gd name="T17" fmla="*/ 19 h 176"/>
                  <a:gd name="T18" fmla="*/ 63 w 169"/>
                  <a:gd name="T19" fmla="*/ 13 h 176"/>
                  <a:gd name="T20" fmla="*/ 46 w 169"/>
                  <a:gd name="T21" fmla="*/ 8 h 176"/>
                  <a:gd name="T22" fmla="*/ 40 w 169"/>
                  <a:gd name="T23" fmla="*/ 0 h 176"/>
                  <a:gd name="T24" fmla="*/ 46 w 169"/>
                  <a:gd name="T25" fmla="*/ 11 h 176"/>
                  <a:gd name="T26" fmla="*/ 27 w 169"/>
                  <a:gd name="T27" fmla="*/ 27 h 176"/>
                  <a:gd name="T28" fmla="*/ 35 w 169"/>
                  <a:gd name="T29" fmla="*/ 40 h 176"/>
                  <a:gd name="T30" fmla="*/ 23 w 169"/>
                  <a:gd name="T31" fmla="*/ 44 h 176"/>
                  <a:gd name="T32" fmla="*/ 19 w 169"/>
                  <a:gd name="T33" fmla="*/ 27 h 176"/>
                  <a:gd name="T34" fmla="*/ 25 w 169"/>
                  <a:gd name="T35" fmla="*/ 19 h 176"/>
                  <a:gd name="T36" fmla="*/ 19 w 169"/>
                  <a:gd name="T37" fmla="*/ 15 h 176"/>
                  <a:gd name="T38" fmla="*/ 23 w 169"/>
                  <a:gd name="T39" fmla="*/ 8 h 176"/>
                  <a:gd name="T40" fmla="*/ 21 w 169"/>
                  <a:gd name="T41" fmla="*/ 2 h 176"/>
                  <a:gd name="T42" fmla="*/ 2 w 169"/>
                  <a:gd name="T43" fmla="*/ 25 h 176"/>
                  <a:gd name="T44" fmla="*/ 0 w 169"/>
                  <a:gd name="T45" fmla="*/ 44 h 176"/>
                  <a:gd name="T46" fmla="*/ 12 w 169"/>
                  <a:gd name="T47" fmla="*/ 59 h 176"/>
                  <a:gd name="T48" fmla="*/ 14 w 169"/>
                  <a:gd name="T49" fmla="*/ 71 h 176"/>
                  <a:gd name="T50" fmla="*/ 29 w 169"/>
                  <a:gd name="T51" fmla="*/ 80 h 176"/>
                  <a:gd name="T52" fmla="*/ 48 w 169"/>
                  <a:gd name="T53" fmla="*/ 90 h 176"/>
                  <a:gd name="T54" fmla="*/ 65 w 169"/>
                  <a:gd name="T55" fmla="*/ 94 h 176"/>
                  <a:gd name="T56" fmla="*/ 63 w 169"/>
                  <a:gd name="T57" fmla="*/ 109 h 176"/>
                  <a:gd name="T58" fmla="*/ 77 w 169"/>
                  <a:gd name="T59" fmla="*/ 127 h 176"/>
                  <a:gd name="T60" fmla="*/ 86 w 169"/>
                  <a:gd name="T61" fmla="*/ 144 h 176"/>
                  <a:gd name="T62" fmla="*/ 83 w 169"/>
                  <a:gd name="T63" fmla="*/ 155 h 176"/>
                  <a:gd name="T64" fmla="*/ 86 w 169"/>
                  <a:gd name="T65" fmla="*/ 159 h 176"/>
                  <a:gd name="T66" fmla="*/ 94 w 169"/>
                  <a:gd name="T67" fmla="*/ 176 h 176"/>
                  <a:gd name="T68" fmla="*/ 109 w 169"/>
                  <a:gd name="T69" fmla="*/ 165 h 176"/>
                  <a:gd name="T70" fmla="*/ 123 w 169"/>
                  <a:gd name="T71" fmla="*/ 155 h 176"/>
                  <a:gd name="T72" fmla="*/ 123 w 169"/>
                  <a:gd name="T73" fmla="*/ 150 h 176"/>
                  <a:gd name="T74" fmla="*/ 109 w 169"/>
                  <a:gd name="T75" fmla="*/ 146 h 176"/>
                  <a:gd name="T76" fmla="*/ 108 w 169"/>
                  <a:gd name="T77" fmla="*/ 128 h 176"/>
                  <a:gd name="T78" fmla="*/ 102 w 169"/>
                  <a:gd name="T79" fmla="*/ 119 h 176"/>
                  <a:gd name="T80" fmla="*/ 115 w 169"/>
                  <a:gd name="T81" fmla="*/ 123 h 176"/>
                  <a:gd name="T82" fmla="*/ 131 w 169"/>
                  <a:gd name="T83" fmla="*/ 127 h 176"/>
                  <a:gd name="T84" fmla="*/ 133 w 169"/>
                  <a:gd name="T85" fmla="*/ 121 h 176"/>
                  <a:gd name="T86" fmla="*/ 146 w 169"/>
                  <a:gd name="T87" fmla="*/ 119 h 176"/>
                  <a:gd name="T88" fmla="*/ 157 w 169"/>
                  <a:gd name="T89" fmla="*/ 111 h 176"/>
                  <a:gd name="T90" fmla="*/ 152 w 169"/>
                  <a:gd name="T91" fmla="*/ 84 h 176"/>
                  <a:gd name="T92" fmla="*/ 163 w 169"/>
                  <a:gd name="T93" fmla="*/ 75 h 176"/>
                  <a:gd name="T94" fmla="*/ 156 w 169"/>
                  <a:gd name="T95" fmla="*/ 65 h 176"/>
                  <a:gd name="T96" fmla="*/ 165 w 169"/>
                  <a:gd name="T97" fmla="*/ 5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9" h="176">
                    <a:moveTo>
                      <a:pt x="169" y="50"/>
                    </a:moveTo>
                    <a:lnTo>
                      <a:pt x="157" y="48"/>
                    </a:lnTo>
                    <a:lnTo>
                      <a:pt x="146" y="50"/>
                    </a:lnTo>
                    <a:lnTo>
                      <a:pt x="142" y="52"/>
                    </a:lnTo>
                    <a:lnTo>
                      <a:pt x="140" y="52"/>
                    </a:lnTo>
                    <a:lnTo>
                      <a:pt x="140" y="50"/>
                    </a:lnTo>
                    <a:lnTo>
                      <a:pt x="142" y="46"/>
                    </a:lnTo>
                    <a:lnTo>
                      <a:pt x="148" y="46"/>
                    </a:lnTo>
                    <a:lnTo>
                      <a:pt x="156" y="46"/>
                    </a:lnTo>
                    <a:lnTo>
                      <a:pt x="156" y="40"/>
                    </a:lnTo>
                    <a:lnTo>
                      <a:pt x="157" y="34"/>
                    </a:lnTo>
                    <a:lnTo>
                      <a:pt x="159" y="34"/>
                    </a:lnTo>
                    <a:lnTo>
                      <a:pt x="157" y="32"/>
                    </a:lnTo>
                    <a:lnTo>
                      <a:pt x="156" y="31"/>
                    </a:lnTo>
                    <a:lnTo>
                      <a:pt x="156" y="31"/>
                    </a:lnTo>
                    <a:lnTo>
                      <a:pt x="152" y="32"/>
                    </a:lnTo>
                    <a:lnTo>
                      <a:pt x="148" y="32"/>
                    </a:lnTo>
                    <a:lnTo>
                      <a:pt x="148" y="29"/>
                    </a:lnTo>
                    <a:lnTo>
                      <a:pt x="144" y="31"/>
                    </a:lnTo>
                    <a:lnTo>
                      <a:pt x="140" y="31"/>
                    </a:lnTo>
                    <a:lnTo>
                      <a:pt x="140" y="27"/>
                    </a:lnTo>
                    <a:lnTo>
                      <a:pt x="136" y="25"/>
                    </a:lnTo>
                    <a:lnTo>
                      <a:pt x="136" y="21"/>
                    </a:lnTo>
                    <a:lnTo>
                      <a:pt x="140" y="19"/>
                    </a:lnTo>
                    <a:lnTo>
                      <a:pt x="144" y="17"/>
                    </a:lnTo>
                    <a:lnTo>
                      <a:pt x="133" y="17"/>
                    </a:lnTo>
                    <a:lnTo>
                      <a:pt x="123" y="17"/>
                    </a:lnTo>
                    <a:lnTo>
                      <a:pt x="125" y="19"/>
                    </a:lnTo>
                    <a:lnTo>
                      <a:pt x="127" y="21"/>
                    </a:lnTo>
                    <a:lnTo>
                      <a:pt x="121" y="19"/>
                    </a:lnTo>
                    <a:lnTo>
                      <a:pt x="119" y="19"/>
                    </a:lnTo>
                    <a:lnTo>
                      <a:pt x="117" y="23"/>
                    </a:lnTo>
                    <a:lnTo>
                      <a:pt x="115" y="25"/>
                    </a:lnTo>
                    <a:lnTo>
                      <a:pt x="104" y="25"/>
                    </a:lnTo>
                    <a:lnTo>
                      <a:pt x="94" y="23"/>
                    </a:lnTo>
                    <a:lnTo>
                      <a:pt x="94" y="19"/>
                    </a:lnTo>
                    <a:lnTo>
                      <a:pt x="79" y="21"/>
                    </a:lnTo>
                    <a:lnTo>
                      <a:pt x="67" y="25"/>
                    </a:lnTo>
                    <a:lnTo>
                      <a:pt x="65" y="19"/>
                    </a:lnTo>
                    <a:lnTo>
                      <a:pt x="63" y="13"/>
                    </a:lnTo>
                    <a:lnTo>
                      <a:pt x="60" y="9"/>
                    </a:lnTo>
                    <a:lnTo>
                      <a:pt x="54" y="8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42" y="2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4" y="8"/>
                    </a:lnTo>
                    <a:lnTo>
                      <a:pt x="46" y="11"/>
                    </a:lnTo>
                    <a:lnTo>
                      <a:pt x="37" y="13"/>
                    </a:lnTo>
                    <a:lnTo>
                      <a:pt x="27" y="15"/>
                    </a:lnTo>
                    <a:lnTo>
                      <a:pt x="27" y="21"/>
                    </a:lnTo>
                    <a:lnTo>
                      <a:pt x="27" y="27"/>
                    </a:lnTo>
                    <a:lnTo>
                      <a:pt x="29" y="29"/>
                    </a:lnTo>
                    <a:lnTo>
                      <a:pt x="33" y="34"/>
                    </a:lnTo>
                    <a:lnTo>
                      <a:pt x="35" y="38"/>
                    </a:lnTo>
                    <a:lnTo>
                      <a:pt x="35" y="40"/>
                    </a:lnTo>
                    <a:lnTo>
                      <a:pt x="33" y="42"/>
                    </a:lnTo>
                    <a:lnTo>
                      <a:pt x="31" y="44"/>
                    </a:lnTo>
                    <a:lnTo>
                      <a:pt x="27" y="44"/>
                    </a:lnTo>
                    <a:lnTo>
                      <a:pt x="23" y="44"/>
                    </a:lnTo>
                    <a:lnTo>
                      <a:pt x="21" y="42"/>
                    </a:lnTo>
                    <a:lnTo>
                      <a:pt x="21" y="40"/>
                    </a:lnTo>
                    <a:lnTo>
                      <a:pt x="19" y="34"/>
                    </a:lnTo>
                    <a:lnTo>
                      <a:pt x="19" y="27"/>
                    </a:lnTo>
                    <a:lnTo>
                      <a:pt x="21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19"/>
                    </a:lnTo>
                    <a:lnTo>
                      <a:pt x="21" y="19"/>
                    </a:lnTo>
                    <a:lnTo>
                      <a:pt x="21" y="17"/>
                    </a:lnTo>
                    <a:lnTo>
                      <a:pt x="23" y="15"/>
                    </a:lnTo>
                    <a:lnTo>
                      <a:pt x="19" y="15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23" y="8"/>
                    </a:lnTo>
                    <a:lnTo>
                      <a:pt x="29" y="4"/>
                    </a:lnTo>
                    <a:lnTo>
                      <a:pt x="27" y="2"/>
                    </a:lnTo>
                    <a:lnTo>
                      <a:pt x="25" y="0"/>
                    </a:lnTo>
                    <a:lnTo>
                      <a:pt x="21" y="2"/>
                    </a:lnTo>
                    <a:lnTo>
                      <a:pt x="19" y="4"/>
                    </a:lnTo>
                    <a:lnTo>
                      <a:pt x="12" y="9"/>
                    </a:lnTo>
                    <a:lnTo>
                      <a:pt x="8" y="23"/>
                    </a:lnTo>
                    <a:lnTo>
                      <a:pt x="2" y="25"/>
                    </a:lnTo>
                    <a:lnTo>
                      <a:pt x="2" y="27"/>
                    </a:lnTo>
                    <a:lnTo>
                      <a:pt x="2" y="32"/>
                    </a:lnTo>
                    <a:lnTo>
                      <a:pt x="2" y="38"/>
                    </a:lnTo>
                    <a:lnTo>
                      <a:pt x="0" y="44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6" y="48"/>
                    </a:lnTo>
                    <a:lnTo>
                      <a:pt x="12" y="59"/>
                    </a:lnTo>
                    <a:lnTo>
                      <a:pt x="10" y="59"/>
                    </a:lnTo>
                    <a:lnTo>
                      <a:pt x="10" y="63"/>
                    </a:lnTo>
                    <a:lnTo>
                      <a:pt x="12" y="67"/>
                    </a:lnTo>
                    <a:lnTo>
                      <a:pt x="14" y="71"/>
                    </a:lnTo>
                    <a:lnTo>
                      <a:pt x="15" y="77"/>
                    </a:lnTo>
                    <a:lnTo>
                      <a:pt x="17" y="79"/>
                    </a:lnTo>
                    <a:lnTo>
                      <a:pt x="25" y="80"/>
                    </a:lnTo>
                    <a:lnTo>
                      <a:pt x="29" y="80"/>
                    </a:lnTo>
                    <a:lnTo>
                      <a:pt x="37" y="80"/>
                    </a:lnTo>
                    <a:lnTo>
                      <a:pt x="40" y="80"/>
                    </a:lnTo>
                    <a:lnTo>
                      <a:pt x="44" y="82"/>
                    </a:lnTo>
                    <a:lnTo>
                      <a:pt x="48" y="90"/>
                    </a:lnTo>
                    <a:lnTo>
                      <a:pt x="50" y="94"/>
                    </a:lnTo>
                    <a:lnTo>
                      <a:pt x="54" y="94"/>
                    </a:lnTo>
                    <a:lnTo>
                      <a:pt x="60" y="92"/>
                    </a:lnTo>
                    <a:lnTo>
                      <a:pt x="65" y="94"/>
                    </a:lnTo>
                    <a:lnTo>
                      <a:pt x="67" y="94"/>
                    </a:lnTo>
                    <a:lnTo>
                      <a:pt x="67" y="102"/>
                    </a:lnTo>
                    <a:lnTo>
                      <a:pt x="65" y="103"/>
                    </a:lnTo>
                    <a:lnTo>
                      <a:pt x="63" y="109"/>
                    </a:lnTo>
                    <a:lnTo>
                      <a:pt x="67" y="115"/>
                    </a:lnTo>
                    <a:lnTo>
                      <a:pt x="71" y="119"/>
                    </a:lnTo>
                    <a:lnTo>
                      <a:pt x="73" y="123"/>
                    </a:lnTo>
                    <a:lnTo>
                      <a:pt x="77" y="127"/>
                    </a:lnTo>
                    <a:lnTo>
                      <a:pt x="85" y="130"/>
                    </a:lnTo>
                    <a:lnTo>
                      <a:pt x="90" y="134"/>
                    </a:lnTo>
                    <a:lnTo>
                      <a:pt x="88" y="138"/>
                    </a:lnTo>
                    <a:lnTo>
                      <a:pt x="86" y="144"/>
                    </a:lnTo>
                    <a:lnTo>
                      <a:pt x="83" y="148"/>
                    </a:lnTo>
                    <a:lnTo>
                      <a:pt x="81" y="150"/>
                    </a:lnTo>
                    <a:lnTo>
                      <a:pt x="81" y="153"/>
                    </a:lnTo>
                    <a:lnTo>
                      <a:pt x="83" y="155"/>
                    </a:lnTo>
                    <a:lnTo>
                      <a:pt x="85" y="153"/>
                    </a:lnTo>
                    <a:lnTo>
                      <a:pt x="85" y="155"/>
                    </a:lnTo>
                    <a:lnTo>
                      <a:pt x="86" y="155"/>
                    </a:lnTo>
                    <a:lnTo>
                      <a:pt x="86" y="159"/>
                    </a:lnTo>
                    <a:lnTo>
                      <a:pt x="88" y="163"/>
                    </a:lnTo>
                    <a:lnTo>
                      <a:pt x="88" y="163"/>
                    </a:lnTo>
                    <a:lnTo>
                      <a:pt x="88" y="171"/>
                    </a:lnTo>
                    <a:lnTo>
                      <a:pt x="94" y="176"/>
                    </a:lnTo>
                    <a:lnTo>
                      <a:pt x="98" y="174"/>
                    </a:lnTo>
                    <a:lnTo>
                      <a:pt x="102" y="173"/>
                    </a:lnTo>
                    <a:lnTo>
                      <a:pt x="106" y="169"/>
                    </a:lnTo>
                    <a:lnTo>
                      <a:pt x="109" y="165"/>
                    </a:lnTo>
                    <a:lnTo>
                      <a:pt x="113" y="165"/>
                    </a:lnTo>
                    <a:lnTo>
                      <a:pt x="115" y="163"/>
                    </a:lnTo>
                    <a:lnTo>
                      <a:pt x="119" y="159"/>
                    </a:lnTo>
                    <a:lnTo>
                      <a:pt x="123" y="155"/>
                    </a:lnTo>
                    <a:lnTo>
                      <a:pt x="127" y="153"/>
                    </a:lnTo>
                    <a:lnTo>
                      <a:pt x="127" y="153"/>
                    </a:lnTo>
                    <a:lnTo>
                      <a:pt x="127" y="150"/>
                    </a:lnTo>
                    <a:lnTo>
                      <a:pt x="123" y="150"/>
                    </a:lnTo>
                    <a:lnTo>
                      <a:pt x="117" y="150"/>
                    </a:lnTo>
                    <a:lnTo>
                      <a:pt x="113" y="150"/>
                    </a:lnTo>
                    <a:lnTo>
                      <a:pt x="111" y="148"/>
                    </a:lnTo>
                    <a:lnTo>
                      <a:pt x="109" y="146"/>
                    </a:lnTo>
                    <a:lnTo>
                      <a:pt x="109" y="140"/>
                    </a:lnTo>
                    <a:lnTo>
                      <a:pt x="109" y="134"/>
                    </a:lnTo>
                    <a:lnTo>
                      <a:pt x="109" y="132"/>
                    </a:lnTo>
                    <a:lnTo>
                      <a:pt x="108" y="128"/>
                    </a:lnTo>
                    <a:lnTo>
                      <a:pt x="106" y="125"/>
                    </a:lnTo>
                    <a:lnTo>
                      <a:pt x="104" y="121"/>
                    </a:lnTo>
                    <a:lnTo>
                      <a:pt x="104" y="121"/>
                    </a:lnTo>
                    <a:lnTo>
                      <a:pt x="102" y="119"/>
                    </a:lnTo>
                    <a:lnTo>
                      <a:pt x="104" y="119"/>
                    </a:lnTo>
                    <a:lnTo>
                      <a:pt x="106" y="119"/>
                    </a:lnTo>
                    <a:lnTo>
                      <a:pt x="111" y="121"/>
                    </a:lnTo>
                    <a:lnTo>
                      <a:pt x="115" y="123"/>
                    </a:lnTo>
                    <a:lnTo>
                      <a:pt x="119" y="123"/>
                    </a:lnTo>
                    <a:lnTo>
                      <a:pt x="123" y="125"/>
                    </a:lnTo>
                    <a:lnTo>
                      <a:pt x="127" y="127"/>
                    </a:lnTo>
                    <a:lnTo>
                      <a:pt x="131" y="127"/>
                    </a:lnTo>
                    <a:lnTo>
                      <a:pt x="129" y="125"/>
                    </a:lnTo>
                    <a:lnTo>
                      <a:pt x="129" y="123"/>
                    </a:lnTo>
                    <a:lnTo>
                      <a:pt x="133" y="121"/>
                    </a:lnTo>
                    <a:lnTo>
                      <a:pt x="133" y="121"/>
                    </a:lnTo>
                    <a:lnTo>
                      <a:pt x="136" y="121"/>
                    </a:lnTo>
                    <a:lnTo>
                      <a:pt x="140" y="121"/>
                    </a:lnTo>
                    <a:lnTo>
                      <a:pt x="144" y="121"/>
                    </a:lnTo>
                    <a:lnTo>
                      <a:pt x="146" y="119"/>
                    </a:lnTo>
                    <a:lnTo>
                      <a:pt x="150" y="115"/>
                    </a:lnTo>
                    <a:lnTo>
                      <a:pt x="152" y="113"/>
                    </a:lnTo>
                    <a:lnTo>
                      <a:pt x="156" y="113"/>
                    </a:lnTo>
                    <a:lnTo>
                      <a:pt x="157" y="111"/>
                    </a:lnTo>
                    <a:lnTo>
                      <a:pt x="159" y="107"/>
                    </a:lnTo>
                    <a:lnTo>
                      <a:pt x="159" y="103"/>
                    </a:lnTo>
                    <a:lnTo>
                      <a:pt x="148" y="86"/>
                    </a:lnTo>
                    <a:lnTo>
                      <a:pt x="152" y="84"/>
                    </a:lnTo>
                    <a:lnTo>
                      <a:pt x="152" y="82"/>
                    </a:lnTo>
                    <a:lnTo>
                      <a:pt x="154" y="79"/>
                    </a:lnTo>
                    <a:lnTo>
                      <a:pt x="159" y="79"/>
                    </a:lnTo>
                    <a:lnTo>
                      <a:pt x="163" y="75"/>
                    </a:lnTo>
                    <a:lnTo>
                      <a:pt x="161" y="73"/>
                    </a:lnTo>
                    <a:lnTo>
                      <a:pt x="159" y="71"/>
                    </a:lnTo>
                    <a:lnTo>
                      <a:pt x="159" y="69"/>
                    </a:lnTo>
                    <a:lnTo>
                      <a:pt x="156" y="65"/>
                    </a:lnTo>
                    <a:lnTo>
                      <a:pt x="154" y="63"/>
                    </a:lnTo>
                    <a:lnTo>
                      <a:pt x="156" y="59"/>
                    </a:lnTo>
                    <a:lnTo>
                      <a:pt x="161" y="59"/>
                    </a:lnTo>
                    <a:lnTo>
                      <a:pt x="165" y="57"/>
                    </a:lnTo>
                    <a:lnTo>
                      <a:pt x="167" y="55"/>
                    </a:lnTo>
                    <a:lnTo>
                      <a:pt x="167" y="54"/>
                    </a:lnTo>
                    <a:lnTo>
                      <a:pt x="169" y="5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4" name="Freeform 22"/>
              <p:cNvSpPr>
                <a:spLocks noEditPoints="1"/>
              </p:cNvSpPr>
              <p:nvPr/>
            </p:nvSpPr>
            <p:spPr bwMode="gray">
              <a:xfrm>
                <a:off x="7632253" y="4859339"/>
                <a:ext cx="17461" cy="46038"/>
              </a:xfrm>
              <a:custGeom>
                <a:avLst/>
                <a:gdLst>
                  <a:gd name="T0" fmla="*/ 5 w 11"/>
                  <a:gd name="T1" fmla="*/ 20 h 29"/>
                  <a:gd name="T2" fmla="*/ 7 w 11"/>
                  <a:gd name="T3" fmla="*/ 23 h 29"/>
                  <a:gd name="T4" fmla="*/ 7 w 11"/>
                  <a:gd name="T5" fmla="*/ 29 h 29"/>
                  <a:gd name="T6" fmla="*/ 11 w 11"/>
                  <a:gd name="T7" fmla="*/ 29 h 29"/>
                  <a:gd name="T8" fmla="*/ 11 w 11"/>
                  <a:gd name="T9" fmla="*/ 25 h 29"/>
                  <a:gd name="T10" fmla="*/ 9 w 11"/>
                  <a:gd name="T11" fmla="*/ 23 h 29"/>
                  <a:gd name="T12" fmla="*/ 5 w 11"/>
                  <a:gd name="T13" fmla="*/ 20 h 29"/>
                  <a:gd name="T14" fmla="*/ 0 w 11"/>
                  <a:gd name="T15" fmla="*/ 0 h 29"/>
                  <a:gd name="T16" fmla="*/ 0 w 11"/>
                  <a:gd name="T17" fmla="*/ 8 h 29"/>
                  <a:gd name="T18" fmla="*/ 0 w 11"/>
                  <a:gd name="T19" fmla="*/ 14 h 29"/>
                  <a:gd name="T20" fmla="*/ 4 w 11"/>
                  <a:gd name="T21" fmla="*/ 14 h 29"/>
                  <a:gd name="T22" fmla="*/ 7 w 11"/>
                  <a:gd name="T23" fmla="*/ 14 h 29"/>
                  <a:gd name="T24" fmla="*/ 7 w 11"/>
                  <a:gd name="T25" fmla="*/ 10 h 29"/>
                  <a:gd name="T26" fmla="*/ 7 w 11"/>
                  <a:gd name="T27" fmla="*/ 6 h 29"/>
                  <a:gd name="T28" fmla="*/ 5 w 11"/>
                  <a:gd name="T29" fmla="*/ 6 h 29"/>
                  <a:gd name="T30" fmla="*/ 4 w 11"/>
                  <a:gd name="T31" fmla="*/ 2 h 29"/>
                  <a:gd name="T32" fmla="*/ 0 w 11"/>
                  <a:gd name="T3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" h="29">
                    <a:moveTo>
                      <a:pt x="5" y="20"/>
                    </a:moveTo>
                    <a:lnTo>
                      <a:pt x="7" y="23"/>
                    </a:lnTo>
                    <a:lnTo>
                      <a:pt x="7" y="29"/>
                    </a:lnTo>
                    <a:lnTo>
                      <a:pt x="11" y="29"/>
                    </a:lnTo>
                    <a:lnTo>
                      <a:pt x="11" y="25"/>
                    </a:lnTo>
                    <a:lnTo>
                      <a:pt x="9" y="23"/>
                    </a:lnTo>
                    <a:lnTo>
                      <a:pt x="5" y="20"/>
                    </a:lnTo>
                    <a:close/>
                    <a:moveTo>
                      <a:pt x="0" y="0"/>
                    </a:moveTo>
                    <a:lnTo>
                      <a:pt x="0" y="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7" y="10"/>
                    </a:lnTo>
                    <a:lnTo>
                      <a:pt x="7" y="6"/>
                    </a:lnTo>
                    <a:lnTo>
                      <a:pt x="5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5" name="Freeform 23"/>
              <p:cNvSpPr>
                <a:spLocks/>
              </p:cNvSpPr>
              <p:nvPr/>
            </p:nvSpPr>
            <p:spPr bwMode="gray">
              <a:xfrm>
                <a:off x="5438573" y="3281364"/>
                <a:ext cx="325401" cy="234950"/>
              </a:xfrm>
              <a:custGeom>
                <a:avLst/>
                <a:gdLst>
                  <a:gd name="T0" fmla="*/ 146 w 205"/>
                  <a:gd name="T1" fmla="*/ 140 h 148"/>
                  <a:gd name="T2" fmla="*/ 153 w 205"/>
                  <a:gd name="T3" fmla="*/ 133 h 148"/>
                  <a:gd name="T4" fmla="*/ 152 w 205"/>
                  <a:gd name="T5" fmla="*/ 121 h 148"/>
                  <a:gd name="T6" fmla="*/ 142 w 205"/>
                  <a:gd name="T7" fmla="*/ 119 h 148"/>
                  <a:gd name="T8" fmla="*/ 138 w 205"/>
                  <a:gd name="T9" fmla="*/ 112 h 148"/>
                  <a:gd name="T10" fmla="*/ 146 w 205"/>
                  <a:gd name="T11" fmla="*/ 108 h 148"/>
                  <a:gd name="T12" fmla="*/ 155 w 205"/>
                  <a:gd name="T13" fmla="*/ 106 h 148"/>
                  <a:gd name="T14" fmla="*/ 155 w 205"/>
                  <a:gd name="T15" fmla="*/ 100 h 148"/>
                  <a:gd name="T16" fmla="*/ 161 w 205"/>
                  <a:gd name="T17" fmla="*/ 91 h 148"/>
                  <a:gd name="T18" fmla="*/ 161 w 205"/>
                  <a:gd name="T19" fmla="*/ 83 h 148"/>
                  <a:gd name="T20" fmla="*/ 169 w 205"/>
                  <a:gd name="T21" fmla="*/ 85 h 148"/>
                  <a:gd name="T22" fmla="*/ 175 w 205"/>
                  <a:gd name="T23" fmla="*/ 77 h 148"/>
                  <a:gd name="T24" fmla="*/ 175 w 205"/>
                  <a:gd name="T25" fmla="*/ 89 h 148"/>
                  <a:gd name="T26" fmla="*/ 178 w 205"/>
                  <a:gd name="T27" fmla="*/ 94 h 148"/>
                  <a:gd name="T28" fmla="*/ 182 w 205"/>
                  <a:gd name="T29" fmla="*/ 98 h 148"/>
                  <a:gd name="T30" fmla="*/ 186 w 205"/>
                  <a:gd name="T31" fmla="*/ 93 h 148"/>
                  <a:gd name="T32" fmla="*/ 194 w 205"/>
                  <a:gd name="T33" fmla="*/ 94 h 148"/>
                  <a:gd name="T34" fmla="*/ 205 w 205"/>
                  <a:gd name="T35" fmla="*/ 81 h 148"/>
                  <a:gd name="T36" fmla="*/ 192 w 205"/>
                  <a:gd name="T37" fmla="*/ 75 h 148"/>
                  <a:gd name="T38" fmla="*/ 188 w 205"/>
                  <a:gd name="T39" fmla="*/ 75 h 148"/>
                  <a:gd name="T40" fmla="*/ 188 w 205"/>
                  <a:gd name="T41" fmla="*/ 71 h 148"/>
                  <a:gd name="T42" fmla="*/ 180 w 205"/>
                  <a:gd name="T43" fmla="*/ 71 h 148"/>
                  <a:gd name="T44" fmla="*/ 180 w 205"/>
                  <a:gd name="T45" fmla="*/ 66 h 148"/>
                  <a:gd name="T46" fmla="*/ 186 w 205"/>
                  <a:gd name="T47" fmla="*/ 56 h 148"/>
                  <a:gd name="T48" fmla="*/ 178 w 205"/>
                  <a:gd name="T49" fmla="*/ 58 h 148"/>
                  <a:gd name="T50" fmla="*/ 167 w 205"/>
                  <a:gd name="T51" fmla="*/ 60 h 148"/>
                  <a:gd name="T52" fmla="*/ 157 w 205"/>
                  <a:gd name="T53" fmla="*/ 66 h 148"/>
                  <a:gd name="T54" fmla="*/ 152 w 205"/>
                  <a:gd name="T55" fmla="*/ 73 h 148"/>
                  <a:gd name="T56" fmla="*/ 144 w 205"/>
                  <a:gd name="T57" fmla="*/ 81 h 148"/>
                  <a:gd name="T58" fmla="*/ 140 w 205"/>
                  <a:gd name="T59" fmla="*/ 73 h 148"/>
                  <a:gd name="T60" fmla="*/ 125 w 205"/>
                  <a:gd name="T61" fmla="*/ 71 h 148"/>
                  <a:gd name="T62" fmla="*/ 119 w 205"/>
                  <a:gd name="T63" fmla="*/ 64 h 148"/>
                  <a:gd name="T64" fmla="*/ 117 w 205"/>
                  <a:gd name="T65" fmla="*/ 58 h 148"/>
                  <a:gd name="T66" fmla="*/ 105 w 205"/>
                  <a:gd name="T67" fmla="*/ 56 h 148"/>
                  <a:gd name="T68" fmla="*/ 100 w 205"/>
                  <a:gd name="T69" fmla="*/ 52 h 148"/>
                  <a:gd name="T70" fmla="*/ 77 w 205"/>
                  <a:gd name="T71" fmla="*/ 48 h 148"/>
                  <a:gd name="T72" fmla="*/ 71 w 205"/>
                  <a:gd name="T73" fmla="*/ 35 h 148"/>
                  <a:gd name="T74" fmla="*/ 67 w 205"/>
                  <a:gd name="T75" fmla="*/ 27 h 148"/>
                  <a:gd name="T76" fmla="*/ 63 w 205"/>
                  <a:gd name="T77" fmla="*/ 31 h 148"/>
                  <a:gd name="T78" fmla="*/ 59 w 205"/>
                  <a:gd name="T79" fmla="*/ 39 h 148"/>
                  <a:gd name="T80" fmla="*/ 46 w 205"/>
                  <a:gd name="T81" fmla="*/ 37 h 148"/>
                  <a:gd name="T82" fmla="*/ 42 w 205"/>
                  <a:gd name="T83" fmla="*/ 45 h 148"/>
                  <a:gd name="T84" fmla="*/ 38 w 205"/>
                  <a:gd name="T85" fmla="*/ 45 h 148"/>
                  <a:gd name="T86" fmla="*/ 40 w 205"/>
                  <a:gd name="T87" fmla="*/ 33 h 148"/>
                  <a:gd name="T88" fmla="*/ 27 w 205"/>
                  <a:gd name="T89" fmla="*/ 27 h 148"/>
                  <a:gd name="T90" fmla="*/ 31 w 205"/>
                  <a:gd name="T91" fmla="*/ 4 h 148"/>
                  <a:gd name="T92" fmla="*/ 25 w 205"/>
                  <a:gd name="T93" fmla="*/ 0 h 148"/>
                  <a:gd name="T94" fmla="*/ 8 w 205"/>
                  <a:gd name="T95" fmla="*/ 6 h 148"/>
                  <a:gd name="T96" fmla="*/ 13 w 205"/>
                  <a:gd name="T97" fmla="*/ 69 h 148"/>
                  <a:gd name="T98" fmla="*/ 10 w 205"/>
                  <a:gd name="T99" fmla="*/ 60 h 148"/>
                  <a:gd name="T100" fmla="*/ 23 w 205"/>
                  <a:gd name="T101" fmla="*/ 52 h 148"/>
                  <a:gd name="T102" fmla="*/ 33 w 205"/>
                  <a:gd name="T103" fmla="*/ 50 h 148"/>
                  <a:gd name="T104" fmla="*/ 44 w 205"/>
                  <a:gd name="T105" fmla="*/ 69 h 148"/>
                  <a:gd name="T106" fmla="*/ 44 w 205"/>
                  <a:gd name="T107" fmla="*/ 81 h 148"/>
                  <a:gd name="T108" fmla="*/ 58 w 205"/>
                  <a:gd name="T109" fmla="*/ 77 h 148"/>
                  <a:gd name="T110" fmla="*/ 77 w 205"/>
                  <a:gd name="T111" fmla="*/ 83 h 148"/>
                  <a:gd name="T112" fmla="*/ 82 w 205"/>
                  <a:gd name="T113" fmla="*/ 98 h 148"/>
                  <a:gd name="T114" fmla="*/ 94 w 205"/>
                  <a:gd name="T115" fmla="*/ 112 h 148"/>
                  <a:gd name="T116" fmla="*/ 111 w 205"/>
                  <a:gd name="T117" fmla="*/ 119 h 148"/>
                  <a:gd name="T118" fmla="*/ 125 w 205"/>
                  <a:gd name="T119" fmla="*/ 127 h 148"/>
                  <a:gd name="T120" fmla="*/ 125 w 205"/>
                  <a:gd name="T121" fmla="*/ 133 h 148"/>
                  <a:gd name="T122" fmla="*/ 129 w 205"/>
                  <a:gd name="T123" fmla="*/ 144 h 148"/>
                  <a:gd name="T124" fmla="*/ 144 w 205"/>
                  <a:gd name="T12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5" h="148">
                    <a:moveTo>
                      <a:pt x="144" y="148"/>
                    </a:moveTo>
                    <a:lnTo>
                      <a:pt x="144" y="144"/>
                    </a:lnTo>
                    <a:lnTo>
                      <a:pt x="146" y="140"/>
                    </a:lnTo>
                    <a:lnTo>
                      <a:pt x="148" y="139"/>
                    </a:lnTo>
                    <a:lnTo>
                      <a:pt x="152" y="137"/>
                    </a:lnTo>
                    <a:lnTo>
                      <a:pt x="153" y="133"/>
                    </a:lnTo>
                    <a:lnTo>
                      <a:pt x="150" y="131"/>
                    </a:lnTo>
                    <a:lnTo>
                      <a:pt x="150" y="127"/>
                    </a:lnTo>
                    <a:lnTo>
                      <a:pt x="152" y="121"/>
                    </a:lnTo>
                    <a:lnTo>
                      <a:pt x="150" y="119"/>
                    </a:lnTo>
                    <a:lnTo>
                      <a:pt x="146" y="121"/>
                    </a:lnTo>
                    <a:lnTo>
                      <a:pt x="142" y="119"/>
                    </a:lnTo>
                    <a:lnTo>
                      <a:pt x="140" y="116"/>
                    </a:lnTo>
                    <a:lnTo>
                      <a:pt x="138" y="114"/>
                    </a:lnTo>
                    <a:lnTo>
                      <a:pt x="138" y="112"/>
                    </a:lnTo>
                    <a:lnTo>
                      <a:pt x="138" y="110"/>
                    </a:lnTo>
                    <a:lnTo>
                      <a:pt x="140" y="110"/>
                    </a:lnTo>
                    <a:lnTo>
                      <a:pt x="146" y="108"/>
                    </a:lnTo>
                    <a:lnTo>
                      <a:pt x="148" y="110"/>
                    </a:lnTo>
                    <a:lnTo>
                      <a:pt x="150" y="110"/>
                    </a:lnTo>
                    <a:lnTo>
                      <a:pt x="155" y="106"/>
                    </a:lnTo>
                    <a:lnTo>
                      <a:pt x="157" y="102"/>
                    </a:lnTo>
                    <a:lnTo>
                      <a:pt x="157" y="102"/>
                    </a:lnTo>
                    <a:lnTo>
                      <a:pt x="155" y="100"/>
                    </a:lnTo>
                    <a:lnTo>
                      <a:pt x="159" y="94"/>
                    </a:lnTo>
                    <a:lnTo>
                      <a:pt x="161" y="93"/>
                    </a:lnTo>
                    <a:lnTo>
                      <a:pt x="161" y="91"/>
                    </a:lnTo>
                    <a:lnTo>
                      <a:pt x="159" y="89"/>
                    </a:lnTo>
                    <a:lnTo>
                      <a:pt x="157" y="85"/>
                    </a:lnTo>
                    <a:lnTo>
                      <a:pt x="161" y="83"/>
                    </a:lnTo>
                    <a:lnTo>
                      <a:pt x="163" y="83"/>
                    </a:lnTo>
                    <a:lnTo>
                      <a:pt x="165" y="83"/>
                    </a:lnTo>
                    <a:lnTo>
                      <a:pt x="169" y="85"/>
                    </a:lnTo>
                    <a:lnTo>
                      <a:pt x="171" y="85"/>
                    </a:lnTo>
                    <a:lnTo>
                      <a:pt x="173" y="83"/>
                    </a:lnTo>
                    <a:lnTo>
                      <a:pt x="175" y="77"/>
                    </a:lnTo>
                    <a:lnTo>
                      <a:pt x="176" y="77"/>
                    </a:lnTo>
                    <a:lnTo>
                      <a:pt x="180" y="85"/>
                    </a:lnTo>
                    <a:lnTo>
                      <a:pt x="175" y="89"/>
                    </a:lnTo>
                    <a:lnTo>
                      <a:pt x="175" y="91"/>
                    </a:lnTo>
                    <a:lnTo>
                      <a:pt x="178" y="94"/>
                    </a:lnTo>
                    <a:lnTo>
                      <a:pt x="178" y="94"/>
                    </a:lnTo>
                    <a:lnTo>
                      <a:pt x="180" y="96"/>
                    </a:lnTo>
                    <a:lnTo>
                      <a:pt x="182" y="98"/>
                    </a:lnTo>
                    <a:lnTo>
                      <a:pt x="182" y="98"/>
                    </a:lnTo>
                    <a:lnTo>
                      <a:pt x="184" y="96"/>
                    </a:lnTo>
                    <a:lnTo>
                      <a:pt x="184" y="94"/>
                    </a:lnTo>
                    <a:lnTo>
                      <a:pt x="186" y="93"/>
                    </a:lnTo>
                    <a:lnTo>
                      <a:pt x="188" y="93"/>
                    </a:lnTo>
                    <a:lnTo>
                      <a:pt x="188" y="93"/>
                    </a:lnTo>
                    <a:lnTo>
                      <a:pt x="194" y="94"/>
                    </a:lnTo>
                    <a:lnTo>
                      <a:pt x="200" y="89"/>
                    </a:lnTo>
                    <a:lnTo>
                      <a:pt x="203" y="83"/>
                    </a:lnTo>
                    <a:lnTo>
                      <a:pt x="205" y="81"/>
                    </a:lnTo>
                    <a:lnTo>
                      <a:pt x="200" y="79"/>
                    </a:lnTo>
                    <a:lnTo>
                      <a:pt x="196" y="77"/>
                    </a:lnTo>
                    <a:lnTo>
                      <a:pt x="192" y="75"/>
                    </a:lnTo>
                    <a:lnTo>
                      <a:pt x="188" y="75"/>
                    </a:lnTo>
                    <a:lnTo>
                      <a:pt x="188" y="75"/>
                    </a:lnTo>
                    <a:lnTo>
                      <a:pt x="188" y="75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71"/>
                    </a:lnTo>
                    <a:lnTo>
                      <a:pt x="186" y="71"/>
                    </a:lnTo>
                    <a:lnTo>
                      <a:pt x="184" y="71"/>
                    </a:lnTo>
                    <a:lnTo>
                      <a:pt x="180" y="71"/>
                    </a:lnTo>
                    <a:lnTo>
                      <a:pt x="176" y="68"/>
                    </a:lnTo>
                    <a:lnTo>
                      <a:pt x="176" y="68"/>
                    </a:lnTo>
                    <a:lnTo>
                      <a:pt x="180" y="66"/>
                    </a:lnTo>
                    <a:lnTo>
                      <a:pt x="182" y="64"/>
                    </a:lnTo>
                    <a:lnTo>
                      <a:pt x="186" y="60"/>
                    </a:lnTo>
                    <a:lnTo>
                      <a:pt x="186" y="56"/>
                    </a:lnTo>
                    <a:lnTo>
                      <a:pt x="184" y="54"/>
                    </a:lnTo>
                    <a:lnTo>
                      <a:pt x="182" y="56"/>
                    </a:lnTo>
                    <a:lnTo>
                      <a:pt x="178" y="58"/>
                    </a:lnTo>
                    <a:lnTo>
                      <a:pt x="176" y="58"/>
                    </a:lnTo>
                    <a:lnTo>
                      <a:pt x="173" y="60"/>
                    </a:lnTo>
                    <a:lnTo>
                      <a:pt x="167" y="60"/>
                    </a:lnTo>
                    <a:lnTo>
                      <a:pt x="165" y="62"/>
                    </a:lnTo>
                    <a:lnTo>
                      <a:pt x="161" y="64"/>
                    </a:lnTo>
                    <a:lnTo>
                      <a:pt x="157" y="66"/>
                    </a:lnTo>
                    <a:lnTo>
                      <a:pt x="155" y="69"/>
                    </a:lnTo>
                    <a:lnTo>
                      <a:pt x="153" y="73"/>
                    </a:lnTo>
                    <a:lnTo>
                      <a:pt x="152" y="73"/>
                    </a:lnTo>
                    <a:lnTo>
                      <a:pt x="146" y="75"/>
                    </a:lnTo>
                    <a:lnTo>
                      <a:pt x="146" y="79"/>
                    </a:lnTo>
                    <a:lnTo>
                      <a:pt x="144" y="81"/>
                    </a:lnTo>
                    <a:lnTo>
                      <a:pt x="142" y="81"/>
                    </a:lnTo>
                    <a:lnTo>
                      <a:pt x="140" y="79"/>
                    </a:lnTo>
                    <a:lnTo>
                      <a:pt x="140" y="73"/>
                    </a:lnTo>
                    <a:lnTo>
                      <a:pt x="136" y="71"/>
                    </a:lnTo>
                    <a:lnTo>
                      <a:pt x="130" y="71"/>
                    </a:lnTo>
                    <a:lnTo>
                      <a:pt x="125" y="71"/>
                    </a:lnTo>
                    <a:lnTo>
                      <a:pt x="119" y="69"/>
                    </a:lnTo>
                    <a:lnTo>
                      <a:pt x="119" y="68"/>
                    </a:lnTo>
                    <a:lnTo>
                      <a:pt x="119" y="64"/>
                    </a:lnTo>
                    <a:lnTo>
                      <a:pt x="119" y="62"/>
                    </a:lnTo>
                    <a:lnTo>
                      <a:pt x="117" y="62"/>
                    </a:lnTo>
                    <a:lnTo>
                      <a:pt x="117" y="58"/>
                    </a:lnTo>
                    <a:lnTo>
                      <a:pt x="113" y="58"/>
                    </a:lnTo>
                    <a:lnTo>
                      <a:pt x="109" y="58"/>
                    </a:lnTo>
                    <a:lnTo>
                      <a:pt x="105" y="56"/>
                    </a:lnTo>
                    <a:lnTo>
                      <a:pt x="104" y="52"/>
                    </a:lnTo>
                    <a:lnTo>
                      <a:pt x="102" y="48"/>
                    </a:lnTo>
                    <a:lnTo>
                      <a:pt x="100" y="52"/>
                    </a:lnTo>
                    <a:lnTo>
                      <a:pt x="94" y="50"/>
                    </a:lnTo>
                    <a:lnTo>
                      <a:pt x="84" y="48"/>
                    </a:lnTo>
                    <a:lnTo>
                      <a:pt x="77" y="48"/>
                    </a:lnTo>
                    <a:lnTo>
                      <a:pt x="71" y="48"/>
                    </a:lnTo>
                    <a:lnTo>
                      <a:pt x="71" y="43"/>
                    </a:lnTo>
                    <a:lnTo>
                      <a:pt x="71" y="35"/>
                    </a:lnTo>
                    <a:lnTo>
                      <a:pt x="69" y="29"/>
                    </a:lnTo>
                    <a:lnTo>
                      <a:pt x="67" y="27"/>
                    </a:lnTo>
                    <a:lnTo>
                      <a:pt x="67" y="27"/>
                    </a:lnTo>
                    <a:lnTo>
                      <a:pt x="65" y="27"/>
                    </a:lnTo>
                    <a:lnTo>
                      <a:pt x="65" y="31"/>
                    </a:lnTo>
                    <a:lnTo>
                      <a:pt x="63" y="31"/>
                    </a:lnTo>
                    <a:lnTo>
                      <a:pt x="61" y="33"/>
                    </a:lnTo>
                    <a:lnTo>
                      <a:pt x="59" y="35"/>
                    </a:lnTo>
                    <a:lnTo>
                      <a:pt x="59" y="39"/>
                    </a:lnTo>
                    <a:lnTo>
                      <a:pt x="54" y="39"/>
                    </a:lnTo>
                    <a:lnTo>
                      <a:pt x="48" y="41"/>
                    </a:lnTo>
                    <a:lnTo>
                      <a:pt x="46" y="37"/>
                    </a:lnTo>
                    <a:lnTo>
                      <a:pt x="44" y="35"/>
                    </a:lnTo>
                    <a:lnTo>
                      <a:pt x="44" y="41"/>
                    </a:lnTo>
                    <a:lnTo>
                      <a:pt x="42" y="45"/>
                    </a:lnTo>
                    <a:lnTo>
                      <a:pt x="40" y="45"/>
                    </a:lnTo>
                    <a:lnTo>
                      <a:pt x="38" y="45"/>
                    </a:lnTo>
                    <a:lnTo>
                      <a:pt x="38" y="45"/>
                    </a:lnTo>
                    <a:lnTo>
                      <a:pt x="38" y="43"/>
                    </a:lnTo>
                    <a:lnTo>
                      <a:pt x="38" y="37"/>
                    </a:lnTo>
                    <a:lnTo>
                      <a:pt x="40" y="33"/>
                    </a:lnTo>
                    <a:lnTo>
                      <a:pt x="33" y="35"/>
                    </a:lnTo>
                    <a:lnTo>
                      <a:pt x="27" y="37"/>
                    </a:lnTo>
                    <a:lnTo>
                      <a:pt x="27" y="27"/>
                    </a:lnTo>
                    <a:lnTo>
                      <a:pt x="27" y="20"/>
                    </a:lnTo>
                    <a:lnTo>
                      <a:pt x="27" y="12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27" y="2"/>
                    </a:lnTo>
                    <a:lnTo>
                      <a:pt x="25" y="0"/>
                    </a:lnTo>
                    <a:lnTo>
                      <a:pt x="19" y="2"/>
                    </a:lnTo>
                    <a:lnTo>
                      <a:pt x="15" y="2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68"/>
                    </a:lnTo>
                    <a:lnTo>
                      <a:pt x="13" y="69"/>
                    </a:lnTo>
                    <a:lnTo>
                      <a:pt x="13" y="66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3" y="56"/>
                    </a:lnTo>
                    <a:lnTo>
                      <a:pt x="19" y="58"/>
                    </a:lnTo>
                    <a:lnTo>
                      <a:pt x="23" y="52"/>
                    </a:lnTo>
                    <a:lnTo>
                      <a:pt x="27" y="48"/>
                    </a:lnTo>
                    <a:lnTo>
                      <a:pt x="29" y="50"/>
                    </a:lnTo>
                    <a:lnTo>
                      <a:pt x="33" y="50"/>
                    </a:lnTo>
                    <a:lnTo>
                      <a:pt x="34" y="58"/>
                    </a:lnTo>
                    <a:lnTo>
                      <a:pt x="36" y="66"/>
                    </a:lnTo>
                    <a:lnTo>
                      <a:pt x="44" y="69"/>
                    </a:lnTo>
                    <a:lnTo>
                      <a:pt x="44" y="75"/>
                    </a:lnTo>
                    <a:lnTo>
                      <a:pt x="42" y="79"/>
                    </a:lnTo>
                    <a:lnTo>
                      <a:pt x="44" y="81"/>
                    </a:lnTo>
                    <a:lnTo>
                      <a:pt x="50" y="83"/>
                    </a:lnTo>
                    <a:lnTo>
                      <a:pt x="56" y="79"/>
                    </a:lnTo>
                    <a:lnTo>
                      <a:pt x="58" y="77"/>
                    </a:lnTo>
                    <a:lnTo>
                      <a:pt x="65" y="77"/>
                    </a:lnTo>
                    <a:lnTo>
                      <a:pt x="71" y="77"/>
                    </a:lnTo>
                    <a:lnTo>
                      <a:pt x="77" y="83"/>
                    </a:lnTo>
                    <a:lnTo>
                      <a:pt x="75" y="91"/>
                    </a:lnTo>
                    <a:lnTo>
                      <a:pt x="81" y="94"/>
                    </a:lnTo>
                    <a:lnTo>
                      <a:pt x="82" y="98"/>
                    </a:lnTo>
                    <a:lnTo>
                      <a:pt x="86" y="104"/>
                    </a:lnTo>
                    <a:lnTo>
                      <a:pt x="90" y="108"/>
                    </a:lnTo>
                    <a:lnTo>
                      <a:pt x="94" y="112"/>
                    </a:lnTo>
                    <a:lnTo>
                      <a:pt x="100" y="117"/>
                    </a:lnTo>
                    <a:lnTo>
                      <a:pt x="104" y="121"/>
                    </a:lnTo>
                    <a:lnTo>
                      <a:pt x="111" y="119"/>
                    </a:lnTo>
                    <a:lnTo>
                      <a:pt x="115" y="123"/>
                    </a:lnTo>
                    <a:lnTo>
                      <a:pt x="121" y="123"/>
                    </a:lnTo>
                    <a:lnTo>
                      <a:pt x="125" y="127"/>
                    </a:lnTo>
                    <a:lnTo>
                      <a:pt x="130" y="127"/>
                    </a:lnTo>
                    <a:lnTo>
                      <a:pt x="132" y="129"/>
                    </a:lnTo>
                    <a:lnTo>
                      <a:pt x="125" y="133"/>
                    </a:lnTo>
                    <a:lnTo>
                      <a:pt x="125" y="137"/>
                    </a:lnTo>
                    <a:lnTo>
                      <a:pt x="125" y="142"/>
                    </a:lnTo>
                    <a:lnTo>
                      <a:pt x="129" y="144"/>
                    </a:lnTo>
                    <a:lnTo>
                      <a:pt x="134" y="148"/>
                    </a:lnTo>
                    <a:lnTo>
                      <a:pt x="140" y="148"/>
                    </a:lnTo>
                    <a:lnTo>
                      <a:pt x="144" y="14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6" name="Freeform 24"/>
              <p:cNvSpPr>
                <a:spLocks noEditPoints="1"/>
              </p:cNvSpPr>
              <p:nvPr/>
            </p:nvSpPr>
            <p:spPr bwMode="gray">
              <a:xfrm>
                <a:off x="1871857" y="3165476"/>
                <a:ext cx="1133349" cy="658813"/>
              </a:xfrm>
              <a:custGeom>
                <a:avLst/>
                <a:gdLst>
                  <a:gd name="T0" fmla="*/ 602 w 714"/>
                  <a:gd name="T1" fmla="*/ 177 h 415"/>
                  <a:gd name="T2" fmla="*/ 410 w 714"/>
                  <a:gd name="T3" fmla="*/ 336 h 415"/>
                  <a:gd name="T4" fmla="*/ 650 w 714"/>
                  <a:gd name="T5" fmla="*/ 158 h 415"/>
                  <a:gd name="T6" fmla="*/ 159 w 714"/>
                  <a:gd name="T7" fmla="*/ 146 h 415"/>
                  <a:gd name="T8" fmla="*/ 151 w 714"/>
                  <a:gd name="T9" fmla="*/ 135 h 415"/>
                  <a:gd name="T10" fmla="*/ 637 w 714"/>
                  <a:gd name="T11" fmla="*/ 83 h 415"/>
                  <a:gd name="T12" fmla="*/ 23 w 714"/>
                  <a:gd name="T13" fmla="*/ 41 h 415"/>
                  <a:gd name="T14" fmla="*/ 28 w 714"/>
                  <a:gd name="T15" fmla="*/ 24 h 415"/>
                  <a:gd name="T16" fmla="*/ 704 w 714"/>
                  <a:gd name="T17" fmla="*/ 66 h 415"/>
                  <a:gd name="T18" fmla="*/ 683 w 714"/>
                  <a:gd name="T19" fmla="*/ 39 h 415"/>
                  <a:gd name="T20" fmla="*/ 621 w 714"/>
                  <a:gd name="T21" fmla="*/ 75 h 415"/>
                  <a:gd name="T22" fmla="*/ 589 w 714"/>
                  <a:gd name="T23" fmla="*/ 108 h 415"/>
                  <a:gd name="T24" fmla="*/ 525 w 714"/>
                  <a:gd name="T25" fmla="*/ 142 h 415"/>
                  <a:gd name="T26" fmla="*/ 514 w 714"/>
                  <a:gd name="T27" fmla="*/ 127 h 415"/>
                  <a:gd name="T28" fmla="*/ 522 w 714"/>
                  <a:gd name="T29" fmla="*/ 114 h 415"/>
                  <a:gd name="T30" fmla="*/ 504 w 714"/>
                  <a:gd name="T31" fmla="*/ 70 h 415"/>
                  <a:gd name="T32" fmla="*/ 479 w 714"/>
                  <a:gd name="T33" fmla="*/ 79 h 415"/>
                  <a:gd name="T34" fmla="*/ 458 w 714"/>
                  <a:gd name="T35" fmla="*/ 137 h 415"/>
                  <a:gd name="T36" fmla="*/ 456 w 714"/>
                  <a:gd name="T37" fmla="*/ 81 h 415"/>
                  <a:gd name="T38" fmla="*/ 481 w 714"/>
                  <a:gd name="T39" fmla="*/ 58 h 415"/>
                  <a:gd name="T40" fmla="*/ 499 w 714"/>
                  <a:gd name="T41" fmla="*/ 58 h 415"/>
                  <a:gd name="T42" fmla="*/ 449 w 714"/>
                  <a:gd name="T43" fmla="*/ 43 h 415"/>
                  <a:gd name="T44" fmla="*/ 439 w 714"/>
                  <a:gd name="T45" fmla="*/ 39 h 415"/>
                  <a:gd name="T46" fmla="*/ 433 w 714"/>
                  <a:gd name="T47" fmla="*/ 24 h 415"/>
                  <a:gd name="T48" fmla="*/ 403 w 714"/>
                  <a:gd name="T49" fmla="*/ 16 h 415"/>
                  <a:gd name="T50" fmla="*/ 368 w 714"/>
                  <a:gd name="T51" fmla="*/ 0 h 415"/>
                  <a:gd name="T52" fmla="*/ 0 w 714"/>
                  <a:gd name="T53" fmla="*/ 18 h 415"/>
                  <a:gd name="T54" fmla="*/ 5 w 714"/>
                  <a:gd name="T55" fmla="*/ 108 h 415"/>
                  <a:gd name="T56" fmla="*/ 13 w 714"/>
                  <a:gd name="T57" fmla="*/ 171 h 415"/>
                  <a:gd name="T58" fmla="*/ 30 w 714"/>
                  <a:gd name="T59" fmla="*/ 215 h 415"/>
                  <a:gd name="T60" fmla="*/ 53 w 714"/>
                  <a:gd name="T61" fmla="*/ 267 h 415"/>
                  <a:gd name="T62" fmla="*/ 84 w 714"/>
                  <a:gd name="T63" fmla="*/ 285 h 415"/>
                  <a:gd name="T64" fmla="*/ 222 w 714"/>
                  <a:gd name="T65" fmla="*/ 308 h 415"/>
                  <a:gd name="T66" fmla="*/ 245 w 714"/>
                  <a:gd name="T67" fmla="*/ 340 h 415"/>
                  <a:gd name="T68" fmla="*/ 284 w 714"/>
                  <a:gd name="T69" fmla="*/ 342 h 415"/>
                  <a:gd name="T70" fmla="*/ 309 w 714"/>
                  <a:gd name="T71" fmla="*/ 386 h 415"/>
                  <a:gd name="T72" fmla="*/ 330 w 714"/>
                  <a:gd name="T73" fmla="*/ 394 h 415"/>
                  <a:gd name="T74" fmla="*/ 353 w 714"/>
                  <a:gd name="T75" fmla="*/ 359 h 415"/>
                  <a:gd name="T76" fmla="*/ 410 w 714"/>
                  <a:gd name="T77" fmla="*/ 350 h 415"/>
                  <a:gd name="T78" fmla="*/ 439 w 714"/>
                  <a:gd name="T79" fmla="*/ 348 h 415"/>
                  <a:gd name="T80" fmla="*/ 431 w 714"/>
                  <a:gd name="T81" fmla="*/ 334 h 415"/>
                  <a:gd name="T82" fmla="*/ 456 w 714"/>
                  <a:gd name="T83" fmla="*/ 331 h 415"/>
                  <a:gd name="T84" fmla="*/ 485 w 714"/>
                  <a:gd name="T85" fmla="*/ 334 h 415"/>
                  <a:gd name="T86" fmla="*/ 510 w 714"/>
                  <a:gd name="T87" fmla="*/ 346 h 415"/>
                  <a:gd name="T88" fmla="*/ 527 w 714"/>
                  <a:gd name="T89" fmla="*/ 394 h 415"/>
                  <a:gd name="T90" fmla="*/ 545 w 714"/>
                  <a:gd name="T91" fmla="*/ 373 h 415"/>
                  <a:gd name="T92" fmla="*/ 531 w 714"/>
                  <a:gd name="T93" fmla="*/ 327 h 415"/>
                  <a:gd name="T94" fmla="*/ 541 w 714"/>
                  <a:gd name="T95" fmla="*/ 298 h 415"/>
                  <a:gd name="T96" fmla="*/ 577 w 714"/>
                  <a:gd name="T97" fmla="*/ 275 h 415"/>
                  <a:gd name="T98" fmla="*/ 595 w 714"/>
                  <a:gd name="T99" fmla="*/ 246 h 415"/>
                  <a:gd name="T100" fmla="*/ 600 w 714"/>
                  <a:gd name="T101" fmla="*/ 227 h 415"/>
                  <a:gd name="T102" fmla="*/ 593 w 714"/>
                  <a:gd name="T103" fmla="*/ 206 h 415"/>
                  <a:gd name="T104" fmla="*/ 600 w 714"/>
                  <a:gd name="T105" fmla="*/ 175 h 415"/>
                  <a:gd name="T106" fmla="*/ 606 w 714"/>
                  <a:gd name="T107" fmla="*/ 206 h 415"/>
                  <a:gd name="T108" fmla="*/ 625 w 714"/>
                  <a:gd name="T109" fmla="*/ 171 h 415"/>
                  <a:gd name="T110" fmla="*/ 652 w 714"/>
                  <a:gd name="T111" fmla="*/ 141 h 415"/>
                  <a:gd name="T112" fmla="*/ 667 w 714"/>
                  <a:gd name="T113" fmla="*/ 131 h 415"/>
                  <a:gd name="T114" fmla="*/ 687 w 714"/>
                  <a:gd name="T115" fmla="*/ 100 h 415"/>
                  <a:gd name="T116" fmla="*/ 710 w 714"/>
                  <a:gd name="T117" fmla="*/ 77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4" h="415">
                    <a:moveTo>
                      <a:pt x="606" y="208"/>
                    </a:moveTo>
                    <a:lnTo>
                      <a:pt x="608" y="212"/>
                    </a:lnTo>
                    <a:lnTo>
                      <a:pt x="608" y="208"/>
                    </a:lnTo>
                    <a:lnTo>
                      <a:pt x="606" y="208"/>
                    </a:lnTo>
                    <a:close/>
                    <a:moveTo>
                      <a:pt x="604" y="173"/>
                    </a:moveTo>
                    <a:lnTo>
                      <a:pt x="606" y="173"/>
                    </a:lnTo>
                    <a:lnTo>
                      <a:pt x="606" y="175"/>
                    </a:lnTo>
                    <a:lnTo>
                      <a:pt x="604" y="177"/>
                    </a:lnTo>
                    <a:lnTo>
                      <a:pt x="604" y="177"/>
                    </a:lnTo>
                    <a:lnTo>
                      <a:pt x="602" y="177"/>
                    </a:lnTo>
                    <a:lnTo>
                      <a:pt x="602" y="175"/>
                    </a:lnTo>
                    <a:lnTo>
                      <a:pt x="602" y="173"/>
                    </a:lnTo>
                    <a:lnTo>
                      <a:pt x="604" y="173"/>
                    </a:lnTo>
                    <a:close/>
                    <a:moveTo>
                      <a:pt x="424" y="346"/>
                    </a:moveTo>
                    <a:lnTo>
                      <a:pt x="426" y="352"/>
                    </a:lnTo>
                    <a:lnTo>
                      <a:pt x="428" y="352"/>
                    </a:lnTo>
                    <a:lnTo>
                      <a:pt x="429" y="350"/>
                    </a:lnTo>
                    <a:lnTo>
                      <a:pt x="428" y="348"/>
                    </a:lnTo>
                    <a:lnTo>
                      <a:pt x="424" y="346"/>
                    </a:lnTo>
                    <a:close/>
                    <a:moveTo>
                      <a:pt x="410" y="336"/>
                    </a:moveTo>
                    <a:lnTo>
                      <a:pt x="410" y="338"/>
                    </a:lnTo>
                    <a:lnTo>
                      <a:pt x="408" y="340"/>
                    </a:lnTo>
                    <a:lnTo>
                      <a:pt x="408" y="336"/>
                    </a:lnTo>
                    <a:lnTo>
                      <a:pt x="410" y="336"/>
                    </a:lnTo>
                    <a:close/>
                    <a:moveTo>
                      <a:pt x="641" y="150"/>
                    </a:moveTo>
                    <a:lnTo>
                      <a:pt x="637" y="154"/>
                    </a:lnTo>
                    <a:lnTo>
                      <a:pt x="633" y="154"/>
                    </a:lnTo>
                    <a:lnTo>
                      <a:pt x="631" y="154"/>
                    </a:lnTo>
                    <a:lnTo>
                      <a:pt x="637" y="158"/>
                    </a:lnTo>
                    <a:lnTo>
                      <a:pt x="650" y="158"/>
                    </a:lnTo>
                    <a:lnTo>
                      <a:pt x="650" y="156"/>
                    </a:lnTo>
                    <a:lnTo>
                      <a:pt x="652" y="152"/>
                    </a:lnTo>
                    <a:lnTo>
                      <a:pt x="648" y="150"/>
                    </a:lnTo>
                    <a:lnTo>
                      <a:pt x="641" y="150"/>
                    </a:lnTo>
                    <a:close/>
                    <a:moveTo>
                      <a:pt x="151" y="135"/>
                    </a:moveTo>
                    <a:lnTo>
                      <a:pt x="151" y="141"/>
                    </a:lnTo>
                    <a:lnTo>
                      <a:pt x="155" y="141"/>
                    </a:lnTo>
                    <a:lnTo>
                      <a:pt x="157" y="141"/>
                    </a:lnTo>
                    <a:lnTo>
                      <a:pt x="157" y="141"/>
                    </a:lnTo>
                    <a:lnTo>
                      <a:pt x="159" y="146"/>
                    </a:lnTo>
                    <a:lnTo>
                      <a:pt x="159" y="148"/>
                    </a:lnTo>
                    <a:lnTo>
                      <a:pt x="159" y="148"/>
                    </a:lnTo>
                    <a:lnTo>
                      <a:pt x="157" y="150"/>
                    </a:lnTo>
                    <a:lnTo>
                      <a:pt x="157" y="152"/>
                    </a:lnTo>
                    <a:lnTo>
                      <a:pt x="153" y="148"/>
                    </a:lnTo>
                    <a:lnTo>
                      <a:pt x="149" y="142"/>
                    </a:lnTo>
                    <a:lnTo>
                      <a:pt x="147" y="141"/>
                    </a:lnTo>
                    <a:lnTo>
                      <a:pt x="145" y="137"/>
                    </a:lnTo>
                    <a:lnTo>
                      <a:pt x="147" y="135"/>
                    </a:lnTo>
                    <a:lnTo>
                      <a:pt x="151" y="135"/>
                    </a:lnTo>
                    <a:close/>
                    <a:moveTo>
                      <a:pt x="677" y="133"/>
                    </a:moveTo>
                    <a:lnTo>
                      <a:pt x="675" y="135"/>
                    </a:lnTo>
                    <a:lnTo>
                      <a:pt x="677" y="137"/>
                    </a:lnTo>
                    <a:lnTo>
                      <a:pt x="677" y="135"/>
                    </a:lnTo>
                    <a:lnTo>
                      <a:pt x="677" y="133"/>
                    </a:lnTo>
                    <a:close/>
                    <a:moveTo>
                      <a:pt x="637" y="83"/>
                    </a:moveTo>
                    <a:lnTo>
                      <a:pt x="637" y="87"/>
                    </a:lnTo>
                    <a:lnTo>
                      <a:pt x="635" y="89"/>
                    </a:lnTo>
                    <a:lnTo>
                      <a:pt x="635" y="85"/>
                    </a:lnTo>
                    <a:lnTo>
                      <a:pt x="637" y="83"/>
                    </a:lnTo>
                    <a:close/>
                    <a:moveTo>
                      <a:pt x="472" y="64"/>
                    </a:moveTo>
                    <a:lnTo>
                      <a:pt x="474" y="68"/>
                    </a:lnTo>
                    <a:lnTo>
                      <a:pt x="474" y="64"/>
                    </a:lnTo>
                    <a:lnTo>
                      <a:pt x="472" y="64"/>
                    </a:lnTo>
                    <a:close/>
                    <a:moveTo>
                      <a:pt x="28" y="37"/>
                    </a:moveTo>
                    <a:lnTo>
                      <a:pt x="30" y="37"/>
                    </a:lnTo>
                    <a:lnTo>
                      <a:pt x="30" y="39"/>
                    </a:lnTo>
                    <a:lnTo>
                      <a:pt x="26" y="39"/>
                    </a:lnTo>
                    <a:lnTo>
                      <a:pt x="23" y="41"/>
                    </a:lnTo>
                    <a:lnTo>
                      <a:pt x="23" y="41"/>
                    </a:lnTo>
                    <a:lnTo>
                      <a:pt x="21" y="41"/>
                    </a:lnTo>
                    <a:lnTo>
                      <a:pt x="23" y="41"/>
                    </a:lnTo>
                    <a:lnTo>
                      <a:pt x="25" y="39"/>
                    </a:lnTo>
                    <a:lnTo>
                      <a:pt x="25" y="37"/>
                    </a:lnTo>
                    <a:lnTo>
                      <a:pt x="28" y="37"/>
                    </a:lnTo>
                    <a:close/>
                    <a:moveTo>
                      <a:pt x="32" y="20"/>
                    </a:moveTo>
                    <a:lnTo>
                      <a:pt x="30" y="24"/>
                    </a:lnTo>
                    <a:lnTo>
                      <a:pt x="30" y="31"/>
                    </a:lnTo>
                    <a:lnTo>
                      <a:pt x="28" y="27"/>
                    </a:lnTo>
                    <a:lnTo>
                      <a:pt x="28" y="24"/>
                    </a:lnTo>
                    <a:lnTo>
                      <a:pt x="28" y="22"/>
                    </a:lnTo>
                    <a:lnTo>
                      <a:pt x="32" y="20"/>
                    </a:lnTo>
                    <a:close/>
                    <a:moveTo>
                      <a:pt x="712" y="79"/>
                    </a:moveTo>
                    <a:lnTo>
                      <a:pt x="712" y="77"/>
                    </a:lnTo>
                    <a:lnTo>
                      <a:pt x="712" y="75"/>
                    </a:lnTo>
                    <a:lnTo>
                      <a:pt x="710" y="75"/>
                    </a:lnTo>
                    <a:lnTo>
                      <a:pt x="708" y="71"/>
                    </a:lnTo>
                    <a:lnTo>
                      <a:pt x="708" y="68"/>
                    </a:lnTo>
                    <a:lnTo>
                      <a:pt x="706" y="66"/>
                    </a:lnTo>
                    <a:lnTo>
                      <a:pt x="704" y="66"/>
                    </a:lnTo>
                    <a:lnTo>
                      <a:pt x="702" y="60"/>
                    </a:lnTo>
                    <a:lnTo>
                      <a:pt x="704" y="48"/>
                    </a:lnTo>
                    <a:lnTo>
                      <a:pt x="704" y="45"/>
                    </a:lnTo>
                    <a:lnTo>
                      <a:pt x="702" y="41"/>
                    </a:lnTo>
                    <a:lnTo>
                      <a:pt x="698" y="39"/>
                    </a:lnTo>
                    <a:lnTo>
                      <a:pt x="694" y="39"/>
                    </a:lnTo>
                    <a:lnTo>
                      <a:pt x="691" y="41"/>
                    </a:lnTo>
                    <a:lnTo>
                      <a:pt x="689" y="41"/>
                    </a:lnTo>
                    <a:lnTo>
                      <a:pt x="685" y="37"/>
                    </a:lnTo>
                    <a:lnTo>
                      <a:pt x="683" y="39"/>
                    </a:lnTo>
                    <a:lnTo>
                      <a:pt x="679" y="47"/>
                    </a:lnTo>
                    <a:lnTo>
                      <a:pt x="677" y="50"/>
                    </a:lnTo>
                    <a:lnTo>
                      <a:pt x="677" y="56"/>
                    </a:lnTo>
                    <a:lnTo>
                      <a:pt x="671" y="62"/>
                    </a:lnTo>
                    <a:lnTo>
                      <a:pt x="666" y="68"/>
                    </a:lnTo>
                    <a:lnTo>
                      <a:pt x="662" y="70"/>
                    </a:lnTo>
                    <a:lnTo>
                      <a:pt x="662" y="71"/>
                    </a:lnTo>
                    <a:lnTo>
                      <a:pt x="644" y="75"/>
                    </a:lnTo>
                    <a:lnTo>
                      <a:pt x="625" y="77"/>
                    </a:lnTo>
                    <a:lnTo>
                      <a:pt x="621" y="75"/>
                    </a:lnTo>
                    <a:lnTo>
                      <a:pt x="612" y="79"/>
                    </a:lnTo>
                    <a:lnTo>
                      <a:pt x="602" y="87"/>
                    </a:lnTo>
                    <a:lnTo>
                      <a:pt x="600" y="89"/>
                    </a:lnTo>
                    <a:lnTo>
                      <a:pt x="598" y="93"/>
                    </a:lnTo>
                    <a:lnTo>
                      <a:pt x="600" y="91"/>
                    </a:lnTo>
                    <a:lnTo>
                      <a:pt x="604" y="89"/>
                    </a:lnTo>
                    <a:lnTo>
                      <a:pt x="600" y="96"/>
                    </a:lnTo>
                    <a:lnTo>
                      <a:pt x="598" y="102"/>
                    </a:lnTo>
                    <a:lnTo>
                      <a:pt x="595" y="106"/>
                    </a:lnTo>
                    <a:lnTo>
                      <a:pt x="589" y="108"/>
                    </a:lnTo>
                    <a:lnTo>
                      <a:pt x="577" y="110"/>
                    </a:lnTo>
                    <a:lnTo>
                      <a:pt x="562" y="110"/>
                    </a:lnTo>
                    <a:lnTo>
                      <a:pt x="562" y="114"/>
                    </a:lnTo>
                    <a:lnTo>
                      <a:pt x="564" y="118"/>
                    </a:lnTo>
                    <a:lnTo>
                      <a:pt x="554" y="127"/>
                    </a:lnTo>
                    <a:lnTo>
                      <a:pt x="543" y="133"/>
                    </a:lnTo>
                    <a:lnTo>
                      <a:pt x="537" y="133"/>
                    </a:lnTo>
                    <a:lnTo>
                      <a:pt x="533" y="133"/>
                    </a:lnTo>
                    <a:lnTo>
                      <a:pt x="533" y="137"/>
                    </a:lnTo>
                    <a:lnTo>
                      <a:pt x="525" y="142"/>
                    </a:lnTo>
                    <a:lnTo>
                      <a:pt x="516" y="144"/>
                    </a:lnTo>
                    <a:lnTo>
                      <a:pt x="514" y="141"/>
                    </a:lnTo>
                    <a:lnTo>
                      <a:pt x="516" y="139"/>
                    </a:lnTo>
                    <a:lnTo>
                      <a:pt x="514" y="137"/>
                    </a:lnTo>
                    <a:lnTo>
                      <a:pt x="510" y="137"/>
                    </a:lnTo>
                    <a:lnTo>
                      <a:pt x="506" y="137"/>
                    </a:lnTo>
                    <a:lnTo>
                      <a:pt x="508" y="133"/>
                    </a:lnTo>
                    <a:lnTo>
                      <a:pt x="512" y="129"/>
                    </a:lnTo>
                    <a:lnTo>
                      <a:pt x="514" y="127"/>
                    </a:lnTo>
                    <a:lnTo>
                      <a:pt x="514" y="127"/>
                    </a:lnTo>
                    <a:lnTo>
                      <a:pt x="514" y="125"/>
                    </a:lnTo>
                    <a:lnTo>
                      <a:pt x="516" y="125"/>
                    </a:lnTo>
                    <a:lnTo>
                      <a:pt x="516" y="121"/>
                    </a:lnTo>
                    <a:lnTo>
                      <a:pt x="520" y="118"/>
                    </a:lnTo>
                    <a:lnTo>
                      <a:pt x="518" y="119"/>
                    </a:lnTo>
                    <a:lnTo>
                      <a:pt x="518" y="123"/>
                    </a:lnTo>
                    <a:lnTo>
                      <a:pt x="520" y="121"/>
                    </a:lnTo>
                    <a:lnTo>
                      <a:pt x="520" y="119"/>
                    </a:lnTo>
                    <a:lnTo>
                      <a:pt x="520" y="116"/>
                    </a:lnTo>
                    <a:lnTo>
                      <a:pt x="522" y="114"/>
                    </a:lnTo>
                    <a:lnTo>
                      <a:pt x="518" y="104"/>
                    </a:lnTo>
                    <a:lnTo>
                      <a:pt x="516" y="96"/>
                    </a:lnTo>
                    <a:lnTo>
                      <a:pt x="512" y="96"/>
                    </a:lnTo>
                    <a:lnTo>
                      <a:pt x="510" y="96"/>
                    </a:lnTo>
                    <a:lnTo>
                      <a:pt x="508" y="98"/>
                    </a:lnTo>
                    <a:lnTo>
                      <a:pt x="504" y="102"/>
                    </a:lnTo>
                    <a:lnTo>
                      <a:pt x="506" y="93"/>
                    </a:lnTo>
                    <a:lnTo>
                      <a:pt x="508" y="85"/>
                    </a:lnTo>
                    <a:lnTo>
                      <a:pt x="506" y="79"/>
                    </a:lnTo>
                    <a:lnTo>
                      <a:pt x="504" y="70"/>
                    </a:lnTo>
                    <a:lnTo>
                      <a:pt x="501" y="70"/>
                    </a:lnTo>
                    <a:lnTo>
                      <a:pt x="497" y="70"/>
                    </a:lnTo>
                    <a:lnTo>
                      <a:pt x="495" y="68"/>
                    </a:lnTo>
                    <a:lnTo>
                      <a:pt x="493" y="64"/>
                    </a:lnTo>
                    <a:lnTo>
                      <a:pt x="489" y="70"/>
                    </a:lnTo>
                    <a:lnTo>
                      <a:pt x="485" y="73"/>
                    </a:lnTo>
                    <a:lnTo>
                      <a:pt x="483" y="73"/>
                    </a:lnTo>
                    <a:lnTo>
                      <a:pt x="483" y="77"/>
                    </a:lnTo>
                    <a:lnTo>
                      <a:pt x="483" y="79"/>
                    </a:lnTo>
                    <a:lnTo>
                      <a:pt x="479" y="79"/>
                    </a:lnTo>
                    <a:lnTo>
                      <a:pt x="476" y="79"/>
                    </a:lnTo>
                    <a:lnTo>
                      <a:pt x="474" y="85"/>
                    </a:lnTo>
                    <a:lnTo>
                      <a:pt x="476" y="93"/>
                    </a:lnTo>
                    <a:lnTo>
                      <a:pt x="472" y="93"/>
                    </a:lnTo>
                    <a:lnTo>
                      <a:pt x="474" y="108"/>
                    </a:lnTo>
                    <a:lnTo>
                      <a:pt x="474" y="121"/>
                    </a:lnTo>
                    <a:lnTo>
                      <a:pt x="468" y="129"/>
                    </a:lnTo>
                    <a:lnTo>
                      <a:pt x="464" y="137"/>
                    </a:lnTo>
                    <a:lnTo>
                      <a:pt x="460" y="137"/>
                    </a:lnTo>
                    <a:lnTo>
                      <a:pt x="458" y="137"/>
                    </a:lnTo>
                    <a:lnTo>
                      <a:pt x="454" y="125"/>
                    </a:lnTo>
                    <a:lnTo>
                      <a:pt x="453" y="114"/>
                    </a:lnTo>
                    <a:lnTo>
                      <a:pt x="453" y="102"/>
                    </a:lnTo>
                    <a:lnTo>
                      <a:pt x="456" y="91"/>
                    </a:lnTo>
                    <a:lnTo>
                      <a:pt x="460" y="91"/>
                    </a:lnTo>
                    <a:lnTo>
                      <a:pt x="460" y="87"/>
                    </a:lnTo>
                    <a:lnTo>
                      <a:pt x="462" y="85"/>
                    </a:lnTo>
                    <a:lnTo>
                      <a:pt x="462" y="77"/>
                    </a:lnTo>
                    <a:lnTo>
                      <a:pt x="458" y="79"/>
                    </a:lnTo>
                    <a:lnTo>
                      <a:pt x="456" y="81"/>
                    </a:lnTo>
                    <a:lnTo>
                      <a:pt x="456" y="83"/>
                    </a:lnTo>
                    <a:lnTo>
                      <a:pt x="456" y="87"/>
                    </a:lnTo>
                    <a:lnTo>
                      <a:pt x="453" y="87"/>
                    </a:lnTo>
                    <a:lnTo>
                      <a:pt x="451" y="87"/>
                    </a:lnTo>
                    <a:lnTo>
                      <a:pt x="456" y="75"/>
                    </a:lnTo>
                    <a:lnTo>
                      <a:pt x="464" y="64"/>
                    </a:lnTo>
                    <a:lnTo>
                      <a:pt x="470" y="64"/>
                    </a:lnTo>
                    <a:lnTo>
                      <a:pt x="479" y="62"/>
                    </a:lnTo>
                    <a:lnTo>
                      <a:pt x="479" y="60"/>
                    </a:lnTo>
                    <a:lnTo>
                      <a:pt x="481" y="58"/>
                    </a:lnTo>
                    <a:lnTo>
                      <a:pt x="485" y="58"/>
                    </a:lnTo>
                    <a:lnTo>
                      <a:pt x="489" y="60"/>
                    </a:lnTo>
                    <a:lnTo>
                      <a:pt x="491" y="60"/>
                    </a:lnTo>
                    <a:lnTo>
                      <a:pt x="495" y="62"/>
                    </a:lnTo>
                    <a:lnTo>
                      <a:pt x="495" y="58"/>
                    </a:lnTo>
                    <a:lnTo>
                      <a:pt x="497" y="58"/>
                    </a:lnTo>
                    <a:lnTo>
                      <a:pt x="499" y="62"/>
                    </a:lnTo>
                    <a:lnTo>
                      <a:pt x="501" y="62"/>
                    </a:lnTo>
                    <a:lnTo>
                      <a:pt x="502" y="60"/>
                    </a:lnTo>
                    <a:lnTo>
                      <a:pt x="499" y="58"/>
                    </a:lnTo>
                    <a:lnTo>
                      <a:pt x="499" y="54"/>
                    </a:lnTo>
                    <a:lnTo>
                      <a:pt x="493" y="54"/>
                    </a:lnTo>
                    <a:lnTo>
                      <a:pt x="489" y="54"/>
                    </a:lnTo>
                    <a:lnTo>
                      <a:pt x="489" y="48"/>
                    </a:lnTo>
                    <a:lnTo>
                      <a:pt x="489" y="45"/>
                    </a:lnTo>
                    <a:lnTo>
                      <a:pt x="477" y="48"/>
                    </a:lnTo>
                    <a:lnTo>
                      <a:pt x="464" y="52"/>
                    </a:lnTo>
                    <a:lnTo>
                      <a:pt x="458" y="47"/>
                    </a:lnTo>
                    <a:lnTo>
                      <a:pt x="456" y="43"/>
                    </a:lnTo>
                    <a:lnTo>
                      <a:pt x="449" y="43"/>
                    </a:lnTo>
                    <a:lnTo>
                      <a:pt x="445" y="45"/>
                    </a:lnTo>
                    <a:lnTo>
                      <a:pt x="445" y="43"/>
                    </a:lnTo>
                    <a:lnTo>
                      <a:pt x="443" y="41"/>
                    </a:lnTo>
                    <a:lnTo>
                      <a:pt x="445" y="41"/>
                    </a:lnTo>
                    <a:lnTo>
                      <a:pt x="451" y="39"/>
                    </a:lnTo>
                    <a:lnTo>
                      <a:pt x="451" y="37"/>
                    </a:lnTo>
                    <a:lnTo>
                      <a:pt x="454" y="35"/>
                    </a:lnTo>
                    <a:lnTo>
                      <a:pt x="453" y="33"/>
                    </a:lnTo>
                    <a:lnTo>
                      <a:pt x="453" y="31"/>
                    </a:lnTo>
                    <a:lnTo>
                      <a:pt x="439" y="39"/>
                    </a:lnTo>
                    <a:lnTo>
                      <a:pt x="426" y="47"/>
                    </a:lnTo>
                    <a:lnTo>
                      <a:pt x="426" y="48"/>
                    </a:lnTo>
                    <a:lnTo>
                      <a:pt x="420" y="47"/>
                    </a:lnTo>
                    <a:lnTo>
                      <a:pt x="416" y="43"/>
                    </a:lnTo>
                    <a:lnTo>
                      <a:pt x="410" y="43"/>
                    </a:lnTo>
                    <a:lnTo>
                      <a:pt x="403" y="45"/>
                    </a:lnTo>
                    <a:lnTo>
                      <a:pt x="406" y="39"/>
                    </a:lnTo>
                    <a:lnTo>
                      <a:pt x="410" y="35"/>
                    </a:lnTo>
                    <a:lnTo>
                      <a:pt x="422" y="29"/>
                    </a:lnTo>
                    <a:lnTo>
                      <a:pt x="433" y="24"/>
                    </a:lnTo>
                    <a:lnTo>
                      <a:pt x="431" y="22"/>
                    </a:lnTo>
                    <a:lnTo>
                      <a:pt x="431" y="22"/>
                    </a:lnTo>
                    <a:lnTo>
                      <a:pt x="428" y="22"/>
                    </a:lnTo>
                    <a:lnTo>
                      <a:pt x="426" y="18"/>
                    </a:lnTo>
                    <a:lnTo>
                      <a:pt x="422" y="18"/>
                    </a:lnTo>
                    <a:lnTo>
                      <a:pt x="418" y="18"/>
                    </a:lnTo>
                    <a:lnTo>
                      <a:pt x="414" y="18"/>
                    </a:lnTo>
                    <a:lnTo>
                      <a:pt x="410" y="18"/>
                    </a:lnTo>
                    <a:lnTo>
                      <a:pt x="406" y="18"/>
                    </a:lnTo>
                    <a:lnTo>
                      <a:pt x="403" y="16"/>
                    </a:lnTo>
                    <a:lnTo>
                      <a:pt x="399" y="14"/>
                    </a:lnTo>
                    <a:lnTo>
                      <a:pt x="395" y="12"/>
                    </a:lnTo>
                    <a:lnTo>
                      <a:pt x="391" y="12"/>
                    </a:lnTo>
                    <a:lnTo>
                      <a:pt x="387" y="14"/>
                    </a:lnTo>
                    <a:lnTo>
                      <a:pt x="385" y="14"/>
                    </a:lnTo>
                    <a:lnTo>
                      <a:pt x="380" y="12"/>
                    </a:lnTo>
                    <a:lnTo>
                      <a:pt x="376" y="12"/>
                    </a:lnTo>
                    <a:lnTo>
                      <a:pt x="374" y="12"/>
                    </a:lnTo>
                    <a:lnTo>
                      <a:pt x="372" y="6"/>
                    </a:lnTo>
                    <a:lnTo>
                      <a:pt x="368" y="0"/>
                    </a:lnTo>
                    <a:lnTo>
                      <a:pt x="364" y="2"/>
                    </a:lnTo>
                    <a:lnTo>
                      <a:pt x="364" y="6"/>
                    </a:lnTo>
                    <a:lnTo>
                      <a:pt x="26" y="4"/>
                    </a:lnTo>
                    <a:lnTo>
                      <a:pt x="26" y="10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5" y="20"/>
                    </a:lnTo>
                    <a:lnTo>
                      <a:pt x="25" y="22"/>
                    </a:lnTo>
                    <a:lnTo>
                      <a:pt x="13" y="20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2" y="27"/>
                    </a:lnTo>
                    <a:lnTo>
                      <a:pt x="7" y="35"/>
                    </a:lnTo>
                    <a:lnTo>
                      <a:pt x="13" y="47"/>
                    </a:lnTo>
                    <a:lnTo>
                      <a:pt x="11" y="54"/>
                    </a:lnTo>
                    <a:lnTo>
                      <a:pt x="9" y="62"/>
                    </a:lnTo>
                    <a:lnTo>
                      <a:pt x="9" y="73"/>
                    </a:lnTo>
                    <a:lnTo>
                      <a:pt x="11" y="87"/>
                    </a:lnTo>
                    <a:lnTo>
                      <a:pt x="9" y="96"/>
                    </a:lnTo>
                    <a:lnTo>
                      <a:pt x="5" y="108"/>
                    </a:lnTo>
                    <a:lnTo>
                      <a:pt x="5" y="119"/>
                    </a:lnTo>
                    <a:lnTo>
                      <a:pt x="7" y="131"/>
                    </a:lnTo>
                    <a:lnTo>
                      <a:pt x="9" y="133"/>
                    </a:lnTo>
                    <a:lnTo>
                      <a:pt x="13" y="135"/>
                    </a:lnTo>
                    <a:lnTo>
                      <a:pt x="11" y="141"/>
                    </a:lnTo>
                    <a:lnTo>
                      <a:pt x="13" y="148"/>
                    </a:lnTo>
                    <a:lnTo>
                      <a:pt x="9" y="158"/>
                    </a:lnTo>
                    <a:lnTo>
                      <a:pt x="7" y="166"/>
                    </a:lnTo>
                    <a:lnTo>
                      <a:pt x="9" y="169"/>
                    </a:lnTo>
                    <a:lnTo>
                      <a:pt x="13" y="171"/>
                    </a:lnTo>
                    <a:lnTo>
                      <a:pt x="15" y="181"/>
                    </a:lnTo>
                    <a:lnTo>
                      <a:pt x="17" y="190"/>
                    </a:lnTo>
                    <a:lnTo>
                      <a:pt x="21" y="198"/>
                    </a:lnTo>
                    <a:lnTo>
                      <a:pt x="26" y="206"/>
                    </a:lnTo>
                    <a:lnTo>
                      <a:pt x="28" y="202"/>
                    </a:lnTo>
                    <a:lnTo>
                      <a:pt x="28" y="200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2" y="208"/>
                    </a:lnTo>
                    <a:lnTo>
                      <a:pt x="30" y="215"/>
                    </a:lnTo>
                    <a:lnTo>
                      <a:pt x="40" y="219"/>
                    </a:lnTo>
                    <a:lnTo>
                      <a:pt x="36" y="225"/>
                    </a:lnTo>
                    <a:lnTo>
                      <a:pt x="36" y="231"/>
                    </a:lnTo>
                    <a:lnTo>
                      <a:pt x="44" y="240"/>
                    </a:lnTo>
                    <a:lnTo>
                      <a:pt x="51" y="246"/>
                    </a:lnTo>
                    <a:lnTo>
                      <a:pt x="50" y="248"/>
                    </a:lnTo>
                    <a:lnTo>
                      <a:pt x="48" y="250"/>
                    </a:lnTo>
                    <a:lnTo>
                      <a:pt x="51" y="252"/>
                    </a:lnTo>
                    <a:lnTo>
                      <a:pt x="51" y="258"/>
                    </a:lnTo>
                    <a:lnTo>
                      <a:pt x="53" y="267"/>
                    </a:lnTo>
                    <a:lnTo>
                      <a:pt x="55" y="267"/>
                    </a:lnTo>
                    <a:lnTo>
                      <a:pt x="57" y="265"/>
                    </a:lnTo>
                    <a:lnTo>
                      <a:pt x="63" y="267"/>
                    </a:lnTo>
                    <a:lnTo>
                      <a:pt x="73" y="271"/>
                    </a:lnTo>
                    <a:lnTo>
                      <a:pt x="73" y="275"/>
                    </a:lnTo>
                    <a:lnTo>
                      <a:pt x="73" y="277"/>
                    </a:lnTo>
                    <a:lnTo>
                      <a:pt x="74" y="277"/>
                    </a:lnTo>
                    <a:lnTo>
                      <a:pt x="78" y="275"/>
                    </a:lnTo>
                    <a:lnTo>
                      <a:pt x="80" y="279"/>
                    </a:lnTo>
                    <a:lnTo>
                      <a:pt x="84" y="285"/>
                    </a:lnTo>
                    <a:lnTo>
                      <a:pt x="90" y="286"/>
                    </a:lnTo>
                    <a:lnTo>
                      <a:pt x="90" y="290"/>
                    </a:lnTo>
                    <a:lnTo>
                      <a:pt x="90" y="294"/>
                    </a:lnTo>
                    <a:lnTo>
                      <a:pt x="122" y="290"/>
                    </a:lnTo>
                    <a:lnTo>
                      <a:pt x="122" y="294"/>
                    </a:lnTo>
                    <a:lnTo>
                      <a:pt x="155" y="311"/>
                    </a:lnTo>
                    <a:lnTo>
                      <a:pt x="195" y="315"/>
                    </a:lnTo>
                    <a:lnTo>
                      <a:pt x="195" y="306"/>
                    </a:lnTo>
                    <a:lnTo>
                      <a:pt x="220" y="308"/>
                    </a:lnTo>
                    <a:lnTo>
                      <a:pt x="222" y="308"/>
                    </a:lnTo>
                    <a:lnTo>
                      <a:pt x="226" y="309"/>
                    </a:lnTo>
                    <a:lnTo>
                      <a:pt x="226" y="313"/>
                    </a:lnTo>
                    <a:lnTo>
                      <a:pt x="228" y="315"/>
                    </a:lnTo>
                    <a:lnTo>
                      <a:pt x="230" y="319"/>
                    </a:lnTo>
                    <a:lnTo>
                      <a:pt x="234" y="321"/>
                    </a:lnTo>
                    <a:lnTo>
                      <a:pt x="238" y="323"/>
                    </a:lnTo>
                    <a:lnTo>
                      <a:pt x="241" y="327"/>
                    </a:lnTo>
                    <a:lnTo>
                      <a:pt x="245" y="331"/>
                    </a:lnTo>
                    <a:lnTo>
                      <a:pt x="243" y="334"/>
                    </a:lnTo>
                    <a:lnTo>
                      <a:pt x="245" y="340"/>
                    </a:lnTo>
                    <a:lnTo>
                      <a:pt x="251" y="344"/>
                    </a:lnTo>
                    <a:lnTo>
                      <a:pt x="255" y="346"/>
                    </a:lnTo>
                    <a:lnTo>
                      <a:pt x="263" y="346"/>
                    </a:lnTo>
                    <a:lnTo>
                      <a:pt x="264" y="342"/>
                    </a:lnTo>
                    <a:lnTo>
                      <a:pt x="266" y="338"/>
                    </a:lnTo>
                    <a:lnTo>
                      <a:pt x="270" y="336"/>
                    </a:lnTo>
                    <a:lnTo>
                      <a:pt x="274" y="338"/>
                    </a:lnTo>
                    <a:lnTo>
                      <a:pt x="278" y="338"/>
                    </a:lnTo>
                    <a:lnTo>
                      <a:pt x="282" y="340"/>
                    </a:lnTo>
                    <a:lnTo>
                      <a:pt x="284" y="342"/>
                    </a:lnTo>
                    <a:lnTo>
                      <a:pt x="287" y="346"/>
                    </a:lnTo>
                    <a:lnTo>
                      <a:pt x="289" y="350"/>
                    </a:lnTo>
                    <a:lnTo>
                      <a:pt x="293" y="352"/>
                    </a:lnTo>
                    <a:lnTo>
                      <a:pt x="295" y="356"/>
                    </a:lnTo>
                    <a:lnTo>
                      <a:pt x="295" y="359"/>
                    </a:lnTo>
                    <a:lnTo>
                      <a:pt x="297" y="363"/>
                    </a:lnTo>
                    <a:lnTo>
                      <a:pt x="301" y="369"/>
                    </a:lnTo>
                    <a:lnTo>
                      <a:pt x="305" y="373"/>
                    </a:lnTo>
                    <a:lnTo>
                      <a:pt x="305" y="377"/>
                    </a:lnTo>
                    <a:lnTo>
                      <a:pt x="309" y="386"/>
                    </a:lnTo>
                    <a:lnTo>
                      <a:pt x="311" y="390"/>
                    </a:lnTo>
                    <a:lnTo>
                      <a:pt x="311" y="392"/>
                    </a:lnTo>
                    <a:lnTo>
                      <a:pt x="314" y="396"/>
                    </a:lnTo>
                    <a:lnTo>
                      <a:pt x="320" y="400"/>
                    </a:lnTo>
                    <a:lnTo>
                      <a:pt x="326" y="400"/>
                    </a:lnTo>
                    <a:lnTo>
                      <a:pt x="330" y="403"/>
                    </a:lnTo>
                    <a:lnTo>
                      <a:pt x="332" y="405"/>
                    </a:lnTo>
                    <a:lnTo>
                      <a:pt x="334" y="403"/>
                    </a:lnTo>
                    <a:lnTo>
                      <a:pt x="332" y="398"/>
                    </a:lnTo>
                    <a:lnTo>
                      <a:pt x="330" y="394"/>
                    </a:lnTo>
                    <a:lnTo>
                      <a:pt x="330" y="388"/>
                    </a:lnTo>
                    <a:lnTo>
                      <a:pt x="330" y="382"/>
                    </a:lnTo>
                    <a:lnTo>
                      <a:pt x="334" y="382"/>
                    </a:lnTo>
                    <a:lnTo>
                      <a:pt x="334" y="379"/>
                    </a:lnTo>
                    <a:lnTo>
                      <a:pt x="334" y="375"/>
                    </a:lnTo>
                    <a:lnTo>
                      <a:pt x="339" y="371"/>
                    </a:lnTo>
                    <a:lnTo>
                      <a:pt x="347" y="369"/>
                    </a:lnTo>
                    <a:lnTo>
                      <a:pt x="347" y="365"/>
                    </a:lnTo>
                    <a:lnTo>
                      <a:pt x="349" y="361"/>
                    </a:lnTo>
                    <a:lnTo>
                      <a:pt x="353" y="359"/>
                    </a:lnTo>
                    <a:lnTo>
                      <a:pt x="358" y="359"/>
                    </a:lnTo>
                    <a:lnTo>
                      <a:pt x="360" y="352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72" y="348"/>
                    </a:lnTo>
                    <a:lnTo>
                      <a:pt x="378" y="342"/>
                    </a:lnTo>
                    <a:lnTo>
                      <a:pt x="385" y="338"/>
                    </a:lnTo>
                    <a:lnTo>
                      <a:pt x="399" y="342"/>
                    </a:lnTo>
                    <a:lnTo>
                      <a:pt x="410" y="346"/>
                    </a:lnTo>
                    <a:lnTo>
                      <a:pt x="410" y="350"/>
                    </a:lnTo>
                    <a:lnTo>
                      <a:pt x="412" y="352"/>
                    </a:lnTo>
                    <a:lnTo>
                      <a:pt x="416" y="352"/>
                    </a:lnTo>
                    <a:lnTo>
                      <a:pt x="422" y="350"/>
                    </a:lnTo>
                    <a:lnTo>
                      <a:pt x="420" y="346"/>
                    </a:lnTo>
                    <a:lnTo>
                      <a:pt x="420" y="344"/>
                    </a:lnTo>
                    <a:lnTo>
                      <a:pt x="422" y="342"/>
                    </a:lnTo>
                    <a:lnTo>
                      <a:pt x="426" y="340"/>
                    </a:lnTo>
                    <a:lnTo>
                      <a:pt x="431" y="348"/>
                    </a:lnTo>
                    <a:lnTo>
                      <a:pt x="435" y="348"/>
                    </a:lnTo>
                    <a:lnTo>
                      <a:pt x="439" y="348"/>
                    </a:lnTo>
                    <a:lnTo>
                      <a:pt x="439" y="352"/>
                    </a:lnTo>
                    <a:lnTo>
                      <a:pt x="443" y="350"/>
                    </a:lnTo>
                    <a:lnTo>
                      <a:pt x="443" y="348"/>
                    </a:lnTo>
                    <a:lnTo>
                      <a:pt x="437" y="346"/>
                    </a:lnTo>
                    <a:lnTo>
                      <a:pt x="437" y="342"/>
                    </a:lnTo>
                    <a:lnTo>
                      <a:pt x="439" y="342"/>
                    </a:lnTo>
                    <a:lnTo>
                      <a:pt x="439" y="340"/>
                    </a:lnTo>
                    <a:lnTo>
                      <a:pt x="441" y="338"/>
                    </a:lnTo>
                    <a:lnTo>
                      <a:pt x="435" y="336"/>
                    </a:lnTo>
                    <a:lnTo>
                      <a:pt x="431" y="334"/>
                    </a:lnTo>
                    <a:lnTo>
                      <a:pt x="429" y="334"/>
                    </a:lnTo>
                    <a:lnTo>
                      <a:pt x="428" y="331"/>
                    </a:lnTo>
                    <a:lnTo>
                      <a:pt x="431" y="332"/>
                    </a:lnTo>
                    <a:lnTo>
                      <a:pt x="437" y="332"/>
                    </a:lnTo>
                    <a:lnTo>
                      <a:pt x="437" y="329"/>
                    </a:lnTo>
                    <a:lnTo>
                      <a:pt x="445" y="329"/>
                    </a:lnTo>
                    <a:lnTo>
                      <a:pt x="453" y="331"/>
                    </a:lnTo>
                    <a:lnTo>
                      <a:pt x="453" y="329"/>
                    </a:lnTo>
                    <a:lnTo>
                      <a:pt x="454" y="327"/>
                    </a:lnTo>
                    <a:lnTo>
                      <a:pt x="456" y="331"/>
                    </a:lnTo>
                    <a:lnTo>
                      <a:pt x="460" y="332"/>
                    </a:lnTo>
                    <a:lnTo>
                      <a:pt x="464" y="327"/>
                    </a:lnTo>
                    <a:lnTo>
                      <a:pt x="466" y="329"/>
                    </a:lnTo>
                    <a:lnTo>
                      <a:pt x="470" y="331"/>
                    </a:lnTo>
                    <a:lnTo>
                      <a:pt x="470" y="329"/>
                    </a:lnTo>
                    <a:lnTo>
                      <a:pt x="474" y="327"/>
                    </a:lnTo>
                    <a:lnTo>
                      <a:pt x="476" y="331"/>
                    </a:lnTo>
                    <a:lnTo>
                      <a:pt x="476" y="332"/>
                    </a:lnTo>
                    <a:lnTo>
                      <a:pt x="479" y="332"/>
                    </a:lnTo>
                    <a:lnTo>
                      <a:pt x="485" y="334"/>
                    </a:lnTo>
                    <a:lnTo>
                      <a:pt x="485" y="336"/>
                    </a:lnTo>
                    <a:lnTo>
                      <a:pt x="487" y="340"/>
                    </a:lnTo>
                    <a:lnTo>
                      <a:pt x="491" y="340"/>
                    </a:lnTo>
                    <a:lnTo>
                      <a:pt x="497" y="342"/>
                    </a:lnTo>
                    <a:lnTo>
                      <a:pt x="499" y="338"/>
                    </a:lnTo>
                    <a:lnTo>
                      <a:pt x="501" y="336"/>
                    </a:lnTo>
                    <a:lnTo>
                      <a:pt x="502" y="336"/>
                    </a:lnTo>
                    <a:lnTo>
                      <a:pt x="506" y="336"/>
                    </a:lnTo>
                    <a:lnTo>
                      <a:pt x="508" y="342"/>
                    </a:lnTo>
                    <a:lnTo>
                      <a:pt x="510" y="346"/>
                    </a:lnTo>
                    <a:lnTo>
                      <a:pt x="516" y="348"/>
                    </a:lnTo>
                    <a:lnTo>
                      <a:pt x="516" y="361"/>
                    </a:lnTo>
                    <a:lnTo>
                      <a:pt x="516" y="375"/>
                    </a:lnTo>
                    <a:lnTo>
                      <a:pt x="520" y="373"/>
                    </a:lnTo>
                    <a:lnTo>
                      <a:pt x="524" y="373"/>
                    </a:lnTo>
                    <a:lnTo>
                      <a:pt x="520" y="379"/>
                    </a:lnTo>
                    <a:lnTo>
                      <a:pt x="520" y="386"/>
                    </a:lnTo>
                    <a:lnTo>
                      <a:pt x="524" y="388"/>
                    </a:lnTo>
                    <a:lnTo>
                      <a:pt x="527" y="390"/>
                    </a:lnTo>
                    <a:lnTo>
                      <a:pt x="527" y="394"/>
                    </a:lnTo>
                    <a:lnTo>
                      <a:pt x="529" y="400"/>
                    </a:lnTo>
                    <a:lnTo>
                      <a:pt x="531" y="403"/>
                    </a:lnTo>
                    <a:lnTo>
                      <a:pt x="535" y="405"/>
                    </a:lnTo>
                    <a:lnTo>
                      <a:pt x="535" y="409"/>
                    </a:lnTo>
                    <a:lnTo>
                      <a:pt x="535" y="411"/>
                    </a:lnTo>
                    <a:lnTo>
                      <a:pt x="539" y="413"/>
                    </a:lnTo>
                    <a:lnTo>
                      <a:pt x="545" y="415"/>
                    </a:lnTo>
                    <a:lnTo>
                      <a:pt x="547" y="400"/>
                    </a:lnTo>
                    <a:lnTo>
                      <a:pt x="548" y="382"/>
                    </a:lnTo>
                    <a:lnTo>
                      <a:pt x="545" y="373"/>
                    </a:lnTo>
                    <a:lnTo>
                      <a:pt x="543" y="361"/>
                    </a:lnTo>
                    <a:lnTo>
                      <a:pt x="539" y="359"/>
                    </a:lnTo>
                    <a:lnTo>
                      <a:pt x="539" y="357"/>
                    </a:lnTo>
                    <a:lnTo>
                      <a:pt x="541" y="354"/>
                    </a:lnTo>
                    <a:lnTo>
                      <a:pt x="537" y="350"/>
                    </a:lnTo>
                    <a:lnTo>
                      <a:pt x="535" y="346"/>
                    </a:lnTo>
                    <a:lnTo>
                      <a:pt x="535" y="338"/>
                    </a:lnTo>
                    <a:lnTo>
                      <a:pt x="535" y="332"/>
                    </a:lnTo>
                    <a:lnTo>
                      <a:pt x="531" y="329"/>
                    </a:lnTo>
                    <a:lnTo>
                      <a:pt x="531" y="327"/>
                    </a:lnTo>
                    <a:lnTo>
                      <a:pt x="533" y="327"/>
                    </a:lnTo>
                    <a:lnTo>
                      <a:pt x="533" y="327"/>
                    </a:lnTo>
                    <a:lnTo>
                      <a:pt x="531" y="327"/>
                    </a:lnTo>
                    <a:lnTo>
                      <a:pt x="533" y="325"/>
                    </a:lnTo>
                    <a:lnTo>
                      <a:pt x="535" y="323"/>
                    </a:lnTo>
                    <a:lnTo>
                      <a:pt x="535" y="323"/>
                    </a:lnTo>
                    <a:lnTo>
                      <a:pt x="535" y="315"/>
                    </a:lnTo>
                    <a:lnTo>
                      <a:pt x="541" y="306"/>
                    </a:lnTo>
                    <a:lnTo>
                      <a:pt x="541" y="302"/>
                    </a:lnTo>
                    <a:lnTo>
                      <a:pt x="541" y="298"/>
                    </a:lnTo>
                    <a:lnTo>
                      <a:pt x="543" y="298"/>
                    </a:lnTo>
                    <a:lnTo>
                      <a:pt x="547" y="298"/>
                    </a:lnTo>
                    <a:lnTo>
                      <a:pt x="547" y="296"/>
                    </a:lnTo>
                    <a:lnTo>
                      <a:pt x="548" y="292"/>
                    </a:lnTo>
                    <a:lnTo>
                      <a:pt x="554" y="290"/>
                    </a:lnTo>
                    <a:lnTo>
                      <a:pt x="562" y="286"/>
                    </a:lnTo>
                    <a:lnTo>
                      <a:pt x="562" y="283"/>
                    </a:lnTo>
                    <a:lnTo>
                      <a:pt x="564" y="279"/>
                    </a:lnTo>
                    <a:lnTo>
                      <a:pt x="570" y="277"/>
                    </a:lnTo>
                    <a:lnTo>
                      <a:pt x="577" y="275"/>
                    </a:lnTo>
                    <a:lnTo>
                      <a:pt x="579" y="269"/>
                    </a:lnTo>
                    <a:lnTo>
                      <a:pt x="583" y="263"/>
                    </a:lnTo>
                    <a:lnTo>
                      <a:pt x="585" y="261"/>
                    </a:lnTo>
                    <a:lnTo>
                      <a:pt x="589" y="261"/>
                    </a:lnTo>
                    <a:lnTo>
                      <a:pt x="587" y="258"/>
                    </a:lnTo>
                    <a:lnTo>
                      <a:pt x="585" y="254"/>
                    </a:lnTo>
                    <a:lnTo>
                      <a:pt x="589" y="252"/>
                    </a:lnTo>
                    <a:lnTo>
                      <a:pt x="593" y="252"/>
                    </a:lnTo>
                    <a:lnTo>
                      <a:pt x="591" y="248"/>
                    </a:lnTo>
                    <a:lnTo>
                      <a:pt x="595" y="246"/>
                    </a:lnTo>
                    <a:lnTo>
                      <a:pt x="604" y="246"/>
                    </a:lnTo>
                    <a:lnTo>
                      <a:pt x="602" y="242"/>
                    </a:lnTo>
                    <a:lnTo>
                      <a:pt x="600" y="240"/>
                    </a:lnTo>
                    <a:lnTo>
                      <a:pt x="596" y="240"/>
                    </a:lnTo>
                    <a:lnTo>
                      <a:pt x="593" y="240"/>
                    </a:lnTo>
                    <a:lnTo>
                      <a:pt x="593" y="237"/>
                    </a:lnTo>
                    <a:lnTo>
                      <a:pt x="596" y="237"/>
                    </a:lnTo>
                    <a:lnTo>
                      <a:pt x="600" y="235"/>
                    </a:lnTo>
                    <a:lnTo>
                      <a:pt x="600" y="231"/>
                    </a:lnTo>
                    <a:lnTo>
                      <a:pt x="600" y="227"/>
                    </a:lnTo>
                    <a:lnTo>
                      <a:pt x="596" y="227"/>
                    </a:lnTo>
                    <a:lnTo>
                      <a:pt x="593" y="225"/>
                    </a:lnTo>
                    <a:lnTo>
                      <a:pt x="591" y="221"/>
                    </a:lnTo>
                    <a:lnTo>
                      <a:pt x="589" y="219"/>
                    </a:lnTo>
                    <a:lnTo>
                      <a:pt x="591" y="215"/>
                    </a:lnTo>
                    <a:lnTo>
                      <a:pt x="595" y="212"/>
                    </a:lnTo>
                    <a:lnTo>
                      <a:pt x="591" y="210"/>
                    </a:lnTo>
                    <a:lnTo>
                      <a:pt x="591" y="210"/>
                    </a:lnTo>
                    <a:lnTo>
                      <a:pt x="593" y="208"/>
                    </a:lnTo>
                    <a:lnTo>
                      <a:pt x="593" y="206"/>
                    </a:lnTo>
                    <a:lnTo>
                      <a:pt x="589" y="204"/>
                    </a:lnTo>
                    <a:lnTo>
                      <a:pt x="585" y="202"/>
                    </a:lnTo>
                    <a:lnTo>
                      <a:pt x="585" y="200"/>
                    </a:lnTo>
                    <a:lnTo>
                      <a:pt x="589" y="200"/>
                    </a:lnTo>
                    <a:lnTo>
                      <a:pt x="587" y="196"/>
                    </a:lnTo>
                    <a:lnTo>
                      <a:pt x="587" y="194"/>
                    </a:lnTo>
                    <a:lnTo>
                      <a:pt x="591" y="187"/>
                    </a:lnTo>
                    <a:lnTo>
                      <a:pt x="593" y="177"/>
                    </a:lnTo>
                    <a:lnTo>
                      <a:pt x="596" y="177"/>
                    </a:lnTo>
                    <a:lnTo>
                      <a:pt x="600" y="175"/>
                    </a:lnTo>
                    <a:lnTo>
                      <a:pt x="600" y="177"/>
                    </a:lnTo>
                    <a:lnTo>
                      <a:pt x="602" y="179"/>
                    </a:lnTo>
                    <a:lnTo>
                      <a:pt x="596" y="190"/>
                    </a:lnTo>
                    <a:lnTo>
                      <a:pt x="595" y="200"/>
                    </a:lnTo>
                    <a:lnTo>
                      <a:pt x="595" y="202"/>
                    </a:lnTo>
                    <a:lnTo>
                      <a:pt x="596" y="204"/>
                    </a:lnTo>
                    <a:lnTo>
                      <a:pt x="598" y="202"/>
                    </a:lnTo>
                    <a:lnTo>
                      <a:pt x="604" y="202"/>
                    </a:lnTo>
                    <a:lnTo>
                      <a:pt x="604" y="206"/>
                    </a:lnTo>
                    <a:lnTo>
                      <a:pt x="606" y="206"/>
                    </a:lnTo>
                    <a:lnTo>
                      <a:pt x="610" y="206"/>
                    </a:lnTo>
                    <a:lnTo>
                      <a:pt x="612" y="196"/>
                    </a:lnTo>
                    <a:lnTo>
                      <a:pt x="614" y="187"/>
                    </a:lnTo>
                    <a:lnTo>
                      <a:pt x="610" y="187"/>
                    </a:lnTo>
                    <a:lnTo>
                      <a:pt x="608" y="185"/>
                    </a:lnTo>
                    <a:lnTo>
                      <a:pt x="608" y="181"/>
                    </a:lnTo>
                    <a:lnTo>
                      <a:pt x="608" y="179"/>
                    </a:lnTo>
                    <a:lnTo>
                      <a:pt x="618" y="179"/>
                    </a:lnTo>
                    <a:lnTo>
                      <a:pt x="623" y="177"/>
                    </a:lnTo>
                    <a:lnTo>
                      <a:pt x="625" y="171"/>
                    </a:lnTo>
                    <a:lnTo>
                      <a:pt x="631" y="164"/>
                    </a:lnTo>
                    <a:lnTo>
                      <a:pt x="625" y="160"/>
                    </a:lnTo>
                    <a:lnTo>
                      <a:pt x="625" y="156"/>
                    </a:lnTo>
                    <a:lnTo>
                      <a:pt x="627" y="154"/>
                    </a:lnTo>
                    <a:lnTo>
                      <a:pt x="633" y="148"/>
                    </a:lnTo>
                    <a:lnTo>
                      <a:pt x="639" y="144"/>
                    </a:lnTo>
                    <a:lnTo>
                      <a:pt x="643" y="144"/>
                    </a:lnTo>
                    <a:lnTo>
                      <a:pt x="646" y="144"/>
                    </a:lnTo>
                    <a:lnTo>
                      <a:pt x="648" y="141"/>
                    </a:lnTo>
                    <a:lnTo>
                      <a:pt x="652" y="141"/>
                    </a:lnTo>
                    <a:lnTo>
                      <a:pt x="658" y="142"/>
                    </a:lnTo>
                    <a:lnTo>
                      <a:pt x="658" y="139"/>
                    </a:lnTo>
                    <a:lnTo>
                      <a:pt x="660" y="133"/>
                    </a:lnTo>
                    <a:lnTo>
                      <a:pt x="662" y="135"/>
                    </a:lnTo>
                    <a:lnTo>
                      <a:pt x="664" y="139"/>
                    </a:lnTo>
                    <a:lnTo>
                      <a:pt x="666" y="139"/>
                    </a:lnTo>
                    <a:lnTo>
                      <a:pt x="667" y="137"/>
                    </a:lnTo>
                    <a:lnTo>
                      <a:pt x="669" y="135"/>
                    </a:lnTo>
                    <a:lnTo>
                      <a:pt x="673" y="135"/>
                    </a:lnTo>
                    <a:lnTo>
                      <a:pt x="667" y="131"/>
                    </a:lnTo>
                    <a:lnTo>
                      <a:pt x="664" y="129"/>
                    </a:lnTo>
                    <a:lnTo>
                      <a:pt x="666" y="125"/>
                    </a:lnTo>
                    <a:lnTo>
                      <a:pt x="669" y="123"/>
                    </a:lnTo>
                    <a:lnTo>
                      <a:pt x="667" y="119"/>
                    </a:lnTo>
                    <a:lnTo>
                      <a:pt x="667" y="118"/>
                    </a:lnTo>
                    <a:lnTo>
                      <a:pt x="671" y="116"/>
                    </a:lnTo>
                    <a:lnTo>
                      <a:pt x="673" y="110"/>
                    </a:lnTo>
                    <a:lnTo>
                      <a:pt x="675" y="102"/>
                    </a:lnTo>
                    <a:lnTo>
                      <a:pt x="681" y="102"/>
                    </a:lnTo>
                    <a:lnTo>
                      <a:pt x="687" y="100"/>
                    </a:lnTo>
                    <a:lnTo>
                      <a:pt x="691" y="98"/>
                    </a:lnTo>
                    <a:lnTo>
                      <a:pt x="694" y="91"/>
                    </a:lnTo>
                    <a:lnTo>
                      <a:pt x="694" y="96"/>
                    </a:lnTo>
                    <a:lnTo>
                      <a:pt x="700" y="93"/>
                    </a:lnTo>
                    <a:lnTo>
                      <a:pt x="700" y="95"/>
                    </a:lnTo>
                    <a:lnTo>
                      <a:pt x="704" y="96"/>
                    </a:lnTo>
                    <a:lnTo>
                      <a:pt x="708" y="93"/>
                    </a:lnTo>
                    <a:lnTo>
                      <a:pt x="714" y="89"/>
                    </a:lnTo>
                    <a:lnTo>
                      <a:pt x="712" y="83"/>
                    </a:lnTo>
                    <a:lnTo>
                      <a:pt x="710" y="77"/>
                    </a:lnTo>
                    <a:lnTo>
                      <a:pt x="712" y="77"/>
                    </a:lnTo>
                    <a:lnTo>
                      <a:pt x="712" y="7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7" name="Freeform 25"/>
              <p:cNvSpPr>
                <a:spLocks/>
              </p:cNvSpPr>
              <p:nvPr/>
            </p:nvSpPr>
            <p:spPr bwMode="gray">
              <a:xfrm>
                <a:off x="3171875" y="5216526"/>
                <a:ext cx="103176" cy="125413"/>
              </a:xfrm>
              <a:custGeom>
                <a:avLst/>
                <a:gdLst>
                  <a:gd name="T0" fmla="*/ 63 w 65"/>
                  <a:gd name="T1" fmla="*/ 56 h 79"/>
                  <a:gd name="T2" fmla="*/ 60 w 65"/>
                  <a:gd name="T3" fmla="*/ 52 h 79"/>
                  <a:gd name="T4" fmla="*/ 65 w 65"/>
                  <a:gd name="T5" fmla="*/ 42 h 79"/>
                  <a:gd name="T6" fmla="*/ 65 w 65"/>
                  <a:gd name="T7" fmla="*/ 40 h 79"/>
                  <a:gd name="T8" fmla="*/ 61 w 65"/>
                  <a:gd name="T9" fmla="*/ 38 h 79"/>
                  <a:gd name="T10" fmla="*/ 58 w 65"/>
                  <a:gd name="T11" fmla="*/ 35 h 79"/>
                  <a:gd name="T12" fmla="*/ 56 w 65"/>
                  <a:gd name="T13" fmla="*/ 31 h 79"/>
                  <a:gd name="T14" fmla="*/ 52 w 65"/>
                  <a:gd name="T15" fmla="*/ 27 h 79"/>
                  <a:gd name="T16" fmla="*/ 46 w 65"/>
                  <a:gd name="T17" fmla="*/ 25 h 79"/>
                  <a:gd name="T18" fmla="*/ 42 w 65"/>
                  <a:gd name="T19" fmla="*/ 21 h 79"/>
                  <a:gd name="T20" fmla="*/ 40 w 65"/>
                  <a:gd name="T21" fmla="*/ 17 h 79"/>
                  <a:gd name="T22" fmla="*/ 35 w 65"/>
                  <a:gd name="T23" fmla="*/ 15 h 79"/>
                  <a:gd name="T24" fmla="*/ 31 w 65"/>
                  <a:gd name="T25" fmla="*/ 13 h 79"/>
                  <a:gd name="T26" fmla="*/ 29 w 65"/>
                  <a:gd name="T27" fmla="*/ 8 h 79"/>
                  <a:gd name="T28" fmla="*/ 29 w 65"/>
                  <a:gd name="T29" fmla="*/ 6 h 79"/>
                  <a:gd name="T30" fmla="*/ 17 w 65"/>
                  <a:gd name="T31" fmla="*/ 0 h 79"/>
                  <a:gd name="T32" fmla="*/ 8 w 65"/>
                  <a:gd name="T33" fmla="*/ 2 h 79"/>
                  <a:gd name="T34" fmla="*/ 6 w 65"/>
                  <a:gd name="T35" fmla="*/ 6 h 79"/>
                  <a:gd name="T36" fmla="*/ 6 w 65"/>
                  <a:gd name="T37" fmla="*/ 12 h 79"/>
                  <a:gd name="T38" fmla="*/ 4 w 65"/>
                  <a:gd name="T39" fmla="*/ 17 h 79"/>
                  <a:gd name="T40" fmla="*/ 2 w 65"/>
                  <a:gd name="T41" fmla="*/ 21 h 79"/>
                  <a:gd name="T42" fmla="*/ 0 w 65"/>
                  <a:gd name="T43" fmla="*/ 29 h 79"/>
                  <a:gd name="T44" fmla="*/ 0 w 65"/>
                  <a:gd name="T45" fmla="*/ 33 h 79"/>
                  <a:gd name="T46" fmla="*/ 0 w 65"/>
                  <a:gd name="T47" fmla="*/ 36 h 79"/>
                  <a:gd name="T48" fmla="*/ 0 w 65"/>
                  <a:gd name="T49" fmla="*/ 40 h 79"/>
                  <a:gd name="T50" fmla="*/ 2 w 65"/>
                  <a:gd name="T51" fmla="*/ 46 h 79"/>
                  <a:gd name="T52" fmla="*/ 0 w 65"/>
                  <a:gd name="T53" fmla="*/ 48 h 79"/>
                  <a:gd name="T54" fmla="*/ 0 w 65"/>
                  <a:gd name="T55" fmla="*/ 59 h 79"/>
                  <a:gd name="T56" fmla="*/ 2 w 65"/>
                  <a:gd name="T57" fmla="*/ 67 h 79"/>
                  <a:gd name="T58" fmla="*/ 6 w 65"/>
                  <a:gd name="T59" fmla="*/ 69 h 79"/>
                  <a:gd name="T60" fmla="*/ 12 w 65"/>
                  <a:gd name="T61" fmla="*/ 69 h 79"/>
                  <a:gd name="T62" fmla="*/ 14 w 65"/>
                  <a:gd name="T63" fmla="*/ 73 h 79"/>
                  <a:gd name="T64" fmla="*/ 15 w 65"/>
                  <a:gd name="T65" fmla="*/ 75 h 79"/>
                  <a:gd name="T66" fmla="*/ 21 w 65"/>
                  <a:gd name="T67" fmla="*/ 77 h 79"/>
                  <a:gd name="T68" fmla="*/ 25 w 65"/>
                  <a:gd name="T69" fmla="*/ 79 h 79"/>
                  <a:gd name="T70" fmla="*/ 29 w 65"/>
                  <a:gd name="T71" fmla="*/ 77 h 79"/>
                  <a:gd name="T72" fmla="*/ 35 w 65"/>
                  <a:gd name="T73" fmla="*/ 75 h 79"/>
                  <a:gd name="T74" fmla="*/ 38 w 65"/>
                  <a:gd name="T75" fmla="*/ 77 h 79"/>
                  <a:gd name="T76" fmla="*/ 46 w 65"/>
                  <a:gd name="T77" fmla="*/ 77 h 79"/>
                  <a:gd name="T78" fmla="*/ 54 w 65"/>
                  <a:gd name="T79" fmla="*/ 69 h 79"/>
                  <a:gd name="T80" fmla="*/ 63 w 65"/>
                  <a:gd name="T81" fmla="*/ 56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5" h="79">
                    <a:moveTo>
                      <a:pt x="63" y="56"/>
                    </a:moveTo>
                    <a:lnTo>
                      <a:pt x="60" y="52"/>
                    </a:lnTo>
                    <a:lnTo>
                      <a:pt x="65" y="42"/>
                    </a:lnTo>
                    <a:lnTo>
                      <a:pt x="65" y="40"/>
                    </a:lnTo>
                    <a:lnTo>
                      <a:pt x="61" y="38"/>
                    </a:lnTo>
                    <a:lnTo>
                      <a:pt x="58" y="35"/>
                    </a:lnTo>
                    <a:lnTo>
                      <a:pt x="56" y="31"/>
                    </a:lnTo>
                    <a:lnTo>
                      <a:pt x="52" y="27"/>
                    </a:lnTo>
                    <a:lnTo>
                      <a:pt x="46" y="25"/>
                    </a:lnTo>
                    <a:lnTo>
                      <a:pt x="42" y="21"/>
                    </a:lnTo>
                    <a:lnTo>
                      <a:pt x="40" y="17"/>
                    </a:lnTo>
                    <a:lnTo>
                      <a:pt x="35" y="15"/>
                    </a:lnTo>
                    <a:lnTo>
                      <a:pt x="31" y="13"/>
                    </a:lnTo>
                    <a:lnTo>
                      <a:pt x="29" y="8"/>
                    </a:lnTo>
                    <a:lnTo>
                      <a:pt x="29" y="6"/>
                    </a:lnTo>
                    <a:lnTo>
                      <a:pt x="17" y="0"/>
                    </a:lnTo>
                    <a:lnTo>
                      <a:pt x="8" y="2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4" y="17"/>
                    </a:lnTo>
                    <a:lnTo>
                      <a:pt x="2" y="21"/>
                    </a:lnTo>
                    <a:lnTo>
                      <a:pt x="0" y="29"/>
                    </a:lnTo>
                    <a:lnTo>
                      <a:pt x="0" y="33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0" y="48"/>
                    </a:lnTo>
                    <a:lnTo>
                      <a:pt x="0" y="59"/>
                    </a:lnTo>
                    <a:lnTo>
                      <a:pt x="2" y="67"/>
                    </a:lnTo>
                    <a:lnTo>
                      <a:pt x="6" y="69"/>
                    </a:lnTo>
                    <a:lnTo>
                      <a:pt x="12" y="69"/>
                    </a:lnTo>
                    <a:lnTo>
                      <a:pt x="14" y="73"/>
                    </a:lnTo>
                    <a:lnTo>
                      <a:pt x="15" y="75"/>
                    </a:lnTo>
                    <a:lnTo>
                      <a:pt x="21" y="77"/>
                    </a:lnTo>
                    <a:lnTo>
                      <a:pt x="25" y="79"/>
                    </a:lnTo>
                    <a:lnTo>
                      <a:pt x="29" y="77"/>
                    </a:lnTo>
                    <a:lnTo>
                      <a:pt x="35" y="75"/>
                    </a:lnTo>
                    <a:lnTo>
                      <a:pt x="38" y="77"/>
                    </a:lnTo>
                    <a:lnTo>
                      <a:pt x="46" y="77"/>
                    </a:lnTo>
                    <a:lnTo>
                      <a:pt x="54" y="69"/>
                    </a:lnTo>
                    <a:lnTo>
                      <a:pt x="63" y="5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8" name="Freeform 26"/>
              <p:cNvSpPr>
                <a:spLocks noEditPoints="1"/>
              </p:cNvSpPr>
              <p:nvPr/>
            </p:nvSpPr>
            <p:spPr bwMode="gray">
              <a:xfrm>
                <a:off x="4176650" y="2813051"/>
                <a:ext cx="192066" cy="334963"/>
              </a:xfrm>
              <a:custGeom>
                <a:avLst/>
                <a:gdLst>
                  <a:gd name="T0" fmla="*/ 2 w 121"/>
                  <a:gd name="T1" fmla="*/ 123 h 211"/>
                  <a:gd name="T2" fmla="*/ 4 w 121"/>
                  <a:gd name="T3" fmla="*/ 132 h 211"/>
                  <a:gd name="T4" fmla="*/ 12 w 121"/>
                  <a:gd name="T5" fmla="*/ 134 h 211"/>
                  <a:gd name="T6" fmla="*/ 25 w 121"/>
                  <a:gd name="T7" fmla="*/ 130 h 211"/>
                  <a:gd name="T8" fmla="*/ 25 w 121"/>
                  <a:gd name="T9" fmla="*/ 125 h 211"/>
                  <a:gd name="T10" fmla="*/ 23 w 121"/>
                  <a:gd name="T11" fmla="*/ 115 h 211"/>
                  <a:gd name="T12" fmla="*/ 8 w 121"/>
                  <a:gd name="T13" fmla="*/ 119 h 211"/>
                  <a:gd name="T14" fmla="*/ 22 w 121"/>
                  <a:gd name="T15" fmla="*/ 96 h 211"/>
                  <a:gd name="T16" fmla="*/ 18 w 121"/>
                  <a:gd name="T17" fmla="*/ 84 h 211"/>
                  <a:gd name="T18" fmla="*/ 23 w 121"/>
                  <a:gd name="T19" fmla="*/ 90 h 211"/>
                  <a:gd name="T20" fmla="*/ 2 w 121"/>
                  <a:gd name="T21" fmla="*/ 67 h 211"/>
                  <a:gd name="T22" fmla="*/ 4 w 121"/>
                  <a:gd name="T23" fmla="*/ 65 h 211"/>
                  <a:gd name="T24" fmla="*/ 14 w 121"/>
                  <a:gd name="T25" fmla="*/ 67 h 211"/>
                  <a:gd name="T26" fmla="*/ 22 w 121"/>
                  <a:gd name="T27" fmla="*/ 75 h 211"/>
                  <a:gd name="T28" fmla="*/ 23 w 121"/>
                  <a:gd name="T29" fmla="*/ 73 h 211"/>
                  <a:gd name="T30" fmla="*/ 18 w 121"/>
                  <a:gd name="T31" fmla="*/ 40 h 211"/>
                  <a:gd name="T32" fmla="*/ 12 w 121"/>
                  <a:gd name="T33" fmla="*/ 59 h 211"/>
                  <a:gd name="T34" fmla="*/ 22 w 121"/>
                  <a:gd name="T35" fmla="*/ 42 h 211"/>
                  <a:gd name="T36" fmla="*/ 45 w 121"/>
                  <a:gd name="T37" fmla="*/ 38 h 211"/>
                  <a:gd name="T38" fmla="*/ 37 w 121"/>
                  <a:gd name="T39" fmla="*/ 46 h 211"/>
                  <a:gd name="T40" fmla="*/ 29 w 121"/>
                  <a:gd name="T41" fmla="*/ 57 h 211"/>
                  <a:gd name="T42" fmla="*/ 25 w 121"/>
                  <a:gd name="T43" fmla="*/ 63 h 211"/>
                  <a:gd name="T44" fmla="*/ 29 w 121"/>
                  <a:gd name="T45" fmla="*/ 69 h 211"/>
                  <a:gd name="T46" fmla="*/ 29 w 121"/>
                  <a:gd name="T47" fmla="*/ 71 h 211"/>
                  <a:gd name="T48" fmla="*/ 29 w 121"/>
                  <a:gd name="T49" fmla="*/ 77 h 211"/>
                  <a:gd name="T50" fmla="*/ 25 w 121"/>
                  <a:gd name="T51" fmla="*/ 86 h 211"/>
                  <a:gd name="T52" fmla="*/ 31 w 121"/>
                  <a:gd name="T53" fmla="*/ 88 h 211"/>
                  <a:gd name="T54" fmla="*/ 29 w 121"/>
                  <a:gd name="T55" fmla="*/ 98 h 211"/>
                  <a:gd name="T56" fmla="*/ 37 w 121"/>
                  <a:gd name="T57" fmla="*/ 98 h 211"/>
                  <a:gd name="T58" fmla="*/ 58 w 121"/>
                  <a:gd name="T59" fmla="*/ 117 h 211"/>
                  <a:gd name="T60" fmla="*/ 64 w 121"/>
                  <a:gd name="T61" fmla="*/ 128 h 211"/>
                  <a:gd name="T62" fmla="*/ 41 w 121"/>
                  <a:gd name="T63" fmla="*/ 142 h 211"/>
                  <a:gd name="T64" fmla="*/ 45 w 121"/>
                  <a:gd name="T65" fmla="*/ 150 h 211"/>
                  <a:gd name="T66" fmla="*/ 45 w 121"/>
                  <a:gd name="T67" fmla="*/ 157 h 211"/>
                  <a:gd name="T68" fmla="*/ 31 w 121"/>
                  <a:gd name="T69" fmla="*/ 173 h 211"/>
                  <a:gd name="T70" fmla="*/ 43 w 121"/>
                  <a:gd name="T71" fmla="*/ 176 h 211"/>
                  <a:gd name="T72" fmla="*/ 54 w 121"/>
                  <a:gd name="T73" fmla="*/ 180 h 211"/>
                  <a:gd name="T74" fmla="*/ 62 w 121"/>
                  <a:gd name="T75" fmla="*/ 182 h 211"/>
                  <a:gd name="T76" fmla="*/ 33 w 121"/>
                  <a:gd name="T77" fmla="*/ 199 h 211"/>
                  <a:gd name="T78" fmla="*/ 33 w 121"/>
                  <a:gd name="T79" fmla="*/ 211 h 211"/>
                  <a:gd name="T80" fmla="*/ 41 w 121"/>
                  <a:gd name="T81" fmla="*/ 201 h 211"/>
                  <a:gd name="T82" fmla="*/ 56 w 121"/>
                  <a:gd name="T83" fmla="*/ 198 h 211"/>
                  <a:gd name="T84" fmla="*/ 75 w 121"/>
                  <a:gd name="T85" fmla="*/ 194 h 211"/>
                  <a:gd name="T86" fmla="*/ 114 w 121"/>
                  <a:gd name="T87" fmla="*/ 190 h 211"/>
                  <a:gd name="T88" fmla="*/ 106 w 121"/>
                  <a:gd name="T89" fmla="*/ 180 h 211"/>
                  <a:gd name="T90" fmla="*/ 119 w 121"/>
                  <a:gd name="T91" fmla="*/ 169 h 211"/>
                  <a:gd name="T92" fmla="*/ 112 w 121"/>
                  <a:gd name="T93" fmla="*/ 153 h 211"/>
                  <a:gd name="T94" fmla="*/ 100 w 121"/>
                  <a:gd name="T95" fmla="*/ 157 h 211"/>
                  <a:gd name="T96" fmla="*/ 98 w 121"/>
                  <a:gd name="T97" fmla="*/ 142 h 211"/>
                  <a:gd name="T98" fmla="*/ 102 w 121"/>
                  <a:gd name="T99" fmla="*/ 138 h 211"/>
                  <a:gd name="T100" fmla="*/ 83 w 121"/>
                  <a:gd name="T101" fmla="*/ 123 h 211"/>
                  <a:gd name="T102" fmla="*/ 69 w 121"/>
                  <a:gd name="T103" fmla="*/ 102 h 211"/>
                  <a:gd name="T104" fmla="*/ 60 w 121"/>
                  <a:gd name="T105" fmla="*/ 96 h 211"/>
                  <a:gd name="T106" fmla="*/ 66 w 121"/>
                  <a:gd name="T107" fmla="*/ 84 h 211"/>
                  <a:gd name="T108" fmla="*/ 71 w 121"/>
                  <a:gd name="T109" fmla="*/ 75 h 211"/>
                  <a:gd name="T110" fmla="*/ 66 w 121"/>
                  <a:gd name="T111" fmla="*/ 59 h 211"/>
                  <a:gd name="T112" fmla="*/ 45 w 121"/>
                  <a:gd name="T113" fmla="*/ 61 h 211"/>
                  <a:gd name="T114" fmla="*/ 54 w 121"/>
                  <a:gd name="T115" fmla="*/ 46 h 211"/>
                  <a:gd name="T116" fmla="*/ 52 w 121"/>
                  <a:gd name="T117" fmla="*/ 36 h 211"/>
                  <a:gd name="T118" fmla="*/ 79 w 121"/>
                  <a:gd name="T119" fmla="*/ 6 h 211"/>
                  <a:gd name="T120" fmla="*/ 85 w 121"/>
                  <a:gd name="T121" fmla="*/ 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1" h="211">
                    <a:moveTo>
                      <a:pt x="12" y="113"/>
                    </a:moveTo>
                    <a:lnTo>
                      <a:pt x="8" y="115"/>
                    </a:lnTo>
                    <a:lnTo>
                      <a:pt x="4" y="121"/>
                    </a:lnTo>
                    <a:lnTo>
                      <a:pt x="2" y="123"/>
                    </a:lnTo>
                    <a:lnTo>
                      <a:pt x="0" y="125"/>
                    </a:lnTo>
                    <a:lnTo>
                      <a:pt x="0" y="128"/>
                    </a:lnTo>
                    <a:lnTo>
                      <a:pt x="2" y="128"/>
                    </a:lnTo>
                    <a:lnTo>
                      <a:pt x="4" y="132"/>
                    </a:lnTo>
                    <a:lnTo>
                      <a:pt x="6" y="132"/>
                    </a:lnTo>
                    <a:lnTo>
                      <a:pt x="10" y="130"/>
                    </a:lnTo>
                    <a:lnTo>
                      <a:pt x="10" y="130"/>
                    </a:lnTo>
                    <a:lnTo>
                      <a:pt x="12" y="134"/>
                    </a:lnTo>
                    <a:lnTo>
                      <a:pt x="18" y="132"/>
                    </a:lnTo>
                    <a:lnTo>
                      <a:pt x="20" y="130"/>
                    </a:lnTo>
                    <a:lnTo>
                      <a:pt x="22" y="130"/>
                    </a:lnTo>
                    <a:lnTo>
                      <a:pt x="25" y="130"/>
                    </a:lnTo>
                    <a:lnTo>
                      <a:pt x="29" y="130"/>
                    </a:lnTo>
                    <a:lnTo>
                      <a:pt x="27" y="128"/>
                    </a:lnTo>
                    <a:lnTo>
                      <a:pt x="25" y="128"/>
                    </a:lnTo>
                    <a:lnTo>
                      <a:pt x="25" y="125"/>
                    </a:lnTo>
                    <a:lnTo>
                      <a:pt x="25" y="121"/>
                    </a:lnTo>
                    <a:lnTo>
                      <a:pt x="22" y="121"/>
                    </a:lnTo>
                    <a:lnTo>
                      <a:pt x="22" y="119"/>
                    </a:lnTo>
                    <a:lnTo>
                      <a:pt x="23" y="115"/>
                    </a:lnTo>
                    <a:lnTo>
                      <a:pt x="23" y="113"/>
                    </a:lnTo>
                    <a:lnTo>
                      <a:pt x="18" y="113"/>
                    </a:lnTo>
                    <a:lnTo>
                      <a:pt x="12" y="115"/>
                    </a:lnTo>
                    <a:lnTo>
                      <a:pt x="8" y="119"/>
                    </a:lnTo>
                    <a:lnTo>
                      <a:pt x="10" y="115"/>
                    </a:lnTo>
                    <a:lnTo>
                      <a:pt x="12" y="113"/>
                    </a:lnTo>
                    <a:close/>
                    <a:moveTo>
                      <a:pt x="23" y="92"/>
                    </a:moveTo>
                    <a:lnTo>
                      <a:pt x="22" y="96"/>
                    </a:lnTo>
                    <a:lnTo>
                      <a:pt x="23" y="98"/>
                    </a:lnTo>
                    <a:lnTo>
                      <a:pt x="25" y="94"/>
                    </a:lnTo>
                    <a:lnTo>
                      <a:pt x="23" y="92"/>
                    </a:lnTo>
                    <a:close/>
                    <a:moveTo>
                      <a:pt x="18" y="84"/>
                    </a:moveTo>
                    <a:lnTo>
                      <a:pt x="18" y="88"/>
                    </a:lnTo>
                    <a:lnTo>
                      <a:pt x="20" y="92"/>
                    </a:lnTo>
                    <a:lnTo>
                      <a:pt x="22" y="92"/>
                    </a:lnTo>
                    <a:lnTo>
                      <a:pt x="23" y="90"/>
                    </a:lnTo>
                    <a:lnTo>
                      <a:pt x="22" y="86"/>
                    </a:lnTo>
                    <a:lnTo>
                      <a:pt x="18" y="84"/>
                    </a:lnTo>
                    <a:close/>
                    <a:moveTo>
                      <a:pt x="2" y="65"/>
                    </a:moveTo>
                    <a:lnTo>
                      <a:pt x="2" y="67"/>
                    </a:lnTo>
                    <a:lnTo>
                      <a:pt x="4" y="69"/>
                    </a:lnTo>
                    <a:lnTo>
                      <a:pt x="4" y="67"/>
                    </a:lnTo>
                    <a:lnTo>
                      <a:pt x="6" y="67"/>
                    </a:lnTo>
                    <a:lnTo>
                      <a:pt x="4" y="65"/>
                    </a:lnTo>
                    <a:lnTo>
                      <a:pt x="2" y="65"/>
                    </a:lnTo>
                    <a:close/>
                    <a:moveTo>
                      <a:pt x="18" y="61"/>
                    </a:moveTo>
                    <a:lnTo>
                      <a:pt x="16" y="63"/>
                    </a:lnTo>
                    <a:lnTo>
                      <a:pt x="14" y="67"/>
                    </a:lnTo>
                    <a:lnTo>
                      <a:pt x="16" y="69"/>
                    </a:lnTo>
                    <a:lnTo>
                      <a:pt x="18" y="75"/>
                    </a:lnTo>
                    <a:lnTo>
                      <a:pt x="20" y="75"/>
                    </a:lnTo>
                    <a:lnTo>
                      <a:pt x="22" y="75"/>
                    </a:lnTo>
                    <a:lnTo>
                      <a:pt x="23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3" y="73"/>
                    </a:lnTo>
                    <a:lnTo>
                      <a:pt x="20" y="73"/>
                    </a:lnTo>
                    <a:lnTo>
                      <a:pt x="18" y="65"/>
                    </a:lnTo>
                    <a:lnTo>
                      <a:pt x="18" y="61"/>
                    </a:lnTo>
                    <a:close/>
                    <a:moveTo>
                      <a:pt x="18" y="40"/>
                    </a:moveTo>
                    <a:lnTo>
                      <a:pt x="14" y="44"/>
                    </a:lnTo>
                    <a:lnTo>
                      <a:pt x="10" y="52"/>
                    </a:lnTo>
                    <a:lnTo>
                      <a:pt x="10" y="57"/>
                    </a:lnTo>
                    <a:lnTo>
                      <a:pt x="12" y="59"/>
                    </a:lnTo>
                    <a:lnTo>
                      <a:pt x="16" y="56"/>
                    </a:lnTo>
                    <a:lnTo>
                      <a:pt x="20" y="48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0" y="40"/>
                    </a:lnTo>
                    <a:lnTo>
                      <a:pt x="18" y="40"/>
                    </a:lnTo>
                    <a:close/>
                    <a:moveTo>
                      <a:pt x="48" y="36"/>
                    </a:moveTo>
                    <a:lnTo>
                      <a:pt x="45" y="38"/>
                    </a:lnTo>
                    <a:lnTo>
                      <a:pt x="43" y="42"/>
                    </a:lnTo>
                    <a:lnTo>
                      <a:pt x="37" y="38"/>
                    </a:lnTo>
                    <a:lnTo>
                      <a:pt x="37" y="42"/>
                    </a:lnTo>
                    <a:lnTo>
                      <a:pt x="37" y="46"/>
                    </a:lnTo>
                    <a:lnTo>
                      <a:pt x="33" y="48"/>
                    </a:lnTo>
                    <a:lnTo>
                      <a:pt x="33" y="54"/>
                    </a:lnTo>
                    <a:lnTo>
                      <a:pt x="33" y="57"/>
                    </a:lnTo>
                    <a:lnTo>
                      <a:pt x="29" y="57"/>
                    </a:lnTo>
                    <a:lnTo>
                      <a:pt x="27" y="57"/>
                    </a:lnTo>
                    <a:lnTo>
                      <a:pt x="27" y="59"/>
                    </a:lnTo>
                    <a:lnTo>
                      <a:pt x="27" y="63"/>
                    </a:lnTo>
                    <a:lnTo>
                      <a:pt x="25" y="63"/>
                    </a:lnTo>
                    <a:lnTo>
                      <a:pt x="25" y="65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29" y="69"/>
                    </a:lnTo>
                    <a:lnTo>
                      <a:pt x="29" y="69"/>
                    </a:lnTo>
                    <a:lnTo>
                      <a:pt x="27" y="69"/>
                    </a:lnTo>
                    <a:lnTo>
                      <a:pt x="27" y="69"/>
                    </a:lnTo>
                    <a:lnTo>
                      <a:pt x="29" y="71"/>
                    </a:lnTo>
                    <a:lnTo>
                      <a:pt x="25" y="71"/>
                    </a:lnTo>
                    <a:lnTo>
                      <a:pt x="25" y="73"/>
                    </a:lnTo>
                    <a:lnTo>
                      <a:pt x="27" y="75"/>
                    </a:lnTo>
                    <a:lnTo>
                      <a:pt x="29" y="77"/>
                    </a:lnTo>
                    <a:lnTo>
                      <a:pt x="27" y="77"/>
                    </a:lnTo>
                    <a:lnTo>
                      <a:pt x="25" y="79"/>
                    </a:lnTo>
                    <a:lnTo>
                      <a:pt x="25" y="82"/>
                    </a:lnTo>
                    <a:lnTo>
                      <a:pt x="25" y="86"/>
                    </a:lnTo>
                    <a:lnTo>
                      <a:pt x="29" y="86"/>
                    </a:lnTo>
                    <a:lnTo>
                      <a:pt x="31" y="86"/>
                    </a:lnTo>
                    <a:lnTo>
                      <a:pt x="33" y="86"/>
                    </a:lnTo>
                    <a:lnTo>
                      <a:pt x="31" y="88"/>
                    </a:lnTo>
                    <a:lnTo>
                      <a:pt x="27" y="90"/>
                    </a:lnTo>
                    <a:lnTo>
                      <a:pt x="27" y="94"/>
                    </a:lnTo>
                    <a:lnTo>
                      <a:pt x="27" y="100"/>
                    </a:lnTo>
                    <a:lnTo>
                      <a:pt x="29" y="98"/>
                    </a:lnTo>
                    <a:lnTo>
                      <a:pt x="31" y="94"/>
                    </a:lnTo>
                    <a:lnTo>
                      <a:pt x="35" y="94"/>
                    </a:lnTo>
                    <a:lnTo>
                      <a:pt x="37" y="94"/>
                    </a:lnTo>
                    <a:lnTo>
                      <a:pt x="37" y="98"/>
                    </a:lnTo>
                    <a:lnTo>
                      <a:pt x="35" y="105"/>
                    </a:lnTo>
                    <a:lnTo>
                      <a:pt x="33" y="119"/>
                    </a:lnTo>
                    <a:lnTo>
                      <a:pt x="43" y="119"/>
                    </a:lnTo>
                    <a:lnTo>
                      <a:pt x="58" y="117"/>
                    </a:lnTo>
                    <a:lnTo>
                      <a:pt x="54" y="121"/>
                    </a:lnTo>
                    <a:lnTo>
                      <a:pt x="52" y="127"/>
                    </a:lnTo>
                    <a:lnTo>
                      <a:pt x="56" y="127"/>
                    </a:lnTo>
                    <a:lnTo>
                      <a:pt x="64" y="128"/>
                    </a:lnTo>
                    <a:lnTo>
                      <a:pt x="62" y="138"/>
                    </a:lnTo>
                    <a:lnTo>
                      <a:pt x="58" y="144"/>
                    </a:lnTo>
                    <a:lnTo>
                      <a:pt x="52" y="144"/>
                    </a:lnTo>
                    <a:lnTo>
                      <a:pt x="41" y="142"/>
                    </a:lnTo>
                    <a:lnTo>
                      <a:pt x="41" y="144"/>
                    </a:lnTo>
                    <a:lnTo>
                      <a:pt x="41" y="148"/>
                    </a:lnTo>
                    <a:lnTo>
                      <a:pt x="43" y="148"/>
                    </a:lnTo>
                    <a:lnTo>
                      <a:pt x="45" y="150"/>
                    </a:lnTo>
                    <a:lnTo>
                      <a:pt x="41" y="153"/>
                    </a:lnTo>
                    <a:lnTo>
                      <a:pt x="37" y="159"/>
                    </a:lnTo>
                    <a:lnTo>
                      <a:pt x="41" y="157"/>
                    </a:lnTo>
                    <a:lnTo>
                      <a:pt x="45" y="157"/>
                    </a:lnTo>
                    <a:lnTo>
                      <a:pt x="45" y="161"/>
                    </a:lnTo>
                    <a:lnTo>
                      <a:pt x="45" y="165"/>
                    </a:lnTo>
                    <a:lnTo>
                      <a:pt x="37" y="169"/>
                    </a:lnTo>
                    <a:lnTo>
                      <a:pt x="31" y="173"/>
                    </a:lnTo>
                    <a:lnTo>
                      <a:pt x="33" y="178"/>
                    </a:lnTo>
                    <a:lnTo>
                      <a:pt x="33" y="180"/>
                    </a:lnTo>
                    <a:lnTo>
                      <a:pt x="37" y="180"/>
                    </a:lnTo>
                    <a:lnTo>
                      <a:pt x="43" y="176"/>
                    </a:lnTo>
                    <a:lnTo>
                      <a:pt x="43" y="178"/>
                    </a:lnTo>
                    <a:lnTo>
                      <a:pt x="43" y="182"/>
                    </a:lnTo>
                    <a:lnTo>
                      <a:pt x="48" y="180"/>
                    </a:lnTo>
                    <a:lnTo>
                      <a:pt x="54" y="180"/>
                    </a:lnTo>
                    <a:lnTo>
                      <a:pt x="56" y="180"/>
                    </a:lnTo>
                    <a:lnTo>
                      <a:pt x="58" y="178"/>
                    </a:lnTo>
                    <a:lnTo>
                      <a:pt x="66" y="178"/>
                    </a:lnTo>
                    <a:lnTo>
                      <a:pt x="62" y="182"/>
                    </a:lnTo>
                    <a:lnTo>
                      <a:pt x="62" y="186"/>
                    </a:lnTo>
                    <a:lnTo>
                      <a:pt x="41" y="186"/>
                    </a:lnTo>
                    <a:lnTo>
                      <a:pt x="37" y="194"/>
                    </a:lnTo>
                    <a:lnTo>
                      <a:pt x="33" y="199"/>
                    </a:lnTo>
                    <a:lnTo>
                      <a:pt x="27" y="205"/>
                    </a:lnTo>
                    <a:lnTo>
                      <a:pt x="22" y="209"/>
                    </a:lnTo>
                    <a:lnTo>
                      <a:pt x="27" y="211"/>
                    </a:lnTo>
                    <a:lnTo>
                      <a:pt x="33" y="211"/>
                    </a:lnTo>
                    <a:lnTo>
                      <a:pt x="33" y="207"/>
                    </a:lnTo>
                    <a:lnTo>
                      <a:pt x="33" y="205"/>
                    </a:lnTo>
                    <a:lnTo>
                      <a:pt x="37" y="203"/>
                    </a:lnTo>
                    <a:lnTo>
                      <a:pt x="41" y="201"/>
                    </a:lnTo>
                    <a:lnTo>
                      <a:pt x="46" y="201"/>
                    </a:lnTo>
                    <a:lnTo>
                      <a:pt x="52" y="203"/>
                    </a:lnTo>
                    <a:lnTo>
                      <a:pt x="54" y="199"/>
                    </a:lnTo>
                    <a:lnTo>
                      <a:pt x="56" y="198"/>
                    </a:lnTo>
                    <a:lnTo>
                      <a:pt x="64" y="198"/>
                    </a:lnTo>
                    <a:lnTo>
                      <a:pt x="71" y="199"/>
                    </a:lnTo>
                    <a:lnTo>
                      <a:pt x="73" y="196"/>
                    </a:lnTo>
                    <a:lnTo>
                      <a:pt x="75" y="194"/>
                    </a:lnTo>
                    <a:lnTo>
                      <a:pt x="89" y="194"/>
                    </a:lnTo>
                    <a:lnTo>
                      <a:pt x="102" y="196"/>
                    </a:lnTo>
                    <a:lnTo>
                      <a:pt x="108" y="194"/>
                    </a:lnTo>
                    <a:lnTo>
                      <a:pt x="114" y="190"/>
                    </a:lnTo>
                    <a:lnTo>
                      <a:pt x="114" y="186"/>
                    </a:lnTo>
                    <a:lnTo>
                      <a:pt x="108" y="186"/>
                    </a:lnTo>
                    <a:lnTo>
                      <a:pt x="104" y="186"/>
                    </a:lnTo>
                    <a:lnTo>
                      <a:pt x="106" y="180"/>
                    </a:lnTo>
                    <a:lnTo>
                      <a:pt x="108" y="176"/>
                    </a:lnTo>
                    <a:lnTo>
                      <a:pt x="114" y="176"/>
                    </a:lnTo>
                    <a:lnTo>
                      <a:pt x="117" y="175"/>
                    </a:lnTo>
                    <a:lnTo>
                      <a:pt x="119" y="169"/>
                    </a:lnTo>
                    <a:lnTo>
                      <a:pt x="121" y="161"/>
                    </a:lnTo>
                    <a:lnTo>
                      <a:pt x="119" y="157"/>
                    </a:lnTo>
                    <a:lnTo>
                      <a:pt x="117" y="155"/>
                    </a:lnTo>
                    <a:lnTo>
                      <a:pt x="112" y="153"/>
                    </a:lnTo>
                    <a:lnTo>
                      <a:pt x="108" y="153"/>
                    </a:lnTo>
                    <a:lnTo>
                      <a:pt x="106" y="159"/>
                    </a:lnTo>
                    <a:lnTo>
                      <a:pt x="104" y="157"/>
                    </a:lnTo>
                    <a:lnTo>
                      <a:pt x="100" y="157"/>
                    </a:lnTo>
                    <a:lnTo>
                      <a:pt x="100" y="151"/>
                    </a:lnTo>
                    <a:lnTo>
                      <a:pt x="102" y="146"/>
                    </a:lnTo>
                    <a:lnTo>
                      <a:pt x="98" y="144"/>
                    </a:lnTo>
                    <a:lnTo>
                      <a:pt x="98" y="142"/>
                    </a:lnTo>
                    <a:lnTo>
                      <a:pt x="100" y="142"/>
                    </a:lnTo>
                    <a:lnTo>
                      <a:pt x="102" y="142"/>
                    </a:lnTo>
                    <a:lnTo>
                      <a:pt x="102" y="140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3" y="130"/>
                    </a:lnTo>
                    <a:lnTo>
                      <a:pt x="87" y="123"/>
                    </a:lnTo>
                    <a:lnTo>
                      <a:pt x="83" y="123"/>
                    </a:lnTo>
                    <a:lnTo>
                      <a:pt x="81" y="121"/>
                    </a:lnTo>
                    <a:lnTo>
                      <a:pt x="77" y="111"/>
                    </a:lnTo>
                    <a:lnTo>
                      <a:pt x="73" y="102"/>
                    </a:lnTo>
                    <a:lnTo>
                      <a:pt x="69" y="102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62" y="92"/>
                    </a:lnTo>
                    <a:lnTo>
                      <a:pt x="64" y="88"/>
                    </a:lnTo>
                    <a:lnTo>
                      <a:pt x="66" y="86"/>
                    </a:lnTo>
                    <a:lnTo>
                      <a:pt x="66" y="84"/>
                    </a:lnTo>
                    <a:lnTo>
                      <a:pt x="64" y="84"/>
                    </a:lnTo>
                    <a:lnTo>
                      <a:pt x="62" y="82"/>
                    </a:lnTo>
                    <a:lnTo>
                      <a:pt x="66" y="79"/>
                    </a:lnTo>
                    <a:lnTo>
                      <a:pt x="71" y="75"/>
                    </a:lnTo>
                    <a:lnTo>
                      <a:pt x="73" y="67"/>
                    </a:lnTo>
                    <a:lnTo>
                      <a:pt x="73" y="61"/>
                    </a:lnTo>
                    <a:lnTo>
                      <a:pt x="69" y="59"/>
                    </a:lnTo>
                    <a:lnTo>
                      <a:pt x="66" y="59"/>
                    </a:lnTo>
                    <a:lnTo>
                      <a:pt x="56" y="61"/>
                    </a:lnTo>
                    <a:lnTo>
                      <a:pt x="48" y="63"/>
                    </a:lnTo>
                    <a:lnTo>
                      <a:pt x="46" y="61"/>
                    </a:lnTo>
                    <a:lnTo>
                      <a:pt x="45" y="61"/>
                    </a:lnTo>
                    <a:lnTo>
                      <a:pt x="45" y="57"/>
                    </a:lnTo>
                    <a:lnTo>
                      <a:pt x="46" y="54"/>
                    </a:lnTo>
                    <a:lnTo>
                      <a:pt x="50" y="52"/>
                    </a:lnTo>
                    <a:lnTo>
                      <a:pt x="54" y="46"/>
                    </a:lnTo>
                    <a:lnTo>
                      <a:pt x="58" y="46"/>
                    </a:lnTo>
                    <a:lnTo>
                      <a:pt x="58" y="40"/>
                    </a:lnTo>
                    <a:lnTo>
                      <a:pt x="56" y="38"/>
                    </a:lnTo>
                    <a:lnTo>
                      <a:pt x="52" y="36"/>
                    </a:lnTo>
                    <a:lnTo>
                      <a:pt x="48" y="36"/>
                    </a:lnTo>
                    <a:close/>
                    <a:moveTo>
                      <a:pt x="85" y="0"/>
                    </a:moveTo>
                    <a:lnTo>
                      <a:pt x="81" y="4"/>
                    </a:lnTo>
                    <a:lnTo>
                      <a:pt x="79" y="6"/>
                    </a:lnTo>
                    <a:lnTo>
                      <a:pt x="81" y="9"/>
                    </a:lnTo>
                    <a:lnTo>
                      <a:pt x="85" y="13"/>
                    </a:lnTo>
                    <a:lnTo>
                      <a:pt x="85" y="4"/>
                    </a:lnTo>
                    <a:lnTo>
                      <a:pt x="8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29" name="Freeform 27"/>
              <p:cNvSpPr>
                <a:spLocks/>
              </p:cNvSpPr>
              <p:nvPr/>
            </p:nvSpPr>
            <p:spPr bwMode="gray">
              <a:xfrm>
                <a:off x="5338571" y="3814764"/>
                <a:ext cx="106351" cy="69850"/>
              </a:xfrm>
              <a:custGeom>
                <a:avLst/>
                <a:gdLst>
                  <a:gd name="T0" fmla="*/ 0 w 67"/>
                  <a:gd name="T1" fmla="*/ 12 h 44"/>
                  <a:gd name="T2" fmla="*/ 0 w 67"/>
                  <a:gd name="T3" fmla="*/ 18 h 44"/>
                  <a:gd name="T4" fmla="*/ 5 w 67"/>
                  <a:gd name="T5" fmla="*/ 25 h 44"/>
                  <a:gd name="T6" fmla="*/ 7 w 67"/>
                  <a:gd name="T7" fmla="*/ 37 h 44"/>
                  <a:gd name="T8" fmla="*/ 26 w 67"/>
                  <a:gd name="T9" fmla="*/ 41 h 44"/>
                  <a:gd name="T10" fmla="*/ 48 w 67"/>
                  <a:gd name="T11" fmla="*/ 44 h 44"/>
                  <a:gd name="T12" fmla="*/ 51 w 67"/>
                  <a:gd name="T13" fmla="*/ 44 h 44"/>
                  <a:gd name="T14" fmla="*/ 51 w 67"/>
                  <a:gd name="T15" fmla="*/ 44 h 44"/>
                  <a:gd name="T16" fmla="*/ 51 w 67"/>
                  <a:gd name="T17" fmla="*/ 41 h 44"/>
                  <a:gd name="T18" fmla="*/ 55 w 67"/>
                  <a:gd name="T19" fmla="*/ 35 h 44"/>
                  <a:gd name="T20" fmla="*/ 57 w 67"/>
                  <a:gd name="T21" fmla="*/ 27 h 44"/>
                  <a:gd name="T22" fmla="*/ 55 w 67"/>
                  <a:gd name="T23" fmla="*/ 25 h 44"/>
                  <a:gd name="T24" fmla="*/ 55 w 67"/>
                  <a:gd name="T25" fmla="*/ 25 h 44"/>
                  <a:gd name="T26" fmla="*/ 53 w 67"/>
                  <a:gd name="T27" fmla="*/ 23 h 44"/>
                  <a:gd name="T28" fmla="*/ 55 w 67"/>
                  <a:gd name="T29" fmla="*/ 23 h 44"/>
                  <a:gd name="T30" fmla="*/ 55 w 67"/>
                  <a:gd name="T31" fmla="*/ 21 h 44"/>
                  <a:gd name="T32" fmla="*/ 59 w 67"/>
                  <a:gd name="T33" fmla="*/ 19 h 44"/>
                  <a:gd name="T34" fmla="*/ 59 w 67"/>
                  <a:gd name="T35" fmla="*/ 18 h 44"/>
                  <a:gd name="T36" fmla="*/ 59 w 67"/>
                  <a:gd name="T37" fmla="*/ 18 h 44"/>
                  <a:gd name="T38" fmla="*/ 57 w 67"/>
                  <a:gd name="T39" fmla="*/ 14 h 44"/>
                  <a:gd name="T40" fmla="*/ 59 w 67"/>
                  <a:gd name="T41" fmla="*/ 14 h 44"/>
                  <a:gd name="T42" fmla="*/ 63 w 67"/>
                  <a:gd name="T43" fmla="*/ 14 h 44"/>
                  <a:gd name="T44" fmla="*/ 65 w 67"/>
                  <a:gd name="T45" fmla="*/ 12 h 44"/>
                  <a:gd name="T46" fmla="*/ 67 w 67"/>
                  <a:gd name="T47" fmla="*/ 10 h 44"/>
                  <a:gd name="T48" fmla="*/ 65 w 67"/>
                  <a:gd name="T49" fmla="*/ 8 h 44"/>
                  <a:gd name="T50" fmla="*/ 61 w 67"/>
                  <a:gd name="T51" fmla="*/ 6 h 44"/>
                  <a:gd name="T52" fmla="*/ 61 w 67"/>
                  <a:gd name="T53" fmla="*/ 0 h 44"/>
                  <a:gd name="T54" fmla="*/ 57 w 67"/>
                  <a:gd name="T55" fmla="*/ 0 h 44"/>
                  <a:gd name="T56" fmla="*/ 53 w 67"/>
                  <a:gd name="T57" fmla="*/ 6 h 44"/>
                  <a:gd name="T58" fmla="*/ 49 w 67"/>
                  <a:gd name="T59" fmla="*/ 10 h 44"/>
                  <a:gd name="T60" fmla="*/ 44 w 67"/>
                  <a:gd name="T61" fmla="*/ 16 h 44"/>
                  <a:gd name="T62" fmla="*/ 36 w 67"/>
                  <a:gd name="T63" fmla="*/ 19 h 44"/>
                  <a:gd name="T64" fmla="*/ 34 w 67"/>
                  <a:gd name="T65" fmla="*/ 23 h 44"/>
                  <a:gd name="T66" fmla="*/ 28 w 67"/>
                  <a:gd name="T67" fmla="*/ 21 h 44"/>
                  <a:gd name="T68" fmla="*/ 25 w 67"/>
                  <a:gd name="T69" fmla="*/ 19 h 44"/>
                  <a:gd name="T70" fmla="*/ 15 w 67"/>
                  <a:gd name="T71" fmla="*/ 21 h 44"/>
                  <a:gd name="T72" fmla="*/ 3 w 67"/>
                  <a:gd name="T73" fmla="*/ 19 h 44"/>
                  <a:gd name="T74" fmla="*/ 3 w 67"/>
                  <a:gd name="T75" fmla="*/ 16 h 44"/>
                  <a:gd name="T76" fmla="*/ 3 w 67"/>
                  <a:gd name="T77" fmla="*/ 14 h 44"/>
                  <a:gd name="T78" fmla="*/ 0 w 67"/>
                  <a:gd name="T79" fmla="*/ 1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7" h="44">
                    <a:moveTo>
                      <a:pt x="0" y="12"/>
                    </a:moveTo>
                    <a:lnTo>
                      <a:pt x="0" y="18"/>
                    </a:lnTo>
                    <a:lnTo>
                      <a:pt x="5" y="25"/>
                    </a:lnTo>
                    <a:lnTo>
                      <a:pt x="7" y="37"/>
                    </a:lnTo>
                    <a:lnTo>
                      <a:pt x="26" y="41"/>
                    </a:lnTo>
                    <a:lnTo>
                      <a:pt x="48" y="44"/>
                    </a:lnTo>
                    <a:lnTo>
                      <a:pt x="51" y="44"/>
                    </a:lnTo>
                    <a:lnTo>
                      <a:pt x="51" y="44"/>
                    </a:lnTo>
                    <a:lnTo>
                      <a:pt x="51" y="41"/>
                    </a:lnTo>
                    <a:lnTo>
                      <a:pt x="55" y="35"/>
                    </a:lnTo>
                    <a:lnTo>
                      <a:pt x="57" y="27"/>
                    </a:lnTo>
                    <a:lnTo>
                      <a:pt x="55" y="25"/>
                    </a:lnTo>
                    <a:lnTo>
                      <a:pt x="55" y="25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5" y="21"/>
                    </a:lnTo>
                    <a:lnTo>
                      <a:pt x="59" y="19"/>
                    </a:lnTo>
                    <a:lnTo>
                      <a:pt x="59" y="18"/>
                    </a:lnTo>
                    <a:lnTo>
                      <a:pt x="59" y="18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63" y="14"/>
                    </a:lnTo>
                    <a:lnTo>
                      <a:pt x="65" y="12"/>
                    </a:lnTo>
                    <a:lnTo>
                      <a:pt x="67" y="10"/>
                    </a:lnTo>
                    <a:lnTo>
                      <a:pt x="65" y="8"/>
                    </a:lnTo>
                    <a:lnTo>
                      <a:pt x="61" y="6"/>
                    </a:lnTo>
                    <a:lnTo>
                      <a:pt x="61" y="0"/>
                    </a:lnTo>
                    <a:lnTo>
                      <a:pt x="57" y="0"/>
                    </a:lnTo>
                    <a:lnTo>
                      <a:pt x="53" y="6"/>
                    </a:lnTo>
                    <a:lnTo>
                      <a:pt x="49" y="10"/>
                    </a:lnTo>
                    <a:lnTo>
                      <a:pt x="44" y="16"/>
                    </a:lnTo>
                    <a:lnTo>
                      <a:pt x="36" y="19"/>
                    </a:lnTo>
                    <a:lnTo>
                      <a:pt x="34" y="23"/>
                    </a:lnTo>
                    <a:lnTo>
                      <a:pt x="28" y="21"/>
                    </a:lnTo>
                    <a:lnTo>
                      <a:pt x="25" y="19"/>
                    </a:lnTo>
                    <a:lnTo>
                      <a:pt x="15" y="21"/>
                    </a:lnTo>
                    <a:lnTo>
                      <a:pt x="3" y="19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0" name="Freeform 28"/>
              <p:cNvSpPr>
                <a:spLocks noEditPoints="1"/>
              </p:cNvSpPr>
              <p:nvPr/>
            </p:nvSpPr>
            <p:spPr bwMode="gray">
              <a:xfrm>
                <a:off x="4792532" y="3078164"/>
                <a:ext cx="320639" cy="239713"/>
              </a:xfrm>
              <a:custGeom>
                <a:avLst/>
                <a:gdLst>
                  <a:gd name="T0" fmla="*/ 79 w 202"/>
                  <a:gd name="T1" fmla="*/ 113 h 151"/>
                  <a:gd name="T2" fmla="*/ 69 w 202"/>
                  <a:gd name="T3" fmla="*/ 126 h 151"/>
                  <a:gd name="T4" fmla="*/ 71 w 202"/>
                  <a:gd name="T5" fmla="*/ 132 h 151"/>
                  <a:gd name="T6" fmla="*/ 79 w 202"/>
                  <a:gd name="T7" fmla="*/ 128 h 151"/>
                  <a:gd name="T8" fmla="*/ 88 w 202"/>
                  <a:gd name="T9" fmla="*/ 117 h 151"/>
                  <a:gd name="T10" fmla="*/ 196 w 202"/>
                  <a:gd name="T11" fmla="*/ 90 h 151"/>
                  <a:gd name="T12" fmla="*/ 198 w 202"/>
                  <a:gd name="T13" fmla="*/ 73 h 151"/>
                  <a:gd name="T14" fmla="*/ 194 w 202"/>
                  <a:gd name="T15" fmla="*/ 59 h 151"/>
                  <a:gd name="T16" fmla="*/ 196 w 202"/>
                  <a:gd name="T17" fmla="*/ 50 h 151"/>
                  <a:gd name="T18" fmla="*/ 184 w 202"/>
                  <a:gd name="T19" fmla="*/ 40 h 151"/>
                  <a:gd name="T20" fmla="*/ 175 w 202"/>
                  <a:gd name="T21" fmla="*/ 34 h 151"/>
                  <a:gd name="T22" fmla="*/ 161 w 202"/>
                  <a:gd name="T23" fmla="*/ 38 h 151"/>
                  <a:gd name="T24" fmla="*/ 156 w 202"/>
                  <a:gd name="T25" fmla="*/ 31 h 151"/>
                  <a:gd name="T26" fmla="*/ 150 w 202"/>
                  <a:gd name="T27" fmla="*/ 25 h 151"/>
                  <a:gd name="T28" fmla="*/ 134 w 202"/>
                  <a:gd name="T29" fmla="*/ 21 h 151"/>
                  <a:gd name="T30" fmla="*/ 125 w 202"/>
                  <a:gd name="T31" fmla="*/ 11 h 151"/>
                  <a:gd name="T32" fmla="*/ 119 w 202"/>
                  <a:gd name="T33" fmla="*/ 2 h 151"/>
                  <a:gd name="T34" fmla="*/ 108 w 202"/>
                  <a:gd name="T35" fmla="*/ 4 h 151"/>
                  <a:gd name="T36" fmla="*/ 102 w 202"/>
                  <a:gd name="T37" fmla="*/ 0 h 151"/>
                  <a:gd name="T38" fmla="*/ 94 w 202"/>
                  <a:gd name="T39" fmla="*/ 8 h 151"/>
                  <a:gd name="T40" fmla="*/ 85 w 202"/>
                  <a:gd name="T41" fmla="*/ 9 h 151"/>
                  <a:gd name="T42" fmla="*/ 71 w 202"/>
                  <a:gd name="T43" fmla="*/ 8 h 151"/>
                  <a:gd name="T44" fmla="*/ 65 w 202"/>
                  <a:gd name="T45" fmla="*/ 8 h 151"/>
                  <a:gd name="T46" fmla="*/ 50 w 202"/>
                  <a:gd name="T47" fmla="*/ 8 h 151"/>
                  <a:gd name="T48" fmla="*/ 27 w 202"/>
                  <a:gd name="T49" fmla="*/ 6 h 151"/>
                  <a:gd name="T50" fmla="*/ 23 w 202"/>
                  <a:gd name="T51" fmla="*/ 9 h 151"/>
                  <a:gd name="T52" fmla="*/ 17 w 202"/>
                  <a:gd name="T53" fmla="*/ 15 h 151"/>
                  <a:gd name="T54" fmla="*/ 14 w 202"/>
                  <a:gd name="T55" fmla="*/ 29 h 151"/>
                  <a:gd name="T56" fmla="*/ 15 w 202"/>
                  <a:gd name="T57" fmla="*/ 48 h 151"/>
                  <a:gd name="T58" fmla="*/ 14 w 202"/>
                  <a:gd name="T59" fmla="*/ 63 h 151"/>
                  <a:gd name="T60" fmla="*/ 0 w 202"/>
                  <a:gd name="T61" fmla="*/ 77 h 151"/>
                  <a:gd name="T62" fmla="*/ 14 w 202"/>
                  <a:gd name="T63" fmla="*/ 82 h 151"/>
                  <a:gd name="T64" fmla="*/ 27 w 202"/>
                  <a:gd name="T65" fmla="*/ 86 h 151"/>
                  <a:gd name="T66" fmla="*/ 38 w 202"/>
                  <a:gd name="T67" fmla="*/ 79 h 151"/>
                  <a:gd name="T68" fmla="*/ 50 w 202"/>
                  <a:gd name="T69" fmla="*/ 69 h 151"/>
                  <a:gd name="T70" fmla="*/ 63 w 202"/>
                  <a:gd name="T71" fmla="*/ 75 h 151"/>
                  <a:gd name="T72" fmla="*/ 73 w 202"/>
                  <a:gd name="T73" fmla="*/ 86 h 151"/>
                  <a:gd name="T74" fmla="*/ 79 w 202"/>
                  <a:gd name="T75" fmla="*/ 100 h 151"/>
                  <a:gd name="T76" fmla="*/ 92 w 202"/>
                  <a:gd name="T77" fmla="*/ 113 h 151"/>
                  <a:gd name="T78" fmla="*/ 109 w 202"/>
                  <a:gd name="T79" fmla="*/ 113 h 151"/>
                  <a:gd name="T80" fmla="*/ 117 w 202"/>
                  <a:gd name="T81" fmla="*/ 123 h 151"/>
                  <a:gd name="T82" fmla="*/ 131 w 202"/>
                  <a:gd name="T83" fmla="*/ 121 h 151"/>
                  <a:gd name="T84" fmla="*/ 127 w 202"/>
                  <a:gd name="T85" fmla="*/ 126 h 151"/>
                  <a:gd name="T86" fmla="*/ 119 w 202"/>
                  <a:gd name="T87" fmla="*/ 136 h 151"/>
                  <a:gd name="T88" fmla="*/ 129 w 202"/>
                  <a:gd name="T89" fmla="*/ 142 h 151"/>
                  <a:gd name="T90" fmla="*/ 144 w 202"/>
                  <a:gd name="T91" fmla="*/ 146 h 151"/>
                  <a:gd name="T92" fmla="*/ 142 w 202"/>
                  <a:gd name="T93" fmla="*/ 132 h 151"/>
                  <a:gd name="T94" fmla="*/ 138 w 202"/>
                  <a:gd name="T95" fmla="*/ 126 h 151"/>
                  <a:gd name="T96" fmla="*/ 150 w 202"/>
                  <a:gd name="T97" fmla="*/ 119 h 151"/>
                  <a:gd name="T98" fmla="*/ 173 w 202"/>
                  <a:gd name="T99" fmla="*/ 107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02" h="151">
                    <a:moveTo>
                      <a:pt x="88" y="117"/>
                    </a:moveTo>
                    <a:lnTo>
                      <a:pt x="85" y="115"/>
                    </a:lnTo>
                    <a:lnTo>
                      <a:pt x="83" y="115"/>
                    </a:lnTo>
                    <a:lnTo>
                      <a:pt x="79" y="113"/>
                    </a:lnTo>
                    <a:lnTo>
                      <a:pt x="77" y="113"/>
                    </a:lnTo>
                    <a:lnTo>
                      <a:pt x="73" y="117"/>
                    </a:lnTo>
                    <a:lnTo>
                      <a:pt x="71" y="121"/>
                    </a:lnTo>
                    <a:lnTo>
                      <a:pt x="69" y="126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9" y="130"/>
                    </a:lnTo>
                    <a:lnTo>
                      <a:pt x="71" y="132"/>
                    </a:lnTo>
                    <a:lnTo>
                      <a:pt x="73" y="130"/>
                    </a:lnTo>
                    <a:lnTo>
                      <a:pt x="75" y="130"/>
                    </a:lnTo>
                    <a:lnTo>
                      <a:pt x="79" y="130"/>
                    </a:lnTo>
                    <a:lnTo>
                      <a:pt x="79" y="128"/>
                    </a:lnTo>
                    <a:lnTo>
                      <a:pt x="83" y="126"/>
                    </a:lnTo>
                    <a:lnTo>
                      <a:pt x="85" y="125"/>
                    </a:lnTo>
                    <a:lnTo>
                      <a:pt x="86" y="123"/>
                    </a:lnTo>
                    <a:lnTo>
                      <a:pt x="88" y="117"/>
                    </a:lnTo>
                    <a:close/>
                    <a:moveTo>
                      <a:pt x="184" y="103"/>
                    </a:moveTo>
                    <a:lnTo>
                      <a:pt x="186" y="96"/>
                    </a:lnTo>
                    <a:lnTo>
                      <a:pt x="190" y="90"/>
                    </a:lnTo>
                    <a:lnTo>
                      <a:pt x="196" y="90"/>
                    </a:lnTo>
                    <a:lnTo>
                      <a:pt x="202" y="88"/>
                    </a:lnTo>
                    <a:lnTo>
                      <a:pt x="200" y="82"/>
                    </a:lnTo>
                    <a:lnTo>
                      <a:pt x="198" y="75"/>
                    </a:lnTo>
                    <a:lnTo>
                      <a:pt x="198" y="73"/>
                    </a:lnTo>
                    <a:lnTo>
                      <a:pt x="198" y="71"/>
                    </a:lnTo>
                    <a:lnTo>
                      <a:pt x="198" y="65"/>
                    </a:lnTo>
                    <a:lnTo>
                      <a:pt x="194" y="61"/>
                    </a:lnTo>
                    <a:lnTo>
                      <a:pt x="194" y="59"/>
                    </a:lnTo>
                    <a:lnTo>
                      <a:pt x="198" y="55"/>
                    </a:lnTo>
                    <a:lnTo>
                      <a:pt x="198" y="54"/>
                    </a:lnTo>
                    <a:lnTo>
                      <a:pt x="196" y="54"/>
                    </a:lnTo>
                    <a:lnTo>
                      <a:pt x="196" y="50"/>
                    </a:lnTo>
                    <a:lnTo>
                      <a:pt x="194" y="46"/>
                    </a:lnTo>
                    <a:lnTo>
                      <a:pt x="192" y="44"/>
                    </a:lnTo>
                    <a:lnTo>
                      <a:pt x="188" y="42"/>
                    </a:lnTo>
                    <a:lnTo>
                      <a:pt x="184" y="40"/>
                    </a:lnTo>
                    <a:lnTo>
                      <a:pt x="180" y="38"/>
                    </a:lnTo>
                    <a:lnTo>
                      <a:pt x="179" y="38"/>
                    </a:lnTo>
                    <a:lnTo>
                      <a:pt x="179" y="36"/>
                    </a:lnTo>
                    <a:lnTo>
                      <a:pt x="175" y="34"/>
                    </a:lnTo>
                    <a:lnTo>
                      <a:pt x="173" y="34"/>
                    </a:lnTo>
                    <a:lnTo>
                      <a:pt x="171" y="34"/>
                    </a:lnTo>
                    <a:lnTo>
                      <a:pt x="167" y="36"/>
                    </a:lnTo>
                    <a:lnTo>
                      <a:pt x="161" y="38"/>
                    </a:lnTo>
                    <a:lnTo>
                      <a:pt x="159" y="38"/>
                    </a:lnTo>
                    <a:lnTo>
                      <a:pt x="159" y="34"/>
                    </a:lnTo>
                    <a:lnTo>
                      <a:pt x="156" y="31"/>
                    </a:lnTo>
                    <a:lnTo>
                      <a:pt x="156" y="31"/>
                    </a:lnTo>
                    <a:lnTo>
                      <a:pt x="154" y="31"/>
                    </a:lnTo>
                    <a:lnTo>
                      <a:pt x="154" y="29"/>
                    </a:lnTo>
                    <a:lnTo>
                      <a:pt x="152" y="29"/>
                    </a:lnTo>
                    <a:lnTo>
                      <a:pt x="150" y="25"/>
                    </a:lnTo>
                    <a:lnTo>
                      <a:pt x="146" y="23"/>
                    </a:lnTo>
                    <a:lnTo>
                      <a:pt x="142" y="23"/>
                    </a:lnTo>
                    <a:lnTo>
                      <a:pt x="138" y="21"/>
                    </a:lnTo>
                    <a:lnTo>
                      <a:pt x="134" y="21"/>
                    </a:lnTo>
                    <a:lnTo>
                      <a:pt x="131" y="21"/>
                    </a:lnTo>
                    <a:lnTo>
                      <a:pt x="127" y="17"/>
                    </a:lnTo>
                    <a:lnTo>
                      <a:pt x="127" y="15"/>
                    </a:lnTo>
                    <a:lnTo>
                      <a:pt x="125" y="11"/>
                    </a:lnTo>
                    <a:lnTo>
                      <a:pt x="123" y="9"/>
                    </a:lnTo>
                    <a:lnTo>
                      <a:pt x="123" y="8"/>
                    </a:lnTo>
                    <a:lnTo>
                      <a:pt x="121" y="4"/>
                    </a:lnTo>
                    <a:lnTo>
                      <a:pt x="119" y="2"/>
                    </a:lnTo>
                    <a:lnTo>
                      <a:pt x="115" y="2"/>
                    </a:lnTo>
                    <a:lnTo>
                      <a:pt x="113" y="0"/>
                    </a:lnTo>
                    <a:lnTo>
                      <a:pt x="109" y="2"/>
                    </a:lnTo>
                    <a:lnTo>
                      <a:pt x="108" y="4"/>
                    </a:lnTo>
                    <a:lnTo>
                      <a:pt x="106" y="4"/>
                    </a:lnTo>
                    <a:lnTo>
                      <a:pt x="104" y="2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98" y="0"/>
                    </a:lnTo>
                    <a:lnTo>
                      <a:pt x="96" y="2"/>
                    </a:lnTo>
                    <a:lnTo>
                      <a:pt x="94" y="4"/>
                    </a:lnTo>
                    <a:lnTo>
                      <a:pt x="94" y="8"/>
                    </a:lnTo>
                    <a:lnTo>
                      <a:pt x="94" y="9"/>
                    </a:lnTo>
                    <a:lnTo>
                      <a:pt x="92" y="9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81" y="9"/>
                    </a:lnTo>
                    <a:lnTo>
                      <a:pt x="77" y="8"/>
                    </a:lnTo>
                    <a:lnTo>
                      <a:pt x="75" y="9"/>
                    </a:lnTo>
                    <a:lnTo>
                      <a:pt x="71" y="8"/>
                    </a:lnTo>
                    <a:lnTo>
                      <a:pt x="69" y="8"/>
                    </a:lnTo>
                    <a:lnTo>
                      <a:pt x="67" y="9"/>
                    </a:lnTo>
                    <a:lnTo>
                      <a:pt x="67" y="11"/>
                    </a:lnTo>
                    <a:lnTo>
                      <a:pt x="65" y="8"/>
                    </a:lnTo>
                    <a:lnTo>
                      <a:pt x="65" y="8"/>
                    </a:lnTo>
                    <a:lnTo>
                      <a:pt x="61" y="8"/>
                    </a:lnTo>
                    <a:lnTo>
                      <a:pt x="56" y="8"/>
                    </a:lnTo>
                    <a:lnTo>
                      <a:pt x="50" y="8"/>
                    </a:lnTo>
                    <a:lnTo>
                      <a:pt x="44" y="6"/>
                    </a:lnTo>
                    <a:lnTo>
                      <a:pt x="37" y="6"/>
                    </a:lnTo>
                    <a:lnTo>
                      <a:pt x="31" y="6"/>
                    </a:lnTo>
                    <a:lnTo>
                      <a:pt x="27" y="6"/>
                    </a:lnTo>
                    <a:lnTo>
                      <a:pt x="27" y="8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3" y="9"/>
                    </a:lnTo>
                    <a:lnTo>
                      <a:pt x="19" y="6"/>
                    </a:lnTo>
                    <a:lnTo>
                      <a:pt x="15" y="8"/>
                    </a:lnTo>
                    <a:lnTo>
                      <a:pt x="15" y="11"/>
                    </a:lnTo>
                    <a:lnTo>
                      <a:pt x="17" y="15"/>
                    </a:lnTo>
                    <a:lnTo>
                      <a:pt x="17" y="17"/>
                    </a:lnTo>
                    <a:lnTo>
                      <a:pt x="15" y="21"/>
                    </a:lnTo>
                    <a:lnTo>
                      <a:pt x="15" y="25"/>
                    </a:lnTo>
                    <a:lnTo>
                      <a:pt x="14" y="29"/>
                    </a:lnTo>
                    <a:lnTo>
                      <a:pt x="15" y="36"/>
                    </a:lnTo>
                    <a:lnTo>
                      <a:pt x="19" y="38"/>
                    </a:lnTo>
                    <a:lnTo>
                      <a:pt x="17" y="42"/>
                    </a:lnTo>
                    <a:lnTo>
                      <a:pt x="15" y="48"/>
                    </a:lnTo>
                    <a:lnTo>
                      <a:pt x="14" y="50"/>
                    </a:lnTo>
                    <a:lnTo>
                      <a:pt x="12" y="54"/>
                    </a:lnTo>
                    <a:lnTo>
                      <a:pt x="12" y="59"/>
                    </a:lnTo>
                    <a:lnTo>
                      <a:pt x="14" y="63"/>
                    </a:lnTo>
                    <a:lnTo>
                      <a:pt x="10" y="67"/>
                    </a:lnTo>
                    <a:lnTo>
                      <a:pt x="6" y="69"/>
                    </a:lnTo>
                    <a:lnTo>
                      <a:pt x="2" y="71"/>
                    </a:lnTo>
                    <a:lnTo>
                      <a:pt x="0" y="77"/>
                    </a:lnTo>
                    <a:lnTo>
                      <a:pt x="2" y="77"/>
                    </a:lnTo>
                    <a:lnTo>
                      <a:pt x="4" y="79"/>
                    </a:lnTo>
                    <a:lnTo>
                      <a:pt x="8" y="82"/>
                    </a:lnTo>
                    <a:lnTo>
                      <a:pt x="14" y="82"/>
                    </a:lnTo>
                    <a:lnTo>
                      <a:pt x="17" y="82"/>
                    </a:lnTo>
                    <a:lnTo>
                      <a:pt x="21" y="84"/>
                    </a:lnTo>
                    <a:lnTo>
                      <a:pt x="23" y="86"/>
                    </a:lnTo>
                    <a:lnTo>
                      <a:pt x="27" y="86"/>
                    </a:lnTo>
                    <a:lnTo>
                      <a:pt x="29" y="82"/>
                    </a:lnTo>
                    <a:lnTo>
                      <a:pt x="33" y="80"/>
                    </a:lnTo>
                    <a:lnTo>
                      <a:pt x="37" y="80"/>
                    </a:lnTo>
                    <a:lnTo>
                      <a:pt x="38" y="79"/>
                    </a:lnTo>
                    <a:lnTo>
                      <a:pt x="40" y="75"/>
                    </a:lnTo>
                    <a:lnTo>
                      <a:pt x="42" y="75"/>
                    </a:lnTo>
                    <a:lnTo>
                      <a:pt x="46" y="71"/>
                    </a:lnTo>
                    <a:lnTo>
                      <a:pt x="50" y="69"/>
                    </a:lnTo>
                    <a:lnTo>
                      <a:pt x="54" y="69"/>
                    </a:lnTo>
                    <a:lnTo>
                      <a:pt x="58" y="71"/>
                    </a:lnTo>
                    <a:lnTo>
                      <a:pt x="61" y="71"/>
                    </a:lnTo>
                    <a:lnTo>
                      <a:pt x="63" y="75"/>
                    </a:lnTo>
                    <a:lnTo>
                      <a:pt x="67" y="77"/>
                    </a:lnTo>
                    <a:lnTo>
                      <a:pt x="69" y="79"/>
                    </a:lnTo>
                    <a:lnTo>
                      <a:pt x="73" y="82"/>
                    </a:lnTo>
                    <a:lnTo>
                      <a:pt x="73" y="86"/>
                    </a:lnTo>
                    <a:lnTo>
                      <a:pt x="75" y="90"/>
                    </a:lnTo>
                    <a:lnTo>
                      <a:pt x="77" y="94"/>
                    </a:lnTo>
                    <a:lnTo>
                      <a:pt x="79" y="98"/>
                    </a:lnTo>
                    <a:lnTo>
                      <a:pt x="79" y="100"/>
                    </a:lnTo>
                    <a:lnTo>
                      <a:pt x="81" y="107"/>
                    </a:lnTo>
                    <a:lnTo>
                      <a:pt x="83" y="109"/>
                    </a:lnTo>
                    <a:lnTo>
                      <a:pt x="88" y="117"/>
                    </a:lnTo>
                    <a:lnTo>
                      <a:pt x="92" y="113"/>
                    </a:lnTo>
                    <a:lnTo>
                      <a:pt x="100" y="111"/>
                    </a:lnTo>
                    <a:lnTo>
                      <a:pt x="106" y="111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5"/>
                    </a:lnTo>
                    <a:lnTo>
                      <a:pt x="104" y="115"/>
                    </a:lnTo>
                    <a:lnTo>
                      <a:pt x="109" y="119"/>
                    </a:lnTo>
                    <a:lnTo>
                      <a:pt x="117" y="123"/>
                    </a:lnTo>
                    <a:lnTo>
                      <a:pt x="121" y="121"/>
                    </a:lnTo>
                    <a:lnTo>
                      <a:pt x="125" y="119"/>
                    </a:lnTo>
                    <a:lnTo>
                      <a:pt x="127" y="119"/>
                    </a:lnTo>
                    <a:lnTo>
                      <a:pt x="131" y="121"/>
                    </a:lnTo>
                    <a:lnTo>
                      <a:pt x="131" y="125"/>
                    </a:lnTo>
                    <a:lnTo>
                      <a:pt x="131" y="128"/>
                    </a:lnTo>
                    <a:lnTo>
                      <a:pt x="129" y="128"/>
                    </a:lnTo>
                    <a:lnTo>
                      <a:pt x="127" y="126"/>
                    </a:lnTo>
                    <a:lnTo>
                      <a:pt x="121" y="128"/>
                    </a:lnTo>
                    <a:lnTo>
                      <a:pt x="115" y="132"/>
                    </a:lnTo>
                    <a:lnTo>
                      <a:pt x="115" y="136"/>
                    </a:lnTo>
                    <a:lnTo>
                      <a:pt x="119" y="136"/>
                    </a:lnTo>
                    <a:lnTo>
                      <a:pt x="123" y="136"/>
                    </a:lnTo>
                    <a:lnTo>
                      <a:pt x="125" y="138"/>
                    </a:lnTo>
                    <a:lnTo>
                      <a:pt x="127" y="138"/>
                    </a:lnTo>
                    <a:lnTo>
                      <a:pt x="129" y="142"/>
                    </a:lnTo>
                    <a:lnTo>
                      <a:pt x="129" y="146"/>
                    </a:lnTo>
                    <a:lnTo>
                      <a:pt x="127" y="148"/>
                    </a:lnTo>
                    <a:lnTo>
                      <a:pt x="125" y="151"/>
                    </a:lnTo>
                    <a:lnTo>
                      <a:pt x="144" y="146"/>
                    </a:lnTo>
                    <a:lnTo>
                      <a:pt x="163" y="140"/>
                    </a:lnTo>
                    <a:lnTo>
                      <a:pt x="163" y="136"/>
                    </a:lnTo>
                    <a:lnTo>
                      <a:pt x="152" y="134"/>
                    </a:lnTo>
                    <a:lnTo>
                      <a:pt x="142" y="132"/>
                    </a:lnTo>
                    <a:lnTo>
                      <a:pt x="142" y="130"/>
                    </a:lnTo>
                    <a:lnTo>
                      <a:pt x="144" y="126"/>
                    </a:lnTo>
                    <a:lnTo>
                      <a:pt x="140" y="126"/>
                    </a:lnTo>
                    <a:lnTo>
                      <a:pt x="138" y="126"/>
                    </a:lnTo>
                    <a:lnTo>
                      <a:pt x="134" y="123"/>
                    </a:lnTo>
                    <a:lnTo>
                      <a:pt x="132" y="117"/>
                    </a:lnTo>
                    <a:lnTo>
                      <a:pt x="140" y="119"/>
                    </a:lnTo>
                    <a:lnTo>
                      <a:pt x="150" y="119"/>
                    </a:lnTo>
                    <a:lnTo>
                      <a:pt x="154" y="115"/>
                    </a:lnTo>
                    <a:lnTo>
                      <a:pt x="157" y="111"/>
                    </a:lnTo>
                    <a:lnTo>
                      <a:pt x="171" y="111"/>
                    </a:lnTo>
                    <a:lnTo>
                      <a:pt x="173" y="107"/>
                    </a:lnTo>
                    <a:lnTo>
                      <a:pt x="179" y="105"/>
                    </a:lnTo>
                    <a:lnTo>
                      <a:pt x="184" y="10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1" name="Freeform 29"/>
              <p:cNvSpPr>
                <a:spLocks noEditPoints="1"/>
              </p:cNvSpPr>
              <p:nvPr/>
            </p:nvSpPr>
            <p:spPr bwMode="gray">
              <a:xfrm>
                <a:off x="4902057" y="4351339"/>
                <a:ext cx="112700" cy="158750"/>
              </a:xfrm>
              <a:custGeom>
                <a:avLst/>
                <a:gdLst>
                  <a:gd name="T0" fmla="*/ 16 w 71"/>
                  <a:gd name="T1" fmla="*/ 56 h 100"/>
                  <a:gd name="T2" fmla="*/ 10 w 71"/>
                  <a:gd name="T3" fmla="*/ 59 h 100"/>
                  <a:gd name="T4" fmla="*/ 8 w 71"/>
                  <a:gd name="T5" fmla="*/ 69 h 100"/>
                  <a:gd name="T6" fmla="*/ 4 w 71"/>
                  <a:gd name="T7" fmla="*/ 79 h 100"/>
                  <a:gd name="T8" fmla="*/ 4 w 71"/>
                  <a:gd name="T9" fmla="*/ 83 h 100"/>
                  <a:gd name="T10" fmla="*/ 0 w 71"/>
                  <a:gd name="T11" fmla="*/ 88 h 100"/>
                  <a:gd name="T12" fmla="*/ 2 w 71"/>
                  <a:gd name="T13" fmla="*/ 92 h 100"/>
                  <a:gd name="T14" fmla="*/ 4 w 71"/>
                  <a:gd name="T15" fmla="*/ 94 h 100"/>
                  <a:gd name="T16" fmla="*/ 10 w 71"/>
                  <a:gd name="T17" fmla="*/ 98 h 100"/>
                  <a:gd name="T18" fmla="*/ 16 w 71"/>
                  <a:gd name="T19" fmla="*/ 98 h 100"/>
                  <a:gd name="T20" fmla="*/ 23 w 71"/>
                  <a:gd name="T21" fmla="*/ 94 h 100"/>
                  <a:gd name="T22" fmla="*/ 35 w 71"/>
                  <a:gd name="T23" fmla="*/ 92 h 100"/>
                  <a:gd name="T24" fmla="*/ 33 w 71"/>
                  <a:gd name="T25" fmla="*/ 92 h 100"/>
                  <a:gd name="T26" fmla="*/ 31 w 71"/>
                  <a:gd name="T27" fmla="*/ 88 h 100"/>
                  <a:gd name="T28" fmla="*/ 35 w 71"/>
                  <a:gd name="T29" fmla="*/ 81 h 100"/>
                  <a:gd name="T30" fmla="*/ 33 w 71"/>
                  <a:gd name="T31" fmla="*/ 73 h 100"/>
                  <a:gd name="T32" fmla="*/ 39 w 71"/>
                  <a:gd name="T33" fmla="*/ 67 h 100"/>
                  <a:gd name="T34" fmla="*/ 52 w 71"/>
                  <a:gd name="T35" fmla="*/ 69 h 100"/>
                  <a:gd name="T36" fmla="*/ 54 w 71"/>
                  <a:gd name="T37" fmla="*/ 65 h 100"/>
                  <a:gd name="T38" fmla="*/ 60 w 71"/>
                  <a:gd name="T39" fmla="*/ 67 h 100"/>
                  <a:gd name="T40" fmla="*/ 60 w 71"/>
                  <a:gd name="T41" fmla="*/ 75 h 100"/>
                  <a:gd name="T42" fmla="*/ 63 w 71"/>
                  <a:gd name="T43" fmla="*/ 79 h 100"/>
                  <a:gd name="T44" fmla="*/ 63 w 71"/>
                  <a:gd name="T45" fmla="*/ 71 h 100"/>
                  <a:gd name="T46" fmla="*/ 63 w 71"/>
                  <a:gd name="T47" fmla="*/ 63 h 100"/>
                  <a:gd name="T48" fmla="*/ 65 w 71"/>
                  <a:gd name="T49" fmla="*/ 52 h 100"/>
                  <a:gd name="T50" fmla="*/ 67 w 71"/>
                  <a:gd name="T51" fmla="*/ 42 h 100"/>
                  <a:gd name="T52" fmla="*/ 71 w 71"/>
                  <a:gd name="T53" fmla="*/ 38 h 100"/>
                  <a:gd name="T54" fmla="*/ 71 w 71"/>
                  <a:gd name="T55" fmla="*/ 31 h 100"/>
                  <a:gd name="T56" fmla="*/ 65 w 71"/>
                  <a:gd name="T57" fmla="*/ 23 h 100"/>
                  <a:gd name="T58" fmla="*/ 69 w 71"/>
                  <a:gd name="T59" fmla="*/ 12 h 100"/>
                  <a:gd name="T60" fmla="*/ 67 w 71"/>
                  <a:gd name="T61" fmla="*/ 8 h 100"/>
                  <a:gd name="T62" fmla="*/ 62 w 71"/>
                  <a:gd name="T63" fmla="*/ 4 h 100"/>
                  <a:gd name="T64" fmla="*/ 62 w 71"/>
                  <a:gd name="T65" fmla="*/ 0 h 100"/>
                  <a:gd name="T66" fmla="*/ 54 w 71"/>
                  <a:gd name="T67" fmla="*/ 0 h 100"/>
                  <a:gd name="T68" fmla="*/ 44 w 71"/>
                  <a:gd name="T69" fmla="*/ 2 h 100"/>
                  <a:gd name="T70" fmla="*/ 37 w 71"/>
                  <a:gd name="T71" fmla="*/ 4 h 100"/>
                  <a:gd name="T72" fmla="*/ 35 w 71"/>
                  <a:gd name="T73" fmla="*/ 10 h 100"/>
                  <a:gd name="T74" fmla="*/ 31 w 71"/>
                  <a:gd name="T75" fmla="*/ 19 h 100"/>
                  <a:gd name="T76" fmla="*/ 31 w 71"/>
                  <a:gd name="T77" fmla="*/ 23 h 100"/>
                  <a:gd name="T78" fmla="*/ 27 w 71"/>
                  <a:gd name="T79" fmla="*/ 33 h 100"/>
                  <a:gd name="T80" fmla="*/ 29 w 71"/>
                  <a:gd name="T81" fmla="*/ 36 h 100"/>
                  <a:gd name="T82" fmla="*/ 25 w 71"/>
                  <a:gd name="T83" fmla="*/ 46 h 100"/>
                  <a:gd name="T84" fmla="*/ 21 w 71"/>
                  <a:gd name="T85" fmla="*/ 52 h 100"/>
                  <a:gd name="T86" fmla="*/ 17 w 71"/>
                  <a:gd name="T87" fmla="*/ 54 h 100"/>
                  <a:gd name="T88" fmla="*/ 42 w 71"/>
                  <a:gd name="T89" fmla="*/ 46 h 100"/>
                  <a:gd name="T90" fmla="*/ 44 w 71"/>
                  <a:gd name="T91" fmla="*/ 50 h 100"/>
                  <a:gd name="T92" fmla="*/ 39 w 71"/>
                  <a:gd name="T93" fmla="*/ 48 h 100"/>
                  <a:gd name="T94" fmla="*/ 39 w 71"/>
                  <a:gd name="T95" fmla="*/ 4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1" h="100">
                    <a:moveTo>
                      <a:pt x="17" y="54"/>
                    </a:moveTo>
                    <a:lnTo>
                      <a:pt x="16" y="56"/>
                    </a:lnTo>
                    <a:lnTo>
                      <a:pt x="12" y="56"/>
                    </a:lnTo>
                    <a:lnTo>
                      <a:pt x="10" y="59"/>
                    </a:lnTo>
                    <a:lnTo>
                      <a:pt x="8" y="63"/>
                    </a:lnTo>
                    <a:lnTo>
                      <a:pt x="8" y="69"/>
                    </a:lnTo>
                    <a:lnTo>
                      <a:pt x="6" y="77"/>
                    </a:lnTo>
                    <a:lnTo>
                      <a:pt x="4" y="79"/>
                    </a:lnTo>
                    <a:lnTo>
                      <a:pt x="4" y="81"/>
                    </a:lnTo>
                    <a:lnTo>
                      <a:pt x="4" y="83"/>
                    </a:lnTo>
                    <a:lnTo>
                      <a:pt x="2" y="84"/>
                    </a:lnTo>
                    <a:lnTo>
                      <a:pt x="0" y="88"/>
                    </a:lnTo>
                    <a:lnTo>
                      <a:pt x="0" y="90"/>
                    </a:lnTo>
                    <a:lnTo>
                      <a:pt x="2" y="92"/>
                    </a:lnTo>
                    <a:lnTo>
                      <a:pt x="2" y="92"/>
                    </a:lnTo>
                    <a:lnTo>
                      <a:pt x="4" y="94"/>
                    </a:lnTo>
                    <a:lnTo>
                      <a:pt x="6" y="96"/>
                    </a:lnTo>
                    <a:lnTo>
                      <a:pt x="10" y="98"/>
                    </a:lnTo>
                    <a:lnTo>
                      <a:pt x="14" y="100"/>
                    </a:lnTo>
                    <a:lnTo>
                      <a:pt x="16" y="98"/>
                    </a:lnTo>
                    <a:lnTo>
                      <a:pt x="19" y="96"/>
                    </a:lnTo>
                    <a:lnTo>
                      <a:pt x="23" y="94"/>
                    </a:lnTo>
                    <a:lnTo>
                      <a:pt x="35" y="94"/>
                    </a:lnTo>
                    <a:lnTo>
                      <a:pt x="35" y="92"/>
                    </a:lnTo>
                    <a:lnTo>
                      <a:pt x="33" y="92"/>
                    </a:lnTo>
                    <a:lnTo>
                      <a:pt x="33" y="92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3" y="84"/>
                    </a:lnTo>
                    <a:lnTo>
                      <a:pt x="35" y="81"/>
                    </a:lnTo>
                    <a:lnTo>
                      <a:pt x="33" y="77"/>
                    </a:lnTo>
                    <a:lnTo>
                      <a:pt x="33" y="73"/>
                    </a:lnTo>
                    <a:lnTo>
                      <a:pt x="37" y="69"/>
                    </a:lnTo>
                    <a:lnTo>
                      <a:pt x="39" y="67"/>
                    </a:lnTo>
                    <a:lnTo>
                      <a:pt x="44" y="67"/>
                    </a:lnTo>
                    <a:lnTo>
                      <a:pt x="52" y="69"/>
                    </a:lnTo>
                    <a:lnTo>
                      <a:pt x="52" y="67"/>
                    </a:lnTo>
                    <a:lnTo>
                      <a:pt x="54" y="65"/>
                    </a:lnTo>
                    <a:lnTo>
                      <a:pt x="56" y="67"/>
                    </a:lnTo>
                    <a:lnTo>
                      <a:pt x="60" y="67"/>
                    </a:lnTo>
                    <a:lnTo>
                      <a:pt x="60" y="71"/>
                    </a:lnTo>
                    <a:lnTo>
                      <a:pt x="60" y="75"/>
                    </a:lnTo>
                    <a:lnTo>
                      <a:pt x="62" y="77"/>
                    </a:lnTo>
                    <a:lnTo>
                      <a:pt x="63" y="79"/>
                    </a:lnTo>
                    <a:lnTo>
                      <a:pt x="63" y="73"/>
                    </a:lnTo>
                    <a:lnTo>
                      <a:pt x="63" y="71"/>
                    </a:lnTo>
                    <a:lnTo>
                      <a:pt x="63" y="67"/>
                    </a:lnTo>
                    <a:lnTo>
                      <a:pt x="63" y="63"/>
                    </a:lnTo>
                    <a:lnTo>
                      <a:pt x="63" y="56"/>
                    </a:lnTo>
                    <a:lnTo>
                      <a:pt x="65" y="52"/>
                    </a:lnTo>
                    <a:lnTo>
                      <a:pt x="65" y="46"/>
                    </a:lnTo>
                    <a:lnTo>
                      <a:pt x="67" y="42"/>
                    </a:lnTo>
                    <a:lnTo>
                      <a:pt x="69" y="40"/>
                    </a:lnTo>
                    <a:lnTo>
                      <a:pt x="71" y="38"/>
                    </a:lnTo>
                    <a:lnTo>
                      <a:pt x="71" y="35"/>
                    </a:lnTo>
                    <a:lnTo>
                      <a:pt x="71" y="31"/>
                    </a:lnTo>
                    <a:lnTo>
                      <a:pt x="69" y="27"/>
                    </a:lnTo>
                    <a:lnTo>
                      <a:pt x="65" y="23"/>
                    </a:lnTo>
                    <a:lnTo>
                      <a:pt x="67" y="17"/>
                    </a:lnTo>
                    <a:lnTo>
                      <a:pt x="69" y="12"/>
                    </a:lnTo>
                    <a:lnTo>
                      <a:pt x="67" y="10"/>
                    </a:lnTo>
                    <a:lnTo>
                      <a:pt x="67" y="8"/>
                    </a:lnTo>
                    <a:lnTo>
                      <a:pt x="63" y="6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56" y="4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37" y="4"/>
                    </a:lnTo>
                    <a:lnTo>
                      <a:pt x="33" y="8"/>
                    </a:lnTo>
                    <a:lnTo>
                      <a:pt x="35" y="10"/>
                    </a:lnTo>
                    <a:lnTo>
                      <a:pt x="35" y="13"/>
                    </a:lnTo>
                    <a:lnTo>
                      <a:pt x="31" y="19"/>
                    </a:lnTo>
                    <a:lnTo>
                      <a:pt x="29" y="21"/>
                    </a:lnTo>
                    <a:lnTo>
                      <a:pt x="31" y="23"/>
                    </a:lnTo>
                    <a:lnTo>
                      <a:pt x="27" y="27"/>
                    </a:lnTo>
                    <a:lnTo>
                      <a:pt x="27" y="33"/>
                    </a:lnTo>
                    <a:lnTo>
                      <a:pt x="27" y="35"/>
                    </a:lnTo>
                    <a:lnTo>
                      <a:pt x="29" y="36"/>
                    </a:lnTo>
                    <a:lnTo>
                      <a:pt x="29" y="40"/>
                    </a:lnTo>
                    <a:lnTo>
                      <a:pt x="25" y="46"/>
                    </a:lnTo>
                    <a:lnTo>
                      <a:pt x="23" y="50"/>
                    </a:lnTo>
                    <a:lnTo>
                      <a:pt x="21" y="52"/>
                    </a:lnTo>
                    <a:lnTo>
                      <a:pt x="19" y="54"/>
                    </a:lnTo>
                    <a:lnTo>
                      <a:pt x="17" y="54"/>
                    </a:lnTo>
                    <a:close/>
                    <a:moveTo>
                      <a:pt x="40" y="44"/>
                    </a:moveTo>
                    <a:lnTo>
                      <a:pt x="42" y="46"/>
                    </a:lnTo>
                    <a:lnTo>
                      <a:pt x="44" y="48"/>
                    </a:lnTo>
                    <a:lnTo>
                      <a:pt x="44" y="50"/>
                    </a:lnTo>
                    <a:lnTo>
                      <a:pt x="40" y="50"/>
                    </a:lnTo>
                    <a:lnTo>
                      <a:pt x="39" y="48"/>
                    </a:lnTo>
                    <a:lnTo>
                      <a:pt x="37" y="46"/>
                    </a:lnTo>
                    <a:lnTo>
                      <a:pt x="39" y="44"/>
                    </a:lnTo>
                    <a:lnTo>
                      <a:pt x="40" y="4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2" name="Freeform 30"/>
              <p:cNvSpPr>
                <a:spLocks noEditPoints="1"/>
              </p:cNvSpPr>
              <p:nvPr/>
            </p:nvSpPr>
            <p:spPr bwMode="gray">
              <a:xfrm>
                <a:off x="5371905" y="3357564"/>
                <a:ext cx="276194" cy="204788"/>
              </a:xfrm>
              <a:custGeom>
                <a:avLst/>
                <a:gdLst>
                  <a:gd name="T0" fmla="*/ 0 w 174"/>
                  <a:gd name="T1" fmla="*/ 23 h 129"/>
                  <a:gd name="T2" fmla="*/ 4 w 174"/>
                  <a:gd name="T3" fmla="*/ 18 h 129"/>
                  <a:gd name="T4" fmla="*/ 11 w 174"/>
                  <a:gd name="T5" fmla="*/ 14 h 129"/>
                  <a:gd name="T6" fmla="*/ 23 w 174"/>
                  <a:gd name="T7" fmla="*/ 25 h 129"/>
                  <a:gd name="T8" fmla="*/ 25 w 174"/>
                  <a:gd name="T9" fmla="*/ 37 h 129"/>
                  <a:gd name="T10" fmla="*/ 23 w 174"/>
                  <a:gd name="T11" fmla="*/ 41 h 129"/>
                  <a:gd name="T12" fmla="*/ 9 w 174"/>
                  <a:gd name="T13" fmla="*/ 37 h 129"/>
                  <a:gd name="T14" fmla="*/ 5 w 174"/>
                  <a:gd name="T15" fmla="*/ 35 h 129"/>
                  <a:gd name="T16" fmla="*/ 2 w 174"/>
                  <a:gd name="T17" fmla="*/ 48 h 129"/>
                  <a:gd name="T18" fmla="*/ 7 w 174"/>
                  <a:gd name="T19" fmla="*/ 52 h 129"/>
                  <a:gd name="T20" fmla="*/ 15 w 174"/>
                  <a:gd name="T21" fmla="*/ 52 h 129"/>
                  <a:gd name="T22" fmla="*/ 11 w 174"/>
                  <a:gd name="T23" fmla="*/ 56 h 129"/>
                  <a:gd name="T24" fmla="*/ 15 w 174"/>
                  <a:gd name="T25" fmla="*/ 62 h 129"/>
                  <a:gd name="T26" fmla="*/ 19 w 174"/>
                  <a:gd name="T27" fmla="*/ 69 h 129"/>
                  <a:gd name="T28" fmla="*/ 21 w 174"/>
                  <a:gd name="T29" fmla="*/ 75 h 129"/>
                  <a:gd name="T30" fmla="*/ 15 w 174"/>
                  <a:gd name="T31" fmla="*/ 87 h 129"/>
                  <a:gd name="T32" fmla="*/ 27 w 174"/>
                  <a:gd name="T33" fmla="*/ 89 h 129"/>
                  <a:gd name="T34" fmla="*/ 32 w 174"/>
                  <a:gd name="T35" fmla="*/ 81 h 129"/>
                  <a:gd name="T36" fmla="*/ 52 w 174"/>
                  <a:gd name="T37" fmla="*/ 77 h 129"/>
                  <a:gd name="T38" fmla="*/ 76 w 174"/>
                  <a:gd name="T39" fmla="*/ 83 h 129"/>
                  <a:gd name="T40" fmla="*/ 101 w 174"/>
                  <a:gd name="T41" fmla="*/ 94 h 129"/>
                  <a:gd name="T42" fmla="*/ 109 w 174"/>
                  <a:gd name="T43" fmla="*/ 108 h 129"/>
                  <a:gd name="T44" fmla="*/ 119 w 174"/>
                  <a:gd name="T45" fmla="*/ 121 h 129"/>
                  <a:gd name="T46" fmla="*/ 124 w 174"/>
                  <a:gd name="T47" fmla="*/ 127 h 129"/>
                  <a:gd name="T48" fmla="*/ 138 w 174"/>
                  <a:gd name="T49" fmla="*/ 117 h 129"/>
                  <a:gd name="T50" fmla="*/ 147 w 174"/>
                  <a:gd name="T51" fmla="*/ 96 h 129"/>
                  <a:gd name="T52" fmla="*/ 157 w 174"/>
                  <a:gd name="T53" fmla="*/ 92 h 129"/>
                  <a:gd name="T54" fmla="*/ 167 w 174"/>
                  <a:gd name="T55" fmla="*/ 89 h 129"/>
                  <a:gd name="T56" fmla="*/ 172 w 174"/>
                  <a:gd name="T57" fmla="*/ 79 h 129"/>
                  <a:gd name="T58" fmla="*/ 157 w 174"/>
                  <a:gd name="T59" fmla="*/ 75 h 129"/>
                  <a:gd name="T60" fmla="*/ 142 w 174"/>
                  <a:gd name="T61" fmla="*/ 69 h 129"/>
                  <a:gd name="T62" fmla="*/ 128 w 174"/>
                  <a:gd name="T63" fmla="*/ 56 h 129"/>
                  <a:gd name="T64" fmla="*/ 117 w 174"/>
                  <a:gd name="T65" fmla="*/ 43 h 129"/>
                  <a:gd name="T66" fmla="*/ 107 w 174"/>
                  <a:gd name="T67" fmla="*/ 29 h 129"/>
                  <a:gd name="T68" fmla="*/ 92 w 174"/>
                  <a:gd name="T69" fmla="*/ 35 h 129"/>
                  <a:gd name="T70" fmla="*/ 86 w 174"/>
                  <a:gd name="T71" fmla="*/ 27 h 129"/>
                  <a:gd name="T72" fmla="*/ 76 w 174"/>
                  <a:gd name="T73" fmla="*/ 10 h 129"/>
                  <a:gd name="T74" fmla="*/ 69 w 174"/>
                  <a:gd name="T75" fmla="*/ 0 h 129"/>
                  <a:gd name="T76" fmla="*/ 55 w 174"/>
                  <a:gd name="T77" fmla="*/ 8 h 129"/>
                  <a:gd name="T78" fmla="*/ 55 w 174"/>
                  <a:gd name="T79" fmla="*/ 18 h 129"/>
                  <a:gd name="T80" fmla="*/ 36 w 174"/>
                  <a:gd name="T81" fmla="*/ 20 h 129"/>
                  <a:gd name="T82" fmla="*/ 25 w 174"/>
                  <a:gd name="T83" fmla="*/ 12 h 129"/>
                  <a:gd name="T84" fmla="*/ 17 w 174"/>
                  <a:gd name="T85" fmla="*/ 6 h 129"/>
                  <a:gd name="T86" fmla="*/ 7 w 174"/>
                  <a:gd name="T87" fmla="*/ 8 h 129"/>
                  <a:gd name="T88" fmla="*/ 0 w 174"/>
                  <a:gd name="T89" fmla="*/ 14 h 129"/>
                  <a:gd name="T90" fmla="*/ 4 w 174"/>
                  <a:gd name="T91" fmla="*/ 62 h 129"/>
                  <a:gd name="T92" fmla="*/ 7 w 174"/>
                  <a:gd name="T93" fmla="*/ 62 h 129"/>
                  <a:gd name="T94" fmla="*/ 5 w 174"/>
                  <a:gd name="T95" fmla="*/ 6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4" h="129">
                    <a:moveTo>
                      <a:pt x="0" y="14"/>
                    </a:moveTo>
                    <a:lnTo>
                      <a:pt x="0" y="20"/>
                    </a:lnTo>
                    <a:lnTo>
                      <a:pt x="0" y="23"/>
                    </a:lnTo>
                    <a:lnTo>
                      <a:pt x="4" y="23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5" y="16"/>
                    </a:lnTo>
                    <a:lnTo>
                      <a:pt x="7" y="14"/>
                    </a:lnTo>
                    <a:lnTo>
                      <a:pt x="11" y="14"/>
                    </a:lnTo>
                    <a:lnTo>
                      <a:pt x="17" y="16"/>
                    </a:lnTo>
                    <a:lnTo>
                      <a:pt x="17" y="20"/>
                    </a:lnTo>
                    <a:lnTo>
                      <a:pt x="23" y="25"/>
                    </a:lnTo>
                    <a:lnTo>
                      <a:pt x="27" y="31"/>
                    </a:lnTo>
                    <a:lnTo>
                      <a:pt x="27" y="33"/>
                    </a:lnTo>
                    <a:lnTo>
                      <a:pt x="25" y="37"/>
                    </a:lnTo>
                    <a:lnTo>
                      <a:pt x="21" y="37"/>
                    </a:lnTo>
                    <a:lnTo>
                      <a:pt x="23" y="39"/>
                    </a:lnTo>
                    <a:lnTo>
                      <a:pt x="23" y="41"/>
                    </a:lnTo>
                    <a:lnTo>
                      <a:pt x="17" y="41"/>
                    </a:lnTo>
                    <a:lnTo>
                      <a:pt x="13" y="41"/>
                    </a:lnTo>
                    <a:lnTo>
                      <a:pt x="9" y="37"/>
                    </a:lnTo>
                    <a:lnTo>
                      <a:pt x="7" y="35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4" y="37"/>
                    </a:lnTo>
                    <a:lnTo>
                      <a:pt x="2" y="43"/>
                    </a:lnTo>
                    <a:lnTo>
                      <a:pt x="2" y="48"/>
                    </a:lnTo>
                    <a:lnTo>
                      <a:pt x="2" y="54"/>
                    </a:lnTo>
                    <a:lnTo>
                      <a:pt x="4" y="52"/>
                    </a:lnTo>
                    <a:lnTo>
                      <a:pt x="7" y="52"/>
                    </a:lnTo>
                    <a:lnTo>
                      <a:pt x="11" y="50"/>
                    </a:lnTo>
                    <a:lnTo>
                      <a:pt x="17" y="50"/>
                    </a:lnTo>
                    <a:lnTo>
                      <a:pt x="15" y="52"/>
                    </a:lnTo>
                    <a:lnTo>
                      <a:pt x="11" y="52"/>
                    </a:lnTo>
                    <a:lnTo>
                      <a:pt x="9" y="54"/>
                    </a:lnTo>
                    <a:lnTo>
                      <a:pt x="11" y="56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5" y="62"/>
                    </a:lnTo>
                    <a:lnTo>
                      <a:pt x="13" y="66"/>
                    </a:lnTo>
                    <a:lnTo>
                      <a:pt x="15" y="68"/>
                    </a:lnTo>
                    <a:lnTo>
                      <a:pt x="19" y="69"/>
                    </a:lnTo>
                    <a:lnTo>
                      <a:pt x="19" y="71"/>
                    </a:lnTo>
                    <a:lnTo>
                      <a:pt x="21" y="73"/>
                    </a:lnTo>
                    <a:lnTo>
                      <a:pt x="21" y="75"/>
                    </a:lnTo>
                    <a:lnTo>
                      <a:pt x="19" y="77"/>
                    </a:lnTo>
                    <a:lnTo>
                      <a:pt x="15" y="77"/>
                    </a:lnTo>
                    <a:lnTo>
                      <a:pt x="15" y="87"/>
                    </a:lnTo>
                    <a:lnTo>
                      <a:pt x="15" y="94"/>
                    </a:lnTo>
                    <a:lnTo>
                      <a:pt x="23" y="94"/>
                    </a:lnTo>
                    <a:lnTo>
                      <a:pt x="27" y="89"/>
                    </a:lnTo>
                    <a:lnTo>
                      <a:pt x="27" y="87"/>
                    </a:lnTo>
                    <a:lnTo>
                      <a:pt x="28" y="83"/>
                    </a:lnTo>
                    <a:lnTo>
                      <a:pt x="32" y="81"/>
                    </a:lnTo>
                    <a:lnTo>
                      <a:pt x="40" y="81"/>
                    </a:lnTo>
                    <a:lnTo>
                      <a:pt x="44" y="79"/>
                    </a:lnTo>
                    <a:lnTo>
                      <a:pt x="52" y="77"/>
                    </a:lnTo>
                    <a:lnTo>
                      <a:pt x="65" y="81"/>
                    </a:lnTo>
                    <a:lnTo>
                      <a:pt x="73" y="81"/>
                    </a:lnTo>
                    <a:lnTo>
                      <a:pt x="76" y="83"/>
                    </a:lnTo>
                    <a:lnTo>
                      <a:pt x="86" y="87"/>
                    </a:lnTo>
                    <a:lnTo>
                      <a:pt x="94" y="91"/>
                    </a:lnTo>
                    <a:lnTo>
                      <a:pt x="101" y="94"/>
                    </a:lnTo>
                    <a:lnTo>
                      <a:pt x="105" y="98"/>
                    </a:lnTo>
                    <a:lnTo>
                      <a:pt x="107" y="102"/>
                    </a:lnTo>
                    <a:lnTo>
                      <a:pt x="109" y="108"/>
                    </a:lnTo>
                    <a:lnTo>
                      <a:pt x="117" y="110"/>
                    </a:lnTo>
                    <a:lnTo>
                      <a:pt x="117" y="116"/>
                    </a:lnTo>
                    <a:lnTo>
                      <a:pt x="119" y="121"/>
                    </a:lnTo>
                    <a:lnTo>
                      <a:pt x="117" y="127"/>
                    </a:lnTo>
                    <a:lnTo>
                      <a:pt x="123" y="129"/>
                    </a:lnTo>
                    <a:lnTo>
                      <a:pt x="124" y="127"/>
                    </a:lnTo>
                    <a:lnTo>
                      <a:pt x="130" y="129"/>
                    </a:lnTo>
                    <a:lnTo>
                      <a:pt x="140" y="121"/>
                    </a:lnTo>
                    <a:lnTo>
                      <a:pt x="138" y="117"/>
                    </a:lnTo>
                    <a:lnTo>
                      <a:pt x="146" y="110"/>
                    </a:lnTo>
                    <a:lnTo>
                      <a:pt x="147" y="104"/>
                    </a:lnTo>
                    <a:lnTo>
                      <a:pt x="147" y="96"/>
                    </a:lnTo>
                    <a:lnTo>
                      <a:pt x="149" y="94"/>
                    </a:lnTo>
                    <a:lnTo>
                      <a:pt x="151" y="91"/>
                    </a:lnTo>
                    <a:lnTo>
                      <a:pt x="157" y="92"/>
                    </a:lnTo>
                    <a:lnTo>
                      <a:pt x="161" y="94"/>
                    </a:lnTo>
                    <a:lnTo>
                      <a:pt x="167" y="94"/>
                    </a:lnTo>
                    <a:lnTo>
                      <a:pt x="167" y="89"/>
                    </a:lnTo>
                    <a:lnTo>
                      <a:pt x="167" y="85"/>
                    </a:lnTo>
                    <a:lnTo>
                      <a:pt x="174" y="81"/>
                    </a:lnTo>
                    <a:lnTo>
                      <a:pt x="172" y="79"/>
                    </a:lnTo>
                    <a:lnTo>
                      <a:pt x="167" y="79"/>
                    </a:lnTo>
                    <a:lnTo>
                      <a:pt x="163" y="75"/>
                    </a:lnTo>
                    <a:lnTo>
                      <a:pt x="157" y="75"/>
                    </a:lnTo>
                    <a:lnTo>
                      <a:pt x="153" y="71"/>
                    </a:lnTo>
                    <a:lnTo>
                      <a:pt x="146" y="73"/>
                    </a:lnTo>
                    <a:lnTo>
                      <a:pt x="142" y="69"/>
                    </a:lnTo>
                    <a:lnTo>
                      <a:pt x="136" y="64"/>
                    </a:lnTo>
                    <a:lnTo>
                      <a:pt x="132" y="60"/>
                    </a:lnTo>
                    <a:lnTo>
                      <a:pt x="128" y="56"/>
                    </a:lnTo>
                    <a:lnTo>
                      <a:pt x="124" y="50"/>
                    </a:lnTo>
                    <a:lnTo>
                      <a:pt x="123" y="46"/>
                    </a:lnTo>
                    <a:lnTo>
                      <a:pt x="117" y="43"/>
                    </a:lnTo>
                    <a:lnTo>
                      <a:pt x="119" y="35"/>
                    </a:lnTo>
                    <a:lnTo>
                      <a:pt x="113" y="29"/>
                    </a:lnTo>
                    <a:lnTo>
                      <a:pt x="107" y="29"/>
                    </a:lnTo>
                    <a:lnTo>
                      <a:pt x="100" y="29"/>
                    </a:lnTo>
                    <a:lnTo>
                      <a:pt x="98" y="31"/>
                    </a:lnTo>
                    <a:lnTo>
                      <a:pt x="92" y="35"/>
                    </a:lnTo>
                    <a:lnTo>
                      <a:pt x="86" y="33"/>
                    </a:lnTo>
                    <a:lnTo>
                      <a:pt x="84" y="31"/>
                    </a:lnTo>
                    <a:lnTo>
                      <a:pt x="86" y="27"/>
                    </a:lnTo>
                    <a:lnTo>
                      <a:pt x="86" y="21"/>
                    </a:lnTo>
                    <a:lnTo>
                      <a:pt x="78" y="18"/>
                    </a:lnTo>
                    <a:lnTo>
                      <a:pt x="76" y="10"/>
                    </a:lnTo>
                    <a:lnTo>
                      <a:pt x="75" y="2"/>
                    </a:lnTo>
                    <a:lnTo>
                      <a:pt x="71" y="2"/>
                    </a:lnTo>
                    <a:lnTo>
                      <a:pt x="69" y="0"/>
                    </a:lnTo>
                    <a:lnTo>
                      <a:pt x="65" y="4"/>
                    </a:lnTo>
                    <a:lnTo>
                      <a:pt x="61" y="10"/>
                    </a:lnTo>
                    <a:lnTo>
                      <a:pt x="55" y="8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5" y="18"/>
                    </a:lnTo>
                    <a:lnTo>
                      <a:pt x="55" y="21"/>
                    </a:lnTo>
                    <a:lnTo>
                      <a:pt x="42" y="20"/>
                    </a:lnTo>
                    <a:lnTo>
                      <a:pt x="36" y="20"/>
                    </a:lnTo>
                    <a:lnTo>
                      <a:pt x="30" y="20"/>
                    </a:lnTo>
                    <a:lnTo>
                      <a:pt x="28" y="18"/>
                    </a:lnTo>
                    <a:lnTo>
                      <a:pt x="25" y="12"/>
                    </a:lnTo>
                    <a:lnTo>
                      <a:pt x="23" y="10"/>
                    </a:lnTo>
                    <a:lnTo>
                      <a:pt x="21" y="8"/>
                    </a:lnTo>
                    <a:lnTo>
                      <a:pt x="17" y="6"/>
                    </a:lnTo>
                    <a:lnTo>
                      <a:pt x="13" y="6"/>
                    </a:lnTo>
                    <a:lnTo>
                      <a:pt x="9" y="6"/>
                    </a:lnTo>
                    <a:lnTo>
                      <a:pt x="7" y="8"/>
                    </a:lnTo>
                    <a:lnTo>
                      <a:pt x="4" y="10"/>
                    </a:lnTo>
                    <a:lnTo>
                      <a:pt x="2" y="14"/>
                    </a:lnTo>
                    <a:lnTo>
                      <a:pt x="0" y="14"/>
                    </a:lnTo>
                    <a:close/>
                    <a:moveTo>
                      <a:pt x="5" y="60"/>
                    </a:moveTo>
                    <a:lnTo>
                      <a:pt x="4" y="60"/>
                    </a:lnTo>
                    <a:lnTo>
                      <a:pt x="4" y="62"/>
                    </a:lnTo>
                    <a:lnTo>
                      <a:pt x="5" y="64"/>
                    </a:lnTo>
                    <a:lnTo>
                      <a:pt x="7" y="64"/>
                    </a:lnTo>
                    <a:lnTo>
                      <a:pt x="7" y="62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5" y="6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3" name="Freeform 31"/>
              <p:cNvSpPr>
                <a:spLocks noEditPoints="1"/>
              </p:cNvSpPr>
              <p:nvPr/>
            </p:nvSpPr>
            <p:spPr bwMode="gray">
              <a:xfrm>
                <a:off x="4851263" y="3382964"/>
                <a:ext cx="371434" cy="173038"/>
              </a:xfrm>
              <a:custGeom>
                <a:avLst/>
                <a:gdLst>
                  <a:gd name="T0" fmla="*/ 126 w 234"/>
                  <a:gd name="T1" fmla="*/ 105 h 109"/>
                  <a:gd name="T2" fmla="*/ 130 w 234"/>
                  <a:gd name="T3" fmla="*/ 96 h 109"/>
                  <a:gd name="T4" fmla="*/ 140 w 234"/>
                  <a:gd name="T5" fmla="*/ 92 h 109"/>
                  <a:gd name="T6" fmla="*/ 159 w 234"/>
                  <a:gd name="T7" fmla="*/ 90 h 109"/>
                  <a:gd name="T8" fmla="*/ 190 w 234"/>
                  <a:gd name="T9" fmla="*/ 80 h 109"/>
                  <a:gd name="T10" fmla="*/ 199 w 234"/>
                  <a:gd name="T11" fmla="*/ 82 h 109"/>
                  <a:gd name="T12" fmla="*/ 211 w 234"/>
                  <a:gd name="T13" fmla="*/ 84 h 109"/>
                  <a:gd name="T14" fmla="*/ 218 w 234"/>
                  <a:gd name="T15" fmla="*/ 84 h 109"/>
                  <a:gd name="T16" fmla="*/ 228 w 234"/>
                  <a:gd name="T17" fmla="*/ 78 h 109"/>
                  <a:gd name="T18" fmla="*/ 222 w 234"/>
                  <a:gd name="T19" fmla="*/ 61 h 109"/>
                  <a:gd name="T20" fmla="*/ 224 w 234"/>
                  <a:gd name="T21" fmla="*/ 52 h 109"/>
                  <a:gd name="T22" fmla="*/ 228 w 234"/>
                  <a:gd name="T23" fmla="*/ 44 h 109"/>
                  <a:gd name="T24" fmla="*/ 234 w 234"/>
                  <a:gd name="T25" fmla="*/ 38 h 109"/>
                  <a:gd name="T26" fmla="*/ 218 w 234"/>
                  <a:gd name="T27" fmla="*/ 23 h 109"/>
                  <a:gd name="T28" fmla="*/ 216 w 234"/>
                  <a:gd name="T29" fmla="*/ 11 h 109"/>
                  <a:gd name="T30" fmla="*/ 207 w 234"/>
                  <a:gd name="T31" fmla="*/ 9 h 109"/>
                  <a:gd name="T32" fmla="*/ 195 w 234"/>
                  <a:gd name="T33" fmla="*/ 5 h 109"/>
                  <a:gd name="T34" fmla="*/ 178 w 234"/>
                  <a:gd name="T35" fmla="*/ 15 h 109"/>
                  <a:gd name="T36" fmla="*/ 161 w 234"/>
                  <a:gd name="T37" fmla="*/ 13 h 109"/>
                  <a:gd name="T38" fmla="*/ 136 w 234"/>
                  <a:gd name="T39" fmla="*/ 15 h 109"/>
                  <a:gd name="T40" fmla="*/ 122 w 234"/>
                  <a:gd name="T41" fmla="*/ 13 h 109"/>
                  <a:gd name="T42" fmla="*/ 111 w 234"/>
                  <a:gd name="T43" fmla="*/ 4 h 109"/>
                  <a:gd name="T44" fmla="*/ 76 w 234"/>
                  <a:gd name="T45" fmla="*/ 4 h 109"/>
                  <a:gd name="T46" fmla="*/ 63 w 234"/>
                  <a:gd name="T47" fmla="*/ 13 h 109"/>
                  <a:gd name="T48" fmla="*/ 34 w 234"/>
                  <a:gd name="T49" fmla="*/ 19 h 109"/>
                  <a:gd name="T50" fmla="*/ 34 w 234"/>
                  <a:gd name="T51" fmla="*/ 21 h 109"/>
                  <a:gd name="T52" fmla="*/ 19 w 234"/>
                  <a:gd name="T53" fmla="*/ 25 h 109"/>
                  <a:gd name="T54" fmla="*/ 21 w 234"/>
                  <a:gd name="T55" fmla="*/ 21 h 109"/>
                  <a:gd name="T56" fmla="*/ 21 w 234"/>
                  <a:gd name="T57" fmla="*/ 7 h 109"/>
                  <a:gd name="T58" fmla="*/ 15 w 234"/>
                  <a:gd name="T59" fmla="*/ 4 h 109"/>
                  <a:gd name="T60" fmla="*/ 7 w 234"/>
                  <a:gd name="T61" fmla="*/ 5 h 109"/>
                  <a:gd name="T62" fmla="*/ 7 w 234"/>
                  <a:gd name="T63" fmla="*/ 13 h 109"/>
                  <a:gd name="T64" fmla="*/ 0 w 234"/>
                  <a:gd name="T65" fmla="*/ 27 h 109"/>
                  <a:gd name="T66" fmla="*/ 9 w 234"/>
                  <a:gd name="T67" fmla="*/ 27 h 109"/>
                  <a:gd name="T68" fmla="*/ 0 w 234"/>
                  <a:gd name="T69" fmla="*/ 44 h 109"/>
                  <a:gd name="T70" fmla="*/ 7 w 234"/>
                  <a:gd name="T71" fmla="*/ 59 h 109"/>
                  <a:gd name="T72" fmla="*/ 1 w 234"/>
                  <a:gd name="T73" fmla="*/ 65 h 109"/>
                  <a:gd name="T74" fmla="*/ 9 w 234"/>
                  <a:gd name="T75" fmla="*/ 69 h 109"/>
                  <a:gd name="T76" fmla="*/ 21 w 234"/>
                  <a:gd name="T77" fmla="*/ 86 h 109"/>
                  <a:gd name="T78" fmla="*/ 28 w 234"/>
                  <a:gd name="T79" fmla="*/ 90 h 109"/>
                  <a:gd name="T80" fmla="*/ 49 w 234"/>
                  <a:gd name="T81" fmla="*/ 103 h 109"/>
                  <a:gd name="T82" fmla="*/ 59 w 234"/>
                  <a:gd name="T83" fmla="*/ 92 h 109"/>
                  <a:gd name="T84" fmla="*/ 78 w 234"/>
                  <a:gd name="T85" fmla="*/ 105 h 109"/>
                  <a:gd name="T86" fmla="*/ 103 w 234"/>
                  <a:gd name="T87" fmla="*/ 94 h 109"/>
                  <a:gd name="T88" fmla="*/ 117 w 234"/>
                  <a:gd name="T89" fmla="*/ 88 h 109"/>
                  <a:gd name="T90" fmla="*/ 115 w 234"/>
                  <a:gd name="T91" fmla="*/ 105 h 109"/>
                  <a:gd name="T92" fmla="*/ 213 w 234"/>
                  <a:gd name="T93" fmla="*/ 61 h 109"/>
                  <a:gd name="T94" fmla="*/ 197 w 234"/>
                  <a:gd name="T95" fmla="*/ 67 h 109"/>
                  <a:gd name="T96" fmla="*/ 211 w 234"/>
                  <a:gd name="T97" fmla="*/ 5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34" h="109">
                    <a:moveTo>
                      <a:pt x="119" y="107"/>
                    </a:moveTo>
                    <a:lnTo>
                      <a:pt x="119" y="109"/>
                    </a:lnTo>
                    <a:lnTo>
                      <a:pt x="124" y="109"/>
                    </a:lnTo>
                    <a:lnTo>
                      <a:pt x="126" y="105"/>
                    </a:lnTo>
                    <a:lnTo>
                      <a:pt x="128" y="103"/>
                    </a:lnTo>
                    <a:lnTo>
                      <a:pt x="132" y="101"/>
                    </a:lnTo>
                    <a:lnTo>
                      <a:pt x="132" y="100"/>
                    </a:lnTo>
                    <a:lnTo>
                      <a:pt x="130" y="96"/>
                    </a:lnTo>
                    <a:lnTo>
                      <a:pt x="132" y="94"/>
                    </a:lnTo>
                    <a:lnTo>
                      <a:pt x="136" y="94"/>
                    </a:lnTo>
                    <a:lnTo>
                      <a:pt x="138" y="94"/>
                    </a:lnTo>
                    <a:lnTo>
                      <a:pt x="140" y="92"/>
                    </a:lnTo>
                    <a:lnTo>
                      <a:pt x="143" y="90"/>
                    </a:lnTo>
                    <a:lnTo>
                      <a:pt x="147" y="92"/>
                    </a:lnTo>
                    <a:lnTo>
                      <a:pt x="151" y="92"/>
                    </a:lnTo>
                    <a:lnTo>
                      <a:pt x="159" y="90"/>
                    </a:lnTo>
                    <a:lnTo>
                      <a:pt x="168" y="86"/>
                    </a:lnTo>
                    <a:lnTo>
                      <a:pt x="176" y="84"/>
                    </a:lnTo>
                    <a:lnTo>
                      <a:pt x="184" y="84"/>
                    </a:lnTo>
                    <a:lnTo>
                      <a:pt x="190" y="80"/>
                    </a:lnTo>
                    <a:lnTo>
                      <a:pt x="195" y="78"/>
                    </a:lnTo>
                    <a:lnTo>
                      <a:pt x="197" y="82"/>
                    </a:lnTo>
                    <a:lnTo>
                      <a:pt x="197" y="82"/>
                    </a:lnTo>
                    <a:lnTo>
                      <a:pt x="199" y="82"/>
                    </a:lnTo>
                    <a:lnTo>
                      <a:pt x="201" y="82"/>
                    </a:lnTo>
                    <a:lnTo>
                      <a:pt x="203" y="82"/>
                    </a:lnTo>
                    <a:lnTo>
                      <a:pt x="207" y="82"/>
                    </a:lnTo>
                    <a:lnTo>
                      <a:pt x="211" y="84"/>
                    </a:lnTo>
                    <a:lnTo>
                      <a:pt x="213" y="80"/>
                    </a:lnTo>
                    <a:lnTo>
                      <a:pt x="214" y="80"/>
                    </a:lnTo>
                    <a:lnTo>
                      <a:pt x="216" y="80"/>
                    </a:lnTo>
                    <a:lnTo>
                      <a:pt x="218" y="84"/>
                    </a:lnTo>
                    <a:lnTo>
                      <a:pt x="222" y="82"/>
                    </a:lnTo>
                    <a:lnTo>
                      <a:pt x="226" y="84"/>
                    </a:lnTo>
                    <a:lnTo>
                      <a:pt x="228" y="82"/>
                    </a:lnTo>
                    <a:lnTo>
                      <a:pt x="228" y="78"/>
                    </a:lnTo>
                    <a:lnTo>
                      <a:pt x="226" y="75"/>
                    </a:lnTo>
                    <a:lnTo>
                      <a:pt x="224" y="71"/>
                    </a:lnTo>
                    <a:lnTo>
                      <a:pt x="222" y="67"/>
                    </a:lnTo>
                    <a:lnTo>
                      <a:pt x="222" y="61"/>
                    </a:lnTo>
                    <a:lnTo>
                      <a:pt x="224" y="59"/>
                    </a:lnTo>
                    <a:lnTo>
                      <a:pt x="224" y="55"/>
                    </a:lnTo>
                    <a:lnTo>
                      <a:pt x="224" y="53"/>
                    </a:lnTo>
                    <a:lnTo>
                      <a:pt x="224" y="52"/>
                    </a:lnTo>
                    <a:lnTo>
                      <a:pt x="222" y="50"/>
                    </a:lnTo>
                    <a:lnTo>
                      <a:pt x="224" y="46"/>
                    </a:lnTo>
                    <a:lnTo>
                      <a:pt x="226" y="44"/>
                    </a:lnTo>
                    <a:lnTo>
                      <a:pt x="228" y="44"/>
                    </a:lnTo>
                    <a:lnTo>
                      <a:pt x="230" y="46"/>
                    </a:lnTo>
                    <a:lnTo>
                      <a:pt x="232" y="46"/>
                    </a:lnTo>
                    <a:lnTo>
                      <a:pt x="234" y="42"/>
                    </a:lnTo>
                    <a:lnTo>
                      <a:pt x="234" y="38"/>
                    </a:lnTo>
                    <a:lnTo>
                      <a:pt x="230" y="34"/>
                    </a:lnTo>
                    <a:lnTo>
                      <a:pt x="222" y="30"/>
                    </a:lnTo>
                    <a:lnTo>
                      <a:pt x="216" y="27"/>
                    </a:lnTo>
                    <a:lnTo>
                      <a:pt x="218" y="23"/>
                    </a:lnTo>
                    <a:lnTo>
                      <a:pt x="220" y="21"/>
                    </a:lnTo>
                    <a:lnTo>
                      <a:pt x="220" y="15"/>
                    </a:lnTo>
                    <a:lnTo>
                      <a:pt x="220" y="11"/>
                    </a:lnTo>
                    <a:lnTo>
                      <a:pt x="216" y="11"/>
                    </a:lnTo>
                    <a:lnTo>
                      <a:pt x="216" y="9"/>
                    </a:lnTo>
                    <a:lnTo>
                      <a:pt x="214" y="7"/>
                    </a:lnTo>
                    <a:lnTo>
                      <a:pt x="211" y="9"/>
                    </a:lnTo>
                    <a:lnTo>
                      <a:pt x="207" y="9"/>
                    </a:lnTo>
                    <a:lnTo>
                      <a:pt x="205" y="7"/>
                    </a:lnTo>
                    <a:lnTo>
                      <a:pt x="201" y="5"/>
                    </a:lnTo>
                    <a:lnTo>
                      <a:pt x="199" y="5"/>
                    </a:lnTo>
                    <a:lnTo>
                      <a:pt x="195" y="5"/>
                    </a:lnTo>
                    <a:lnTo>
                      <a:pt x="190" y="7"/>
                    </a:lnTo>
                    <a:lnTo>
                      <a:pt x="188" y="5"/>
                    </a:lnTo>
                    <a:lnTo>
                      <a:pt x="184" y="11"/>
                    </a:lnTo>
                    <a:lnTo>
                      <a:pt x="178" y="15"/>
                    </a:lnTo>
                    <a:lnTo>
                      <a:pt x="172" y="17"/>
                    </a:lnTo>
                    <a:lnTo>
                      <a:pt x="166" y="17"/>
                    </a:lnTo>
                    <a:lnTo>
                      <a:pt x="165" y="15"/>
                    </a:lnTo>
                    <a:lnTo>
                      <a:pt x="161" y="13"/>
                    </a:lnTo>
                    <a:lnTo>
                      <a:pt x="159" y="17"/>
                    </a:lnTo>
                    <a:lnTo>
                      <a:pt x="153" y="19"/>
                    </a:lnTo>
                    <a:lnTo>
                      <a:pt x="147" y="19"/>
                    </a:lnTo>
                    <a:lnTo>
                      <a:pt x="136" y="15"/>
                    </a:lnTo>
                    <a:lnTo>
                      <a:pt x="134" y="11"/>
                    </a:lnTo>
                    <a:lnTo>
                      <a:pt x="132" y="9"/>
                    </a:lnTo>
                    <a:lnTo>
                      <a:pt x="126" y="11"/>
                    </a:lnTo>
                    <a:lnTo>
                      <a:pt x="122" y="13"/>
                    </a:lnTo>
                    <a:lnTo>
                      <a:pt x="120" y="9"/>
                    </a:lnTo>
                    <a:lnTo>
                      <a:pt x="119" y="5"/>
                    </a:lnTo>
                    <a:lnTo>
                      <a:pt x="115" y="4"/>
                    </a:lnTo>
                    <a:lnTo>
                      <a:pt x="111" y="4"/>
                    </a:lnTo>
                    <a:lnTo>
                      <a:pt x="109" y="0"/>
                    </a:lnTo>
                    <a:lnTo>
                      <a:pt x="97" y="0"/>
                    </a:lnTo>
                    <a:lnTo>
                      <a:pt x="84" y="0"/>
                    </a:lnTo>
                    <a:lnTo>
                      <a:pt x="76" y="4"/>
                    </a:lnTo>
                    <a:lnTo>
                      <a:pt x="71" y="9"/>
                    </a:lnTo>
                    <a:lnTo>
                      <a:pt x="67" y="9"/>
                    </a:lnTo>
                    <a:lnTo>
                      <a:pt x="65" y="9"/>
                    </a:lnTo>
                    <a:lnTo>
                      <a:pt x="63" y="13"/>
                    </a:lnTo>
                    <a:lnTo>
                      <a:pt x="61" y="15"/>
                    </a:lnTo>
                    <a:lnTo>
                      <a:pt x="48" y="15"/>
                    </a:lnTo>
                    <a:lnTo>
                      <a:pt x="36" y="13"/>
                    </a:lnTo>
                    <a:lnTo>
                      <a:pt x="34" y="19"/>
                    </a:lnTo>
                    <a:lnTo>
                      <a:pt x="38" y="19"/>
                    </a:lnTo>
                    <a:lnTo>
                      <a:pt x="42" y="21"/>
                    </a:lnTo>
                    <a:lnTo>
                      <a:pt x="38" y="21"/>
                    </a:lnTo>
                    <a:lnTo>
                      <a:pt x="34" y="21"/>
                    </a:lnTo>
                    <a:lnTo>
                      <a:pt x="34" y="23"/>
                    </a:lnTo>
                    <a:lnTo>
                      <a:pt x="36" y="25"/>
                    </a:lnTo>
                    <a:lnTo>
                      <a:pt x="26" y="25"/>
                    </a:lnTo>
                    <a:lnTo>
                      <a:pt x="19" y="25"/>
                    </a:lnTo>
                    <a:lnTo>
                      <a:pt x="19" y="29"/>
                    </a:lnTo>
                    <a:lnTo>
                      <a:pt x="15" y="27"/>
                    </a:lnTo>
                    <a:lnTo>
                      <a:pt x="9" y="27"/>
                    </a:lnTo>
                    <a:lnTo>
                      <a:pt x="21" y="21"/>
                    </a:lnTo>
                    <a:lnTo>
                      <a:pt x="32" y="17"/>
                    </a:lnTo>
                    <a:lnTo>
                      <a:pt x="32" y="13"/>
                    </a:lnTo>
                    <a:lnTo>
                      <a:pt x="26" y="11"/>
                    </a:lnTo>
                    <a:lnTo>
                      <a:pt x="21" y="7"/>
                    </a:lnTo>
                    <a:lnTo>
                      <a:pt x="19" y="5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1" y="2"/>
                    </a:lnTo>
                    <a:lnTo>
                      <a:pt x="9" y="4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3" y="9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1" y="30"/>
                    </a:lnTo>
                    <a:lnTo>
                      <a:pt x="5" y="29"/>
                    </a:lnTo>
                    <a:lnTo>
                      <a:pt x="9" y="27"/>
                    </a:lnTo>
                    <a:lnTo>
                      <a:pt x="5" y="30"/>
                    </a:lnTo>
                    <a:lnTo>
                      <a:pt x="1" y="36"/>
                    </a:lnTo>
                    <a:lnTo>
                      <a:pt x="0" y="38"/>
                    </a:lnTo>
                    <a:lnTo>
                      <a:pt x="0" y="44"/>
                    </a:lnTo>
                    <a:lnTo>
                      <a:pt x="3" y="44"/>
                    </a:lnTo>
                    <a:lnTo>
                      <a:pt x="7" y="46"/>
                    </a:lnTo>
                    <a:lnTo>
                      <a:pt x="7" y="53"/>
                    </a:lnTo>
                    <a:lnTo>
                      <a:pt x="7" y="59"/>
                    </a:lnTo>
                    <a:lnTo>
                      <a:pt x="9" y="61"/>
                    </a:lnTo>
                    <a:lnTo>
                      <a:pt x="11" y="63"/>
                    </a:lnTo>
                    <a:lnTo>
                      <a:pt x="5" y="63"/>
                    </a:lnTo>
                    <a:lnTo>
                      <a:pt x="1" y="65"/>
                    </a:lnTo>
                    <a:lnTo>
                      <a:pt x="3" y="69"/>
                    </a:lnTo>
                    <a:lnTo>
                      <a:pt x="3" y="71"/>
                    </a:lnTo>
                    <a:lnTo>
                      <a:pt x="5" y="71"/>
                    </a:lnTo>
                    <a:lnTo>
                      <a:pt x="9" y="69"/>
                    </a:lnTo>
                    <a:lnTo>
                      <a:pt x="11" y="78"/>
                    </a:lnTo>
                    <a:lnTo>
                      <a:pt x="11" y="86"/>
                    </a:lnTo>
                    <a:lnTo>
                      <a:pt x="15" y="86"/>
                    </a:lnTo>
                    <a:lnTo>
                      <a:pt x="21" y="86"/>
                    </a:lnTo>
                    <a:lnTo>
                      <a:pt x="21" y="88"/>
                    </a:lnTo>
                    <a:lnTo>
                      <a:pt x="21" y="92"/>
                    </a:lnTo>
                    <a:lnTo>
                      <a:pt x="24" y="92"/>
                    </a:lnTo>
                    <a:lnTo>
                      <a:pt x="28" y="90"/>
                    </a:lnTo>
                    <a:lnTo>
                      <a:pt x="34" y="98"/>
                    </a:lnTo>
                    <a:lnTo>
                      <a:pt x="42" y="105"/>
                    </a:lnTo>
                    <a:lnTo>
                      <a:pt x="46" y="103"/>
                    </a:lnTo>
                    <a:lnTo>
                      <a:pt x="49" y="103"/>
                    </a:lnTo>
                    <a:lnTo>
                      <a:pt x="53" y="98"/>
                    </a:lnTo>
                    <a:lnTo>
                      <a:pt x="55" y="94"/>
                    </a:lnTo>
                    <a:lnTo>
                      <a:pt x="57" y="92"/>
                    </a:lnTo>
                    <a:lnTo>
                      <a:pt x="59" y="92"/>
                    </a:lnTo>
                    <a:lnTo>
                      <a:pt x="65" y="94"/>
                    </a:lnTo>
                    <a:lnTo>
                      <a:pt x="71" y="98"/>
                    </a:lnTo>
                    <a:lnTo>
                      <a:pt x="74" y="101"/>
                    </a:lnTo>
                    <a:lnTo>
                      <a:pt x="78" y="105"/>
                    </a:lnTo>
                    <a:lnTo>
                      <a:pt x="86" y="105"/>
                    </a:lnTo>
                    <a:lnTo>
                      <a:pt x="94" y="101"/>
                    </a:lnTo>
                    <a:lnTo>
                      <a:pt x="99" y="96"/>
                    </a:lnTo>
                    <a:lnTo>
                      <a:pt x="103" y="94"/>
                    </a:lnTo>
                    <a:lnTo>
                      <a:pt x="105" y="96"/>
                    </a:lnTo>
                    <a:lnTo>
                      <a:pt x="111" y="96"/>
                    </a:lnTo>
                    <a:lnTo>
                      <a:pt x="113" y="92"/>
                    </a:lnTo>
                    <a:lnTo>
                      <a:pt x="117" y="88"/>
                    </a:lnTo>
                    <a:lnTo>
                      <a:pt x="117" y="92"/>
                    </a:lnTo>
                    <a:lnTo>
                      <a:pt x="119" y="98"/>
                    </a:lnTo>
                    <a:lnTo>
                      <a:pt x="115" y="100"/>
                    </a:lnTo>
                    <a:lnTo>
                      <a:pt x="115" y="105"/>
                    </a:lnTo>
                    <a:lnTo>
                      <a:pt x="117" y="109"/>
                    </a:lnTo>
                    <a:lnTo>
                      <a:pt x="119" y="107"/>
                    </a:lnTo>
                    <a:close/>
                    <a:moveTo>
                      <a:pt x="214" y="55"/>
                    </a:moveTo>
                    <a:lnTo>
                      <a:pt x="213" y="61"/>
                    </a:lnTo>
                    <a:lnTo>
                      <a:pt x="213" y="67"/>
                    </a:lnTo>
                    <a:lnTo>
                      <a:pt x="207" y="67"/>
                    </a:lnTo>
                    <a:lnTo>
                      <a:pt x="199" y="67"/>
                    </a:lnTo>
                    <a:lnTo>
                      <a:pt x="197" y="67"/>
                    </a:lnTo>
                    <a:lnTo>
                      <a:pt x="197" y="65"/>
                    </a:lnTo>
                    <a:lnTo>
                      <a:pt x="199" y="63"/>
                    </a:lnTo>
                    <a:lnTo>
                      <a:pt x="203" y="61"/>
                    </a:lnTo>
                    <a:lnTo>
                      <a:pt x="211" y="57"/>
                    </a:lnTo>
                    <a:lnTo>
                      <a:pt x="214" y="5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4" name="Freeform 32"/>
              <p:cNvSpPr>
                <a:spLocks/>
              </p:cNvSpPr>
              <p:nvPr/>
            </p:nvSpPr>
            <p:spPr bwMode="gray">
              <a:xfrm>
                <a:off x="4473480" y="3513139"/>
                <a:ext cx="80953" cy="177800"/>
              </a:xfrm>
              <a:custGeom>
                <a:avLst/>
                <a:gdLst>
                  <a:gd name="T0" fmla="*/ 49 w 51"/>
                  <a:gd name="T1" fmla="*/ 66 h 112"/>
                  <a:gd name="T2" fmla="*/ 49 w 51"/>
                  <a:gd name="T3" fmla="*/ 64 h 112"/>
                  <a:gd name="T4" fmla="*/ 49 w 51"/>
                  <a:gd name="T5" fmla="*/ 64 h 112"/>
                  <a:gd name="T6" fmla="*/ 48 w 51"/>
                  <a:gd name="T7" fmla="*/ 64 h 112"/>
                  <a:gd name="T8" fmla="*/ 46 w 51"/>
                  <a:gd name="T9" fmla="*/ 66 h 112"/>
                  <a:gd name="T10" fmla="*/ 42 w 51"/>
                  <a:gd name="T11" fmla="*/ 62 h 112"/>
                  <a:gd name="T12" fmla="*/ 40 w 51"/>
                  <a:gd name="T13" fmla="*/ 60 h 112"/>
                  <a:gd name="T14" fmla="*/ 38 w 51"/>
                  <a:gd name="T15" fmla="*/ 56 h 112"/>
                  <a:gd name="T16" fmla="*/ 38 w 51"/>
                  <a:gd name="T17" fmla="*/ 52 h 112"/>
                  <a:gd name="T18" fmla="*/ 40 w 51"/>
                  <a:gd name="T19" fmla="*/ 50 h 112"/>
                  <a:gd name="T20" fmla="*/ 44 w 51"/>
                  <a:gd name="T21" fmla="*/ 48 h 112"/>
                  <a:gd name="T22" fmla="*/ 46 w 51"/>
                  <a:gd name="T23" fmla="*/ 39 h 112"/>
                  <a:gd name="T24" fmla="*/ 48 w 51"/>
                  <a:gd name="T25" fmla="*/ 29 h 112"/>
                  <a:gd name="T26" fmla="*/ 44 w 51"/>
                  <a:gd name="T27" fmla="*/ 29 h 112"/>
                  <a:gd name="T28" fmla="*/ 42 w 51"/>
                  <a:gd name="T29" fmla="*/ 29 h 112"/>
                  <a:gd name="T30" fmla="*/ 42 w 51"/>
                  <a:gd name="T31" fmla="*/ 25 h 112"/>
                  <a:gd name="T32" fmla="*/ 42 w 51"/>
                  <a:gd name="T33" fmla="*/ 21 h 112"/>
                  <a:gd name="T34" fmla="*/ 46 w 51"/>
                  <a:gd name="T35" fmla="*/ 14 h 112"/>
                  <a:gd name="T36" fmla="*/ 51 w 51"/>
                  <a:gd name="T37" fmla="*/ 6 h 112"/>
                  <a:gd name="T38" fmla="*/ 48 w 51"/>
                  <a:gd name="T39" fmla="*/ 6 h 112"/>
                  <a:gd name="T40" fmla="*/ 44 w 51"/>
                  <a:gd name="T41" fmla="*/ 8 h 112"/>
                  <a:gd name="T42" fmla="*/ 40 w 51"/>
                  <a:gd name="T43" fmla="*/ 8 h 112"/>
                  <a:gd name="T44" fmla="*/ 40 w 51"/>
                  <a:gd name="T45" fmla="*/ 6 h 112"/>
                  <a:gd name="T46" fmla="*/ 40 w 51"/>
                  <a:gd name="T47" fmla="*/ 2 h 112"/>
                  <a:gd name="T48" fmla="*/ 36 w 51"/>
                  <a:gd name="T49" fmla="*/ 0 h 112"/>
                  <a:gd name="T50" fmla="*/ 34 w 51"/>
                  <a:gd name="T51" fmla="*/ 0 h 112"/>
                  <a:gd name="T52" fmla="*/ 26 w 51"/>
                  <a:gd name="T53" fmla="*/ 2 h 112"/>
                  <a:gd name="T54" fmla="*/ 21 w 51"/>
                  <a:gd name="T55" fmla="*/ 6 h 112"/>
                  <a:gd name="T56" fmla="*/ 13 w 51"/>
                  <a:gd name="T57" fmla="*/ 6 h 112"/>
                  <a:gd name="T58" fmla="*/ 7 w 51"/>
                  <a:gd name="T59" fmla="*/ 4 h 112"/>
                  <a:gd name="T60" fmla="*/ 7 w 51"/>
                  <a:gd name="T61" fmla="*/ 10 h 112"/>
                  <a:gd name="T62" fmla="*/ 9 w 51"/>
                  <a:gd name="T63" fmla="*/ 16 h 112"/>
                  <a:gd name="T64" fmla="*/ 11 w 51"/>
                  <a:gd name="T65" fmla="*/ 18 h 112"/>
                  <a:gd name="T66" fmla="*/ 9 w 51"/>
                  <a:gd name="T67" fmla="*/ 23 h 112"/>
                  <a:gd name="T68" fmla="*/ 11 w 51"/>
                  <a:gd name="T69" fmla="*/ 29 h 112"/>
                  <a:gd name="T70" fmla="*/ 13 w 51"/>
                  <a:gd name="T71" fmla="*/ 35 h 112"/>
                  <a:gd name="T72" fmla="*/ 11 w 51"/>
                  <a:gd name="T73" fmla="*/ 39 h 112"/>
                  <a:gd name="T74" fmla="*/ 9 w 51"/>
                  <a:gd name="T75" fmla="*/ 42 h 112"/>
                  <a:gd name="T76" fmla="*/ 7 w 51"/>
                  <a:gd name="T77" fmla="*/ 46 h 112"/>
                  <a:gd name="T78" fmla="*/ 3 w 51"/>
                  <a:gd name="T79" fmla="*/ 50 h 112"/>
                  <a:gd name="T80" fmla="*/ 0 w 51"/>
                  <a:gd name="T81" fmla="*/ 50 h 112"/>
                  <a:gd name="T82" fmla="*/ 0 w 51"/>
                  <a:gd name="T83" fmla="*/ 54 h 112"/>
                  <a:gd name="T84" fmla="*/ 0 w 51"/>
                  <a:gd name="T85" fmla="*/ 62 h 112"/>
                  <a:gd name="T86" fmla="*/ 1 w 51"/>
                  <a:gd name="T87" fmla="*/ 67 h 112"/>
                  <a:gd name="T88" fmla="*/ 3 w 51"/>
                  <a:gd name="T89" fmla="*/ 67 h 112"/>
                  <a:gd name="T90" fmla="*/ 7 w 51"/>
                  <a:gd name="T91" fmla="*/ 69 h 112"/>
                  <a:gd name="T92" fmla="*/ 9 w 51"/>
                  <a:gd name="T93" fmla="*/ 75 h 112"/>
                  <a:gd name="T94" fmla="*/ 9 w 51"/>
                  <a:gd name="T95" fmla="*/ 81 h 112"/>
                  <a:gd name="T96" fmla="*/ 17 w 51"/>
                  <a:gd name="T97" fmla="*/ 83 h 112"/>
                  <a:gd name="T98" fmla="*/ 21 w 51"/>
                  <a:gd name="T99" fmla="*/ 112 h 112"/>
                  <a:gd name="T100" fmla="*/ 26 w 51"/>
                  <a:gd name="T101" fmla="*/ 110 h 112"/>
                  <a:gd name="T102" fmla="*/ 28 w 51"/>
                  <a:gd name="T103" fmla="*/ 106 h 112"/>
                  <a:gd name="T104" fmla="*/ 30 w 51"/>
                  <a:gd name="T105" fmla="*/ 102 h 112"/>
                  <a:gd name="T106" fmla="*/ 30 w 51"/>
                  <a:gd name="T107" fmla="*/ 98 h 112"/>
                  <a:gd name="T108" fmla="*/ 30 w 51"/>
                  <a:gd name="T109" fmla="*/ 92 h 112"/>
                  <a:gd name="T110" fmla="*/ 30 w 51"/>
                  <a:gd name="T111" fmla="*/ 89 h 112"/>
                  <a:gd name="T112" fmla="*/ 32 w 51"/>
                  <a:gd name="T113" fmla="*/ 87 h 112"/>
                  <a:gd name="T114" fmla="*/ 36 w 51"/>
                  <a:gd name="T115" fmla="*/ 85 h 112"/>
                  <a:gd name="T116" fmla="*/ 40 w 51"/>
                  <a:gd name="T117" fmla="*/ 83 h 112"/>
                  <a:gd name="T118" fmla="*/ 44 w 51"/>
                  <a:gd name="T119" fmla="*/ 79 h 112"/>
                  <a:gd name="T120" fmla="*/ 48 w 51"/>
                  <a:gd name="T121" fmla="*/ 75 h 112"/>
                  <a:gd name="T122" fmla="*/ 46 w 51"/>
                  <a:gd name="T123" fmla="*/ 71 h 112"/>
                  <a:gd name="T124" fmla="*/ 49 w 51"/>
                  <a:gd name="T125" fmla="*/ 6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" h="112">
                    <a:moveTo>
                      <a:pt x="49" y="66"/>
                    </a:moveTo>
                    <a:lnTo>
                      <a:pt x="49" y="64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62"/>
                    </a:lnTo>
                    <a:lnTo>
                      <a:pt x="40" y="60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40" y="50"/>
                    </a:lnTo>
                    <a:lnTo>
                      <a:pt x="44" y="48"/>
                    </a:lnTo>
                    <a:lnTo>
                      <a:pt x="46" y="39"/>
                    </a:lnTo>
                    <a:lnTo>
                      <a:pt x="48" y="29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2" y="25"/>
                    </a:lnTo>
                    <a:lnTo>
                      <a:pt x="42" y="21"/>
                    </a:lnTo>
                    <a:lnTo>
                      <a:pt x="46" y="14"/>
                    </a:lnTo>
                    <a:lnTo>
                      <a:pt x="51" y="6"/>
                    </a:lnTo>
                    <a:lnTo>
                      <a:pt x="48" y="6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40" y="2"/>
                    </a:lnTo>
                    <a:lnTo>
                      <a:pt x="36" y="0"/>
                    </a:lnTo>
                    <a:lnTo>
                      <a:pt x="34" y="0"/>
                    </a:lnTo>
                    <a:lnTo>
                      <a:pt x="26" y="2"/>
                    </a:lnTo>
                    <a:lnTo>
                      <a:pt x="21" y="6"/>
                    </a:lnTo>
                    <a:lnTo>
                      <a:pt x="13" y="6"/>
                    </a:lnTo>
                    <a:lnTo>
                      <a:pt x="7" y="4"/>
                    </a:lnTo>
                    <a:lnTo>
                      <a:pt x="7" y="10"/>
                    </a:lnTo>
                    <a:lnTo>
                      <a:pt x="9" y="16"/>
                    </a:lnTo>
                    <a:lnTo>
                      <a:pt x="11" y="18"/>
                    </a:lnTo>
                    <a:lnTo>
                      <a:pt x="9" y="23"/>
                    </a:lnTo>
                    <a:lnTo>
                      <a:pt x="11" y="29"/>
                    </a:lnTo>
                    <a:lnTo>
                      <a:pt x="13" y="35"/>
                    </a:lnTo>
                    <a:lnTo>
                      <a:pt x="11" y="39"/>
                    </a:lnTo>
                    <a:lnTo>
                      <a:pt x="9" y="42"/>
                    </a:lnTo>
                    <a:lnTo>
                      <a:pt x="7" y="46"/>
                    </a:lnTo>
                    <a:lnTo>
                      <a:pt x="3" y="50"/>
                    </a:lnTo>
                    <a:lnTo>
                      <a:pt x="0" y="50"/>
                    </a:lnTo>
                    <a:lnTo>
                      <a:pt x="0" y="54"/>
                    </a:lnTo>
                    <a:lnTo>
                      <a:pt x="0" y="62"/>
                    </a:lnTo>
                    <a:lnTo>
                      <a:pt x="1" y="67"/>
                    </a:lnTo>
                    <a:lnTo>
                      <a:pt x="3" y="67"/>
                    </a:lnTo>
                    <a:lnTo>
                      <a:pt x="7" y="69"/>
                    </a:lnTo>
                    <a:lnTo>
                      <a:pt x="9" y="75"/>
                    </a:lnTo>
                    <a:lnTo>
                      <a:pt x="9" y="81"/>
                    </a:lnTo>
                    <a:lnTo>
                      <a:pt x="17" y="83"/>
                    </a:lnTo>
                    <a:lnTo>
                      <a:pt x="21" y="112"/>
                    </a:lnTo>
                    <a:lnTo>
                      <a:pt x="26" y="110"/>
                    </a:lnTo>
                    <a:lnTo>
                      <a:pt x="28" y="106"/>
                    </a:lnTo>
                    <a:lnTo>
                      <a:pt x="30" y="102"/>
                    </a:lnTo>
                    <a:lnTo>
                      <a:pt x="30" y="98"/>
                    </a:lnTo>
                    <a:lnTo>
                      <a:pt x="30" y="92"/>
                    </a:lnTo>
                    <a:lnTo>
                      <a:pt x="30" y="89"/>
                    </a:lnTo>
                    <a:lnTo>
                      <a:pt x="32" y="87"/>
                    </a:lnTo>
                    <a:lnTo>
                      <a:pt x="36" y="85"/>
                    </a:lnTo>
                    <a:lnTo>
                      <a:pt x="40" y="83"/>
                    </a:lnTo>
                    <a:lnTo>
                      <a:pt x="44" y="79"/>
                    </a:lnTo>
                    <a:lnTo>
                      <a:pt x="48" y="75"/>
                    </a:lnTo>
                    <a:lnTo>
                      <a:pt x="46" y="71"/>
                    </a:lnTo>
                    <a:lnTo>
                      <a:pt x="49" y="6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5" name="Freeform 33"/>
              <p:cNvSpPr>
                <a:spLocks/>
              </p:cNvSpPr>
              <p:nvPr/>
            </p:nvSpPr>
            <p:spPr bwMode="gray">
              <a:xfrm>
                <a:off x="3114731" y="4189414"/>
                <a:ext cx="7937" cy="15875"/>
              </a:xfrm>
              <a:custGeom>
                <a:avLst/>
                <a:gdLst>
                  <a:gd name="T0" fmla="*/ 0 w 5"/>
                  <a:gd name="T1" fmla="*/ 0 h 10"/>
                  <a:gd name="T2" fmla="*/ 0 w 5"/>
                  <a:gd name="T3" fmla="*/ 6 h 10"/>
                  <a:gd name="T4" fmla="*/ 2 w 5"/>
                  <a:gd name="T5" fmla="*/ 10 h 10"/>
                  <a:gd name="T6" fmla="*/ 3 w 5"/>
                  <a:gd name="T7" fmla="*/ 10 h 10"/>
                  <a:gd name="T8" fmla="*/ 5 w 5"/>
                  <a:gd name="T9" fmla="*/ 8 h 10"/>
                  <a:gd name="T10" fmla="*/ 5 w 5"/>
                  <a:gd name="T11" fmla="*/ 4 h 10"/>
                  <a:gd name="T12" fmla="*/ 5 w 5"/>
                  <a:gd name="T13" fmla="*/ 0 h 10"/>
                  <a:gd name="T14" fmla="*/ 2 w 5"/>
                  <a:gd name="T15" fmla="*/ 0 h 10"/>
                  <a:gd name="T16" fmla="*/ 0 w 5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0">
                    <a:moveTo>
                      <a:pt x="0" y="0"/>
                    </a:moveTo>
                    <a:lnTo>
                      <a:pt x="0" y="6"/>
                    </a:lnTo>
                    <a:lnTo>
                      <a:pt x="2" y="10"/>
                    </a:lnTo>
                    <a:lnTo>
                      <a:pt x="3" y="10"/>
                    </a:lnTo>
                    <a:lnTo>
                      <a:pt x="5" y="8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6" name="Freeform 34"/>
              <p:cNvSpPr>
                <a:spLocks/>
              </p:cNvSpPr>
              <p:nvPr/>
            </p:nvSpPr>
            <p:spPr bwMode="gray">
              <a:xfrm>
                <a:off x="4324271" y="4165601"/>
                <a:ext cx="41270" cy="152400"/>
              </a:xfrm>
              <a:custGeom>
                <a:avLst/>
                <a:gdLst>
                  <a:gd name="T0" fmla="*/ 24 w 26"/>
                  <a:gd name="T1" fmla="*/ 86 h 96"/>
                  <a:gd name="T2" fmla="*/ 24 w 26"/>
                  <a:gd name="T3" fmla="*/ 86 h 96"/>
                  <a:gd name="T4" fmla="*/ 24 w 26"/>
                  <a:gd name="T5" fmla="*/ 82 h 96"/>
                  <a:gd name="T6" fmla="*/ 23 w 26"/>
                  <a:gd name="T7" fmla="*/ 81 h 96"/>
                  <a:gd name="T8" fmla="*/ 23 w 26"/>
                  <a:gd name="T9" fmla="*/ 81 h 96"/>
                  <a:gd name="T10" fmla="*/ 23 w 26"/>
                  <a:gd name="T11" fmla="*/ 77 h 96"/>
                  <a:gd name="T12" fmla="*/ 21 w 26"/>
                  <a:gd name="T13" fmla="*/ 71 h 96"/>
                  <a:gd name="T14" fmla="*/ 21 w 26"/>
                  <a:gd name="T15" fmla="*/ 67 h 96"/>
                  <a:gd name="T16" fmla="*/ 23 w 26"/>
                  <a:gd name="T17" fmla="*/ 63 h 96"/>
                  <a:gd name="T18" fmla="*/ 23 w 26"/>
                  <a:gd name="T19" fmla="*/ 57 h 96"/>
                  <a:gd name="T20" fmla="*/ 23 w 26"/>
                  <a:gd name="T21" fmla="*/ 52 h 96"/>
                  <a:gd name="T22" fmla="*/ 23 w 26"/>
                  <a:gd name="T23" fmla="*/ 48 h 96"/>
                  <a:gd name="T24" fmla="*/ 23 w 26"/>
                  <a:gd name="T25" fmla="*/ 40 h 96"/>
                  <a:gd name="T26" fmla="*/ 23 w 26"/>
                  <a:gd name="T27" fmla="*/ 34 h 96"/>
                  <a:gd name="T28" fmla="*/ 23 w 26"/>
                  <a:gd name="T29" fmla="*/ 33 h 96"/>
                  <a:gd name="T30" fmla="*/ 23 w 26"/>
                  <a:gd name="T31" fmla="*/ 31 h 96"/>
                  <a:gd name="T32" fmla="*/ 21 w 26"/>
                  <a:gd name="T33" fmla="*/ 25 h 96"/>
                  <a:gd name="T34" fmla="*/ 23 w 26"/>
                  <a:gd name="T35" fmla="*/ 19 h 96"/>
                  <a:gd name="T36" fmla="*/ 21 w 26"/>
                  <a:gd name="T37" fmla="*/ 17 h 96"/>
                  <a:gd name="T38" fmla="*/ 11 w 26"/>
                  <a:gd name="T39" fmla="*/ 13 h 96"/>
                  <a:gd name="T40" fmla="*/ 13 w 26"/>
                  <a:gd name="T41" fmla="*/ 2 h 96"/>
                  <a:gd name="T42" fmla="*/ 11 w 26"/>
                  <a:gd name="T43" fmla="*/ 2 h 96"/>
                  <a:gd name="T44" fmla="*/ 7 w 26"/>
                  <a:gd name="T45" fmla="*/ 0 h 96"/>
                  <a:gd name="T46" fmla="*/ 3 w 26"/>
                  <a:gd name="T47" fmla="*/ 0 h 96"/>
                  <a:gd name="T48" fmla="*/ 1 w 26"/>
                  <a:gd name="T49" fmla="*/ 0 h 96"/>
                  <a:gd name="T50" fmla="*/ 0 w 26"/>
                  <a:gd name="T51" fmla="*/ 6 h 96"/>
                  <a:gd name="T52" fmla="*/ 1 w 26"/>
                  <a:gd name="T53" fmla="*/ 11 h 96"/>
                  <a:gd name="T54" fmla="*/ 3 w 26"/>
                  <a:gd name="T55" fmla="*/ 13 h 96"/>
                  <a:gd name="T56" fmla="*/ 5 w 26"/>
                  <a:gd name="T57" fmla="*/ 19 h 96"/>
                  <a:gd name="T58" fmla="*/ 5 w 26"/>
                  <a:gd name="T59" fmla="*/ 25 h 96"/>
                  <a:gd name="T60" fmla="*/ 5 w 26"/>
                  <a:gd name="T61" fmla="*/ 31 h 96"/>
                  <a:gd name="T62" fmla="*/ 5 w 26"/>
                  <a:gd name="T63" fmla="*/ 34 h 96"/>
                  <a:gd name="T64" fmla="*/ 7 w 26"/>
                  <a:gd name="T65" fmla="*/ 36 h 96"/>
                  <a:gd name="T66" fmla="*/ 3 w 26"/>
                  <a:gd name="T67" fmla="*/ 40 h 96"/>
                  <a:gd name="T68" fmla="*/ 5 w 26"/>
                  <a:gd name="T69" fmla="*/ 48 h 96"/>
                  <a:gd name="T70" fmla="*/ 9 w 26"/>
                  <a:gd name="T71" fmla="*/ 52 h 96"/>
                  <a:gd name="T72" fmla="*/ 9 w 26"/>
                  <a:gd name="T73" fmla="*/ 56 h 96"/>
                  <a:gd name="T74" fmla="*/ 9 w 26"/>
                  <a:gd name="T75" fmla="*/ 63 h 96"/>
                  <a:gd name="T76" fmla="*/ 7 w 26"/>
                  <a:gd name="T77" fmla="*/ 69 h 96"/>
                  <a:gd name="T78" fmla="*/ 7 w 26"/>
                  <a:gd name="T79" fmla="*/ 71 h 96"/>
                  <a:gd name="T80" fmla="*/ 7 w 26"/>
                  <a:gd name="T81" fmla="*/ 75 h 96"/>
                  <a:gd name="T82" fmla="*/ 7 w 26"/>
                  <a:gd name="T83" fmla="*/ 77 h 96"/>
                  <a:gd name="T84" fmla="*/ 7 w 26"/>
                  <a:gd name="T85" fmla="*/ 79 h 96"/>
                  <a:gd name="T86" fmla="*/ 13 w 26"/>
                  <a:gd name="T87" fmla="*/ 84 h 96"/>
                  <a:gd name="T88" fmla="*/ 15 w 26"/>
                  <a:gd name="T89" fmla="*/ 90 h 96"/>
                  <a:gd name="T90" fmla="*/ 17 w 26"/>
                  <a:gd name="T91" fmla="*/ 92 h 96"/>
                  <a:gd name="T92" fmla="*/ 15 w 26"/>
                  <a:gd name="T93" fmla="*/ 96 h 96"/>
                  <a:gd name="T94" fmla="*/ 15 w 26"/>
                  <a:gd name="T95" fmla="*/ 96 h 96"/>
                  <a:gd name="T96" fmla="*/ 19 w 26"/>
                  <a:gd name="T97" fmla="*/ 96 h 96"/>
                  <a:gd name="T98" fmla="*/ 23 w 26"/>
                  <a:gd name="T99" fmla="*/ 92 h 96"/>
                  <a:gd name="T100" fmla="*/ 26 w 26"/>
                  <a:gd name="T101" fmla="*/ 86 h 96"/>
                  <a:gd name="T102" fmla="*/ 24 w 26"/>
                  <a:gd name="T103" fmla="*/ 8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" h="96">
                    <a:moveTo>
                      <a:pt x="24" y="86"/>
                    </a:moveTo>
                    <a:lnTo>
                      <a:pt x="24" y="86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77"/>
                    </a:lnTo>
                    <a:lnTo>
                      <a:pt x="21" y="71"/>
                    </a:lnTo>
                    <a:lnTo>
                      <a:pt x="21" y="67"/>
                    </a:lnTo>
                    <a:lnTo>
                      <a:pt x="23" y="63"/>
                    </a:lnTo>
                    <a:lnTo>
                      <a:pt x="23" y="57"/>
                    </a:lnTo>
                    <a:lnTo>
                      <a:pt x="23" y="52"/>
                    </a:lnTo>
                    <a:lnTo>
                      <a:pt x="23" y="48"/>
                    </a:lnTo>
                    <a:lnTo>
                      <a:pt x="23" y="40"/>
                    </a:lnTo>
                    <a:lnTo>
                      <a:pt x="23" y="34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21" y="25"/>
                    </a:lnTo>
                    <a:lnTo>
                      <a:pt x="23" y="19"/>
                    </a:lnTo>
                    <a:lnTo>
                      <a:pt x="21" y="17"/>
                    </a:lnTo>
                    <a:lnTo>
                      <a:pt x="11" y="1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6"/>
                    </a:lnTo>
                    <a:lnTo>
                      <a:pt x="1" y="11"/>
                    </a:lnTo>
                    <a:lnTo>
                      <a:pt x="3" y="13"/>
                    </a:lnTo>
                    <a:lnTo>
                      <a:pt x="5" y="19"/>
                    </a:lnTo>
                    <a:lnTo>
                      <a:pt x="5" y="25"/>
                    </a:lnTo>
                    <a:lnTo>
                      <a:pt x="5" y="31"/>
                    </a:lnTo>
                    <a:lnTo>
                      <a:pt x="5" y="34"/>
                    </a:lnTo>
                    <a:lnTo>
                      <a:pt x="7" y="36"/>
                    </a:lnTo>
                    <a:lnTo>
                      <a:pt x="3" y="40"/>
                    </a:lnTo>
                    <a:lnTo>
                      <a:pt x="5" y="48"/>
                    </a:lnTo>
                    <a:lnTo>
                      <a:pt x="9" y="52"/>
                    </a:lnTo>
                    <a:lnTo>
                      <a:pt x="9" y="56"/>
                    </a:lnTo>
                    <a:lnTo>
                      <a:pt x="9" y="63"/>
                    </a:lnTo>
                    <a:lnTo>
                      <a:pt x="7" y="69"/>
                    </a:lnTo>
                    <a:lnTo>
                      <a:pt x="7" y="71"/>
                    </a:lnTo>
                    <a:lnTo>
                      <a:pt x="7" y="75"/>
                    </a:lnTo>
                    <a:lnTo>
                      <a:pt x="7" y="77"/>
                    </a:lnTo>
                    <a:lnTo>
                      <a:pt x="7" y="79"/>
                    </a:lnTo>
                    <a:lnTo>
                      <a:pt x="13" y="84"/>
                    </a:lnTo>
                    <a:lnTo>
                      <a:pt x="15" y="90"/>
                    </a:lnTo>
                    <a:lnTo>
                      <a:pt x="17" y="92"/>
                    </a:lnTo>
                    <a:lnTo>
                      <a:pt x="15" y="96"/>
                    </a:lnTo>
                    <a:lnTo>
                      <a:pt x="15" y="96"/>
                    </a:lnTo>
                    <a:lnTo>
                      <a:pt x="19" y="96"/>
                    </a:lnTo>
                    <a:lnTo>
                      <a:pt x="23" y="92"/>
                    </a:lnTo>
                    <a:lnTo>
                      <a:pt x="26" y="86"/>
                    </a:lnTo>
                    <a:lnTo>
                      <a:pt x="24" y="8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7" name="Freeform 35"/>
              <p:cNvSpPr>
                <a:spLocks/>
              </p:cNvSpPr>
              <p:nvPr/>
            </p:nvSpPr>
            <p:spPr bwMode="gray">
              <a:xfrm>
                <a:off x="6263981" y="3960814"/>
                <a:ext cx="155558" cy="366713"/>
              </a:xfrm>
              <a:custGeom>
                <a:avLst/>
                <a:gdLst>
                  <a:gd name="T0" fmla="*/ 15 w 98"/>
                  <a:gd name="T1" fmla="*/ 146 h 231"/>
                  <a:gd name="T2" fmla="*/ 15 w 98"/>
                  <a:gd name="T3" fmla="*/ 148 h 231"/>
                  <a:gd name="T4" fmla="*/ 13 w 98"/>
                  <a:gd name="T5" fmla="*/ 156 h 231"/>
                  <a:gd name="T6" fmla="*/ 10 w 98"/>
                  <a:gd name="T7" fmla="*/ 171 h 231"/>
                  <a:gd name="T8" fmla="*/ 19 w 98"/>
                  <a:gd name="T9" fmla="*/ 194 h 231"/>
                  <a:gd name="T10" fmla="*/ 33 w 98"/>
                  <a:gd name="T11" fmla="*/ 217 h 231"/>
                  <a:gd name="T12" fmla="*/ 36 w 98"/>
                  <a:gd name="T13" fmla="*/ 221 h 231"/>
                  <a:gd name="T14" fmla="*/ 42 w 98"/>
                  <a:gd name="T15" fmla="*/ 231 h 231"/>
                  <a:gd name="T16" fmla="*/ 46 w 98"/>
                  <a:gd name="T17" fmla="*/ 227 h 231"/>
                  <a:gd name="T18" fmla="*/ 52 w 98"/>
                  <a:gd name="T19" fmla="*/ 221 h 231"/>
                  <a:gd name="T20" fmla="*/ 48 w 98"/>
                  <a:gd name="T21" fmla="*/ 210 h 231"/>
                  <a:gd name="T22" fmla="*/ 38 w 98"/>
                  <a:gd name="T23" fmla="*/ 202 h 231"/>
                  <a:gd name="T24" fmla="*/ 33 w 98"/>
                  <a:gd name="T25" fmla="*/ 192 h 231"/>
                  <a:gd name="T26" fmla="*/ 29 w 98"/>
                  <a:gd name="T27" fmla="*/ 185 h 231"/>
                  <a:gd name="T28" fmla="*/ 23 w 98"/>
                  <a:gd name="T29" fmla="*/ 179 h 231"/>
                  <a:gd name="T30" fmla="*/ 21 w 98"/>
                  <a:gd name="T31" fmla="*/ 173 h 231"/>
                  <a:gd name="T32" fmla="*/ 19 w 98"/>
                  <a:gd name="T33" fmla="*/ 162 h 231"/>
                  <a:gd name="T34" fmla="*/ 25 w 98"/>
                  <a:gd name="T35" fmla="*/ 139 h 231"/>
                  <a:gd name="T36" fmla="*/ 27 w 98"/>
                  <a:gd name="T37" fmla="*/ 114 h 231"/>
                  <a:gd name="T38" fmla="*/ 31 w 98"/>
                  <a:gd name="T39" fmla="*/ 110 h 231"/>
                  <a:gd name="T40" fmla="*/ 38 w 98"/>
                  <a:gd name="T41" fmla="*/ 110 h 231"/>
                  <a:gd name="T42" fmla="*/ 40 w 98"/>
                  <a:gd name="T43" fmla="*/ 115 h 231"/>
                  <a:gd name="T44" fmla="*/ 48 w 98"/>
                  <a:gd name="T45" fmla="*/ 119 h 231"/>
                  <a:gd name="T46" fmla="*/ 52 w 98"/>
                  <a:gd name="T47" fmla="*/ 119 h 231"/>
                  <a:gd name="T48" fmla="*/ 56 w 98"/>
                  <a:gd name="T49" fmla="*/ 125 h 231"/>
                  <a:gd name="T50" fmla="*/ 60 w 98"/>
                  <a:gd name="T51" fmla="*/ 131 h 231"/>
                  <a:gd name="T52" fmla="*/ 60 w 98"/>
                  <a:gd name="T53" fmla="*/ 133 h 231"/>
                  <a:gd name="T54" fmla="*/ 61 w 98"/>
                  <a:gd name="T55" fmla="*/ 123 h 231"/>
                  <a:gd name="T56" fmla="*/ 56 w 98"/>
                  <a:gd name="T57" fmla="*/ 106 h 231"/>
                  <a:gd name="T58" fmla="*/ 61 w 98"/>
                  <a:gd name="T59" fmla="*/ 96 h 231"/>
                  <a:gd name="T60" fmla="*/ 71 w 98"/>
                  <a:gd name="T61" fmla="*/ 94 h 231"/>
                  <a:gd name="T62" fmla="*/ 83 w 98"/>
                  <a:gd name="T63" fmla="*/ 91 h 231"/>
                  <a:gd name="T64" fmla="*/ 92 w 98"/>
                  <a:gd name="T65" fmla="*/ 87 h 231"/>
                  <a:gd name="T66" fmla="*/ 98 w 98"/>
                  <a:gd name="T67" fmla="*/ 79 h 231"/>
                  <a:gd name="T68" fmla="*/ 96 w 98"/>
                  <a:gd name="T69" fmla="*/ 69 h 231"/>
                  <a:gd name="T70" fmla="*/ 92 w 98"/>
                  <a:gd name="T71" fmla="*/ 62 h 231"/>
                  <a:gd name="T72" fmla="*/ 86 w 98"/>
                  <a:gd name="T73" fmla="*/ 54 h 231"/>
                  <a:gd name="T74" fmla="*/ 84 w 98"/>
                  <a:gd name="T75" fmla="*/ 41 h 231"/>
                  <a:gd name="T76" fmla="*/ 77 w 98"/>
                  <a:gd name="T77" fmla="*/ 31 h 231"/>
                  <a:gd name="T78" fmla="*/ 69 w 98"/>
                  <a:gd name="T79" fmla="*/ 23 h 231"/>
                  <a:gd name="T80" fmla="*/ 60 w 98"/>
                  <a:gd name="T81" fmla="*/ 25 h 231"/>
                  <a:gd name="T82" fmla="*/ 54 w 98"/>
                  <a:gd name="T83" fmla="*/ 33 h 231"/>
                  <a:gd name="T84" fmla="*/ 48 w 98"/>
                  <a:gd name="T85" fmla="*/ 31 h 231"/>
                  <a:gd name="T86" fmla="*/ 38 w 98"/>
                  <a:gd name="T87" fmla="*/ 29 h 231"/>
                  <a:gd name="T88" fmla="*/ 36 w 98"/>
                  <a:gd name="T89" fmla="*/ 21 h 231"/>
                  <a:gd name="T90" fmla="*/ 42 w 98"/>
                  <a:gd name="T91" fmla="*/ 12 h 231"/>
                  <a:gd name="T92" fmla="*/ 36 w 98"/>
                  <a:gd name="T93" fmla="*/ 8 h 231"/>
                  <a:gd name="T94" fmla="*/ 33 w 98"/>
                  <a:gd name="T95" fmla="*/ 2 h 231"/>
                  <a:gd name="T96" fmla="*/ 23 w 98"/>
                  <a:gd name="T97" fmla="*/ 4 h 231"/>
                  <a:gd name="T98" fmla="*/ 17 w 98"/>
                  <a:gd name="T99" fmla="*/ 0 h 231"/>
                  <a:gd name="T100" fmla="*/ 15 w 98"/>
                  <a:gd name="T101" fmla="*/ 10 h 231"/>
                  <a:gd name="T102" fmla="*/ 8 w 98"/>
                  <a:gd name="T103" fmla="*/ 16 h 231"/>
                  <a:gd name="T104" fmla="*/ 2 w 98"/>
                  <a:gd name="T105" fmla="*/ 21 h 231"/>
                  <a:gd name="T106" fmla="*/ 2 w 98"/>
                  <a:gd name="T107" fmla="*/ 35 h 231"/>
                  <a:gd name="T108" fmla="*/ 2 w 98"/>
                  <a:gd name="T109" fmla="*/ 54 h 231"/>
                  <a:gd name="T110" fmla="*/ 13 w 98"/>
                  <a:gd name="T111" fmla="*/ 66 h 231"/>
                  <a:gd name="T112" fmla="*/ 8 w 98"/>
                  <a:gd name="T113" fmla="*/ 75 h 231"/>
                  <a:gd name="T114" fmla="*/ 13 w 98"/>
                  <a:gd name="T115" fmla="*/ 98 h 231"/>
                  <a:gd name="T116" fmla="*/ 23 w 98"/>
                  <a:gd name="T117" fmla="*/ 115 h 231"/>
                  <a:gd name="T118" fmla="*/ 21 w 98"/>
                  <a:gd name="T119" fmla="*/ 129 h 231"/>
                  <a:gd name="T120" fmla="*/ 17 w 98"/>
                  <a:gd name="T121" fmla="*/ 142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8" h="231">
                    <a:moveTo>
                      <a:pt x="15" y="142"/>
                    </a:moveTo>
                    <a:lnTo>
                      <a:pt x="15" y="146"/>
                    </a:lnTo>
                    <a:lnTo>
                      <a:pt x="15" y="148"/>
                    </a:lnTo>
                    <a:lnTo>
                      <a:pt x="15" y="148"/>
                    </a:lnTo>
                    <a:lnTo>
                      <a:pt x="13" y="148"/>
                    </a:lnTo>
                    <a:lnTo>
                      <a:pt x="13" y="156"/>
                    </a:lnTo>
                    <a:lnTo>
                      <a:pt x="13" y="165"/>
                    </a:lnTo>
                    <a:lnTo>
                      <a:pt x="10" y="171"/>
                    </a:lnTo>
                    <a:lnTo>
                      <a:pt x="8" y="179"/>
                    </a:lnTo>
                    <a:lnTo>
                      <a:pt x="19" y="194"/>
                    </a:lnTo>
                    <a:lnTo>
                      <a:pt x="31" y="211"/>
                    </a:lnTo>
                    <a:lnTo>
                      <a:pt x="33" y="217"/>
                    </a:lnTo>
                    <a:lnTo>
                      <a:pt x="33" y="223"/>
                    </a:lnTo>
                    <a:lnTo>
                      <a:pt x="36" y="221"/>
                    </a:lnTo>
                    <a:lnTo>
                      <a:pt x="42" y="225"/>
                    </a:lnTo>
                    <a:lnTo>
                      <a:pt x="42" y="231"/>
                    </a:lnTo>
                    <a:lnTo>
                      <a:pt x="46" y="231"/>
                    </a:lnTo>
                    <a:lnTo>
                      <a:pt x="46" y="227"/>
                    </a:lnTo>
                    <a:lnTo>
                      <a:pt x="50" y="229"/>
                    </a:lnTo>
                    <a:lnTo>
                      <a:pt x="52" y="221"/>
                    </a:lnTo>
                    <a:lnTo>
                      <a:pt x="52" y="217"/>
                    </a:lnTo>
                    <a:lnTo>
                      <a:pt x="48" y="210"/>
                    </a:lnTo>
                    <a:lnTo>
                      <a:pt x="44" y="204"/>
                    </a:lnTo>
                    <a:lnTo>
                      <a:pt x="38" y="202"/>
                    </a:lnTo>
                    <a:lnTo>
                      <a:pt x="35" y="200"/>
                    </a:lnTo>
                    <a:lnTo>
                      <a:pt x="33" y="192"/>
                    </a:lnTo>
                    <a:lnTo>
                      <a:pt x="31" y="185"/>
                    </a:lnTo>
                    <a:lnTo>
                      <a:pt x="29" y="185"/>
                    </a:lnTo>
                    <a:lnTo>
                      <a:pt x="25" y="185"/>
                    </a:lnTo>
                    <a:lnTo>
                      <a:pt x="23" y="179"/>
                    </a:lnTo>
                    <a:lnTo>
                      <a:pt x="21" y="173"/>
                    </a:lnTo>
                    <a:lnTo>
                      <a:pt x="21" y="173"/>
                    </a:lnTo>
                    <a:lnTo>
                      <a:pt x="19" y="173"/>
                    </a:lnTo>
                    <a:lnTo>
                      <a:pt x="19" y="162"/>
                    </a:lnTo>
                    <a:lnTo>
                      <a:pt x="23" y="150"/>
                    </a:lnTo>
                    <a:lnTo>
                      <a:pt x="25" y="139"/>
                    </a:lnTo>
                    <a:lnTo>
                      <a:pt x="29" y="129"/>
                    </a:lnTo>
                    <a:lnTo>
                      <a:pt x="27" y="114"/>
                    </a:lnTo>
                    <a:lnTo>
                      <a:pt x="27" y="110"/>
                    </a:lnTo>
                    <a:lnTo>
                      <a:pt x="31" y="110"/>
                    </a:lnTo>
                    <a:lnTo>
                      <a:pt x="36" y="108"/>
                    </a:lnTo>
                    <a:lnTo>
                      <a:pt x="38" y="110"/>
                    </a:lnTo>
                    <a:lnTo>
                      <a:pt x="40" y="110"/>
                    </a:lnTo>
                    <a:lnTo>
                      <a:pt x="40" y="115"/>
                    </a:lnTo>
                    <a:lnTo>
                      <a:pt x="42" y="119"/>
                    </a:lnTo>
                    <a:lnTo>
                      <a:pt x="48" y="119"/>
                    </a:lnTo>
                    <a:lnTo>
                      <a:pt x="52" y="117"/>
                    </a:lnTo>
                    <a:lnTo>
                      <a:pt x="52" y="119"/>
                    </a:lnTo>
                    <a:lnTo>
                      <a:pt x="52" y="123"/>
                    </a:lnTo>
                    <a:lnTo>
                      <a:pt x="56" y="125"/>
                    </a:lnTo>
                    <a:lnTo>
                      <a:pt x="60" y="127"/>
                    </a:lnTo>
                    <a:lnTo>
                      <a:pt x="60" y="131"/>
                    </a:lnTo>
                    <a:lnTo>
                      <a:pt x="60" y="133"/>
                    </a:lnTo>
                    <a:lnTo>
                      <a:pt x="60" y="133"/>
                    </a:lnTo>
                    <a:lnTo>
                      <a:pt x="61" y="133"/>
                    </a:lnTo>
                    <a:lnTo>
                      <a:pt x="61" y="123"/>
                    </a:lnTo>
                    <a:lnTo>
                      <a:pt x="58" y="115"/>
                    </a:lnTo>
                    <a:lnTo>
                      <a:pt x="56" y="106"/>
                    </a:lnTo>
                    <a:lnTo>
                      <a:pt x="58" y="98"/>
                    </a:lnTo>
                    <a:lnTo>
                      <a:pt x="61" y="96"/>
                    </a:lnTo>
                    <a:lnTo>
                      <a:pt x="67" y="94"/>
                    </a:lnTo>
                    <a:lnTo>
                      <a:pt x="71" y="94"/>
                    </a:lnTo>
                    <a:lnTo>
                      <a:pt x="75" y="94"/>
                    </a:lnTo>
                    <a:lnTo>
                      <a:pt x="83" y="91"/>
                    </a:lnTo>
                    <a:lnTo>
                      <a:pt x="84" y="87"/>
                    </a:lnTo>
                    <a:lnTo>
                      <a:pt x="92" y="87"/>
                    </a:lnTo>
                    <a:lnTo>
                      <a:pt x="96" y="85"/>
                    </a:lnTo>
                    <a:lnTo>
                      <a:pt x="98" y="79"/>
                    </a:lnTo>
                    <a:lnTo>
                      <a:pt x="98" y="77"/>
                    </a:lnTo>
                    <a:lnTo>
                      <a:pt x="96" y="69"/>
                    </a:lnTo>
                    <a:lnTo>
                      <a:pt x="94" y="66"/>
                    </a:lnTo>
                    <a:lnTo>
                      <a:pt x="92" y="62"/>
                    </a:lnTo>
                    <a:lnTo>
                      <a:pt x="88" y="58"/>
                    </a:lnTo>
                    <a:lnTo>
                      <a:pt x="86" y="54"/>
                    </a:lnTo>
                    <a:lnTo>
                      <a:pt x="84" y="46"/>
                    </a:lnTo>
                    <a:lnTo>
                      <a:pt x="84" y="41"/>
                    </a:lnTo>
                    <a:lnTo>
                      <a:pt x="81" y="31"/>
                    </a:lnTo>
                    <a:lnTo>
                      <a:pt x="77" y="31"/>
                    </a:lnTo>
                    <a:lnTo>
                      <a:pt x="71" y="29"/>
                    </a:lnTo>
                    <a:lnTo>
                      <a:pt x="69" y="23"/>
                    </a:lnTo>
                    <a:lnTo>
                      <a:pt x="63" y="23"/>
                    </a:lnTo>
                    <a:lnTo>
                      <a:pt x="60" y="25"/>
                    </a:lnTo>
                    <a:lnTo>
                      <a:pt x="56" y="27"/>
                    </a:lnTo>
                    <a:lnTo>
                      <a:pt x="54" y="33"/>
                    </a:lnTo>
                    <a:lnTo>
                      <a:pt x="50" y="33"/>
                    </a:lnTo>
                    <a:lnTo>
                      <a:pt x="48" y="31"/>
                    </a:lnTo>
                    <a:lnTo>
                      <a:pt x="44" y="29"/>
                    </a:lnTo>
                    <a:lnTo>
                      <a:pt x="38" y="29"/>
                    </a:lnTo>
                    <a:lnTo>
                      <a:pt x="38" y="23"/>
                    </a:lnTo>
                    <a:lnTo>
                      <a:pt x="36" y="21"/>
                    </a:lnTo>
                    <a:lnTo>
                      <a:pt x="36" y="18"/>
                    </a:lnTo>
                    <a:lnTo>
                      <a:pt x="42" y="12"/>
                    </a:lnTo>
                    <a:lnTo>
                      <a:pt x="40" y="6"/>
                    </a:lnTo>
                    <a:lnTo>
                      <a:pt x="36" y="8"/>
                    </a:lnTo>
                    <a:lnTo>
                      <a:pt x="33" y="6"/>
                    </a:lnTo>
                    <a:lnTo>
                      <a:pt x="33" y="2"/>
                    </a:lnTo>
                    <a:lnTo>
                      <a:pt x="33" y="4"/>
                    </a:lnTo>
                    <a:lnTo>
                      <a:pt x="23" y="4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5" y="6"/>
                    </a:lnTo>
                    <a:lnTo>
                      <a:pt x="15" y="10"/>
                    </a:lnTo>
                    <a:lnTo>
                      <a:pt x="12" y="12"/>
                    </a:lnTo>
                    <a:lnTo>
                      <a:pt x="8" y="16"/>
                    </a:lnTo>
                    <a:lnTo>
                      <a:pt x="2" y="18"/>
                    </a:lnTo>
                    <a:lnTo>
                      <a:pt x="2" y="21"/>
                    </a:lnTo>
                    <a:lnTo>
                      <a:pt x="4" y="29"/>
                    </a:lnTo>
                    <a:lnTo>
                      <a:pt x="2" y="35"/>
                    </a:lnTo>
                    <a:lnTo>
                      <a:pt x="0" y="43"/>
                    </a:lnTo>
                    <a:lnTo>
                      <a:pt x="2" y="54"/>
                    </a:lnTo>
                    <a:lnTo>
                      <a:pt x="10" y="60"/>
                    </a:lnTo>
                    <a:lnTo>
                      <a:pt x="13" y="66"/>
                    </a:lnTo>
                    <a:lnTo>
                      <a:pt x="13" y="73"/>
                    </a:lnTo>
                    <a:lnTo>
                      <a:pt x="8" y="75"/>
                    </a:lnTo>
                    <a:lnTo>
                      <a:pt x="10" y="89"/>
                    </a:lnTo>
                    <a:lnTo>
                      <a:pt x="13" y="98"/>
                    </a:lnTo>
                    <a:lnTo>
                      <a:pt x="19" y="106"/>
                    </a:lnTo>
                    <a:lnTo>
                      <a:pt x="23" y="115"/>
                    </a:lnTo>
                    <a:lnTo>
                      <a:pt x="23" y="123"/>
                    </a:lnTo>
                    <a:lnTo>
                      <a:pt x="21" y="129"/>
                    </a:lnTo>
                    <a:lnTo>
                      <a:pt x="17" y="137"/>
                    </a:lnTo>
                    <a:lnTo>
                      <a:pt x="17" y="142"/>
                    </a:lnTo>
                    <a:lnTo>
                      <a:pt x="15" y="14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8" name="Freeform 36"/>
              <p:cNvSpPr>
                <a:spLocks noEditPoints="1"/>
              </p:cNvSpPr>
              <p:nvPr/>
            </p:nvSpPr>
            <p:spPr bwMode="gray">
              <a:xfrm>
                <a:off x="4911581" y="4500564"/>
                <a:ext cx="212701" cy="255588"/>
              </a:xfrm>
              <a:custGeom>
                <a:avLst/>
                <a:gdLst>
                  <a:gd name="T0" fmla="*/ 109 w 134"/>
                  <a:gd name="T1" fmla="*/ 33 h 161"/>
                  <a:gd name="T2" fmla="*/ 104 w 134"/>
                  <a:gd name="T3" fmla="*/ 25 h 161"/>
                  <a:gd name="T4" fmla="*/ 59 w 134"/>
                  <a:gd name="T5" fmla="*/ 0 h 161"/>
                  <a:gd name="T6" fmla="*/ 54 w 134"/>
                  <a:gd name="T7" fmla="*/ 8 h 161"/>
                  <a:gd name="T8" fmla="*/ 61 w 134"/>
                  <a:gd name="T9" fmla="*/ 15 h 161"/>
                  <a:gd name="T10" fmla="*/ 59 w 134"/>
                  <a:gd name="T11" fmla="*/ 15 h 161"/>
                  <a:gd name="T12" fmla="*/ 54 w 134"/>
                  <a:gd name="T13" fmla="*/ 23 h 161"/>
                  <a:gd name="T14" fmla="*/ 52 w 134"/>
                  <a:gd name="T15" fmla="*/ 19 h 161"/>
                  <a:gd name="T16" fmla="*/ 40 w 134"/>
                  <a:gd name="T17" fmla="*/ 19 h 161"/>
                  <a:gd name="T18" fmla="*/ 36 w 134"/>
                  <a:gd name="T19" fmla="*/ 25 h 161"/>
                  <a:gd name="T20" fmla="*/ 27 w 134"/>
                  <a:gd name="T21" fmla="*/ 19 h 161"/>
                  <a:gd name="T22" fmla="*/ 29 w 134"/>
                  <a:gd name="T23" fmla="*/ 0 h 161"/>
                  <a:gd name="T24" fmla="*/ 19 w 134"/>
                  <a:gd name="T25" fmla="*/ 10 h 161"/>
                  <a:gd name="T26" fmla="*/ 19 w 134"/>
                  <a:gd name="T27" fmla="*/ 19 h 161"/>
                  <a:gd name="T28" fmla="*/ 23 w 134"/>
                  <a:gd name="T29" fmla="*/ 29 h 161"/>
                  <a:gd name="T30" fmla="*/ 21 w 134"/>
                  <a:gd name="T31" fmla="*/ 35 h 161"/>
                  <a:gd name="T32" fmla="*/ 15 w 134"/>
                  <a:gd name="T33" fmla="*/ 46 h 161"/>
                  <a:gd name="T34" fmla="*/ 4 w 134"/>
                  <a:gd name="T35" fmla="*/ 48 h 161"/>
                  <a:gd name="T36" fmla="*/ 0 w 134"/>
                  <a:gd name="T37" fmla="*/ 71 h 161"/>
                  <a:gd name="T38" fmla="*/ 13 w 134"/>
                  <a:gd name="T39" fmla="*/ 86 h 161"/>
                  <a:gd name="T40" fmla="*/ 25 w 134"/>
                  <a:gd name="T41" fmla="*/ 106 h 161"/>
                  <a:gd name="T42" fmla="*/ 31 w 134"/>
                  <a:gd name="T43" fmla="*/ 109 h 161"/>
                  <a:gd name="T44" fmla="*/ 36 w 134"/>
                  <a:gd name="T45" fmla="*/ 117 h 161"/>
                  <a:gd name="T46" fmla="*/ 54 w 134"/>
                  <a:gd name="T47" fmla="*/ 123 h 161"/>
                  <a:gd name="T48" fmla="*/ 59 w 134"/>
                  <a:gd name="T49" fmla="*/ 129 h 161"/>
                  <a:gd name="T50" fmla="*/ 61 w 134"/>
                  <a:gd name="T51" fmla="*/ 152 h 161"/>
                  <a:gd name="T52" fmla="*/ 59 w 134"/>
                  <a:gd name="T53" fmla="*/ 159 h 161"/>
                  <a:gd name="T54" fmla="*/ 73 w 134"/>
                  <a:gd name="T55" fmla="*/ 155 h 161"/>
                  <a:gd name="T56" fmla="*/ 81 w 134"/>
                  <a:gd name="T57" fmla="*/ 161 h 161"/>
                  <a:gd name="T58" fmla="*/ 94 w 134"/>
                  <a:gd name="T59" fmla="*/ 159 h 161"/>
                  <a:gd name="T60" fmla="*/ 104 w 134"/>
                  <a:gd name="T61" fmla="*/ 154 h 161"/>
                  <a:gd name="T62" fmla="*/ 111 w 134"/>
                  <a:gd name="T63" fmla="*/ 152 h 161"/>
                  <a:gd name="T64" fmla="*/ 125 w 134"/>
                  <a:gd name="T65" fmla="*/ 148 h 161"/>
                  <a:gd name="T66" fmla="*/ 134 w 134"/>
                  <a:gd name="T67" fmla="*/ 140 h 161"/>
                  <a:gd name="T68" fmla="*/ 121 w 134"/>
                  <a:gd name="T69" fmla="*/ 121 h 161"/>
                  <a:gd name="T70" fmla="*/ 123 w 134"/>
                  <a:gd name="T71" fmla="*/ 90 h 161"/>
                  <a:gd name="T72" fmla="*/ 113 w 134"/>
                  <a:gd name="T73" fmla="*/ 73 h 161"/>
                  <a:gd name="T74" fmla="*/ 123 w 134"/>
                  <a:gd name="T75" fmla="*/ 42 h 161"/>
                  <a:gd name="T76" fmla="*/ 44 w 134"/>
                  <a:gd name="T77" fmla="*/ 96 h 161"/>
                  <a:gd name="T78" fmla="*/ 44 w 134"/>
                  <a:gd name="T79" fmla="*/ 98 h 161"/>
                  <a:gd name="T80" fmla="*/ 42 w 134"/>
                  <a:gd name="T81" fmla="*/ 92 h 161"/>
                  <a:gd name="T82" fmla="*/ 121 w 134"/>
                  <a:gd name="T83" fmla="*/ 77 h 161"/>
                  <a:gd name="T84" fmla="*/ 67 w 134"/>
                  <a:gd name="T85" fmla="*/ 36 h 161"/>
                  <a:gd name="T86" fmla="*/ 67 w 134"/>
                  <a:gd name="T87" fmla="*/ 40 h 161"/>
                  <a:gd name="T88" fmla="*/ 63 w 134"/>
                  <a:gd name="T89" fmla="*/ 40 h 161"/>
                  <a:gd name="T90" fmla="*/ 46 w 134"/>
                  <a:gd name="T91" fmla="*/ 8 h 161"/>
                  <a:gd name="T92" fmla="*/ 52 w 134"/>
                  <a:gd name="T93" fmla="*/ 8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34" h="161">
                    <a:moveTo>
                      <a:pt x="123" y="42"/>
                    </a:moveTo>
                    <a:lnTo>
                      <a:pt x="109" y="35"/>
                    </a:lnTo>
                    <a:lnTo>
                      <a:pt x="109" y="33"/>
                    </a:lnTo>
                    <a:lnTo>
                      <a:pt x="105" y="33"/>
                    </a:lnTo>
                    <a:lnTo>
                      <a:pt x="104" y="29"/>
                    </a:lnTo>
                    <a:lnTo>
                      <a:pt x="104" y="25"/>
                    </a:lnTo>
                    <a:lnTo>
                      <a:pt x="102" y="21"/>
                    </a:lnTo>
                    <a:lnTo>
                      <a:pt x="102" y="19"/>
                    </a:lnTo>
                    <a:lnTo>
                      <a:pt x="59" y="0"/>
                    </a:lnTo>
                    <a:lnTo>
                      <a:pt x="59" y="6"/>
                    </a:lnTo>
                    <a:lnTo>
                      <a:pt x="56" y="6"/>
                    </a:lnTo>
                    <a:lnTo>
                      <a:pt x="54" y="8"/>
                    </a:lnTo>
                    <a:lnTo>
                      <a:pt x="57" y="12"/>
                    </a:lnTo>
                    <a:lnTo>
                      <a:pt x="61" y="13"/>
                    </a:lnTo>
                    <a:lnTo>
                      <a:pt x="61" y="15"/>
                    </a:lnTo>
                    <a:lnTo>
                      <a:pt x="61" y="17"/>
                    </a:lnTo>
                    <a:lnTo>
                      <a:pt x="61" y="17"/>
                    </a:lnTo>
                    <a:lnTo>
                      <a:pt x="59" y="15"/>
                    </a:lnTo>
                    <a:lnTo>
                      <a:pt x="56" y="17"/>
                    </a:lnTo>
                    <a:lnTo>
                      <a:pt x="54" y="17"/>
                    </a:lnTo>
                    <a:lnTo>
                      <a:pt x="54" y="23"/>
                    </a:lnTo>
                    <a:lnTo>
                      <a:pt x="54" y="27"/>
                    </a:lnTo>
                    <a:lnTo>
                      <a:pt x="52" y="25"/>
                    </a:lnTo>
                    <a:lnTo>
                      <a:pt x="52" y="19"/>
                    </a:lnTo>
                    <a:lnTo>
                      <a:pt x="46" y="17"/>
                    </a:lnTo>
                    <a:lnTo>
                      <a:pt x="40" y="15"/>
                    </a:lnTo>
                    <a:lnTo>
                      <a:pt x="40" y="19"/>
                    </a:lnTo>
                    <a:lnTo>
                      <a:pt x="36" y="19"/>
                    </a:lnTo>
                    <a:lnTo>
                      <a:pt x="34" y="19"/>
                    </a:lnTo>
                    <a:lnTo>
                      <a:pt x="36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27" y="19"/>
                    </a:lnTo>
                    <a:lnTo>
                      <a:pt x="27" y="13"/>
                    </a:lnTo>
                    <a:lnTo>
                      <a:pt x="27" y="8"/>
                    </a:lnTo>
                    <a:lnTo>
                      <a:pt x="29" y="0"/>
                    </a:lnTo>
                    <a:lnTo>
                      <a:pt x="17" y="0"/>
                    </a:lnTo>
                    <a:lnTo>
                      <a:pt x="21" y="8"/>
                    </a:lnTo>
                    <a:lnTo>
                      <a:pt x="19" y="10"/>
                    </a:lnTo>
                    <a:lnTo>
                      <a:pt x="19" y="15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17" y="23"/>
                    </a:lnTo>
                    <a:lnTo>
                      <a:pt x="21" y="27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3" y="31"/>
                    </a:lnTo>
                    <a:lnTo>
                      <a:pt x="21" y="35"/>
                    </a:lnTo>
                    <a:lnTo>
                      <a:pt x="19" y="36"/>
                    </a:lnTo>
                    <a:lnTo>
                      <a:pt x="17" y="38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0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60"/>
                    </a:lnTo>
                    <a:lnTo>
                      <a:pt x="0" y="71"/>
                    </a:lnTo>
                    <a:lnTo>
                      <a:pt x="8" y="75"/>
                    </a:lnTo>
                    <a:lnTo>
                      <a:pt x="13" y="79"/>
                    </a:lnTo>
                    <a:lnTo>
                      <a:pt x="13" y="86"/>
                    </a:lnTo>
                    <a:lnTo>
                      <a:pt x="13" y="92"/>
                    </a:lnTo>
                    <a:lnTo>
                      <a:pt x="19" y="98"/>
                    </a:lnTo>
                    <a:lnTo>
                      <a:pt x="25" y="106"/>
                    </a:lnTo>
                    <a:lnTo>
                      <a:pt x="29" y="106"/>
                    </a:lnTo>
                    <a:lnTo>
                      <a:pt x="31" y="106"/>
                    </a:lnTo>
                    <a:lnTo>
                      <a:pt x="31" y="109"/>
                    </a:lnTo>
                    <a:lnTo>
                      <a:pt x="31" y="113"/>
                    </a:lnTo>
                    <a:lnTo>
                      <a:pt x="34" y="115"/>
                    </a:lnTo>
                    <a:lnTo>
                      <a:pt x="36" y="117"/>
                    </a:lnTo>
                    <a:lnTo>
                      <a:pt x="40" y="119"/>
                    </a:lnTo>
                    <a:lnTo>
                      <a:pt x="46" y="121"/>
                    </a:lnTo>
                    <a:lnTo>
                      <a:pt x="54" y="123"/>
                    </a:lnTo>
                    <a:lnTo>
                      <a:pt x="56" y="125"/>
                    </a:lnTo>
                    <a:lnTo>
                      <a:pt x="57" y="125"/>
                    </a:lnTo>
                    <a:lnTo>
                      <a:pt x="59" y="129"/>
                    </a:lnTo>
                    <a:lnTo>
                      <a:pt x="61" y="132"/>
                    </a:lnTo>
                    <a:lnTo>
                      <a:pt x="61" y="140"/>
                    </a:lnTo>
                    <a:lnTo>
                      <a:pt x="61" y="152"/>
                    </a:lnTo>
                    <a:lnTo>
                      <a:pt x="59" y="154"/>
                    </a:lnTo>
                    <a:lnTo>
                      <a:pt x="59" y="157"/>
                    </a:lnTo>
                    <a:lnTo>
                      <a:pt x="59" y="159"/>
                    </a:lnTo>
                    <a:lnTo>
                      <a:pt x="63" y="159"/>
                    </a:lnTo>
                    <a:lnTo>
                      <a:pt x="69" y="157"/>
                    </a:lnTo>
                    <a:lnTo>
                      <a:pt x="73" y="155"/>
                    </a:lnTo>
                    <a:lnTo>
                      <a:pt x="75" y="155"/>
                    </a:lnTo>
                    <a:lnTo>
                      <a:pt x="77" y="159"/>
                    </a:lnTo>
                    <a:lnTo>
                      <a:pt x="81" y="161"/>
                    </a:lnTo>
                    <a:lnTo>
                      <a:pt x="86" y="159"/>
                    </a:lnTo>
                    <a:lnTo>
                      <a:pt x="90" y="159"/>
                    </a:lnTo>
                    <a:lnTo>
                      <a:pt x="94" y="159"/>
                    </a:lnTo>
                    <a:lnTo>
                      <a:pt x="100" y="157"/>
                    </a:lnTo>
                    <a:lnTo>
                      <a:pt x="102" y="155"/>
                    </a:lnTo>
                    <a:lnTo>
                      <a:pt x="104" y="154"/>
                    </a:lnTo>
                    <a:lnTo>
                      <a:pt x="105" y="155"/>
                    </a:lnTo>
                    <a:lnTo>
                      <a:pt x="109" y="154"/>
                    </a:lnTo>
                    <a:lnTo>
                      <a:pt x="111" y="152"/>
                    </a:lnTo>
                    <a:lnTo>
                      <a:pt x="115" y="150"/>
                    </a:lnTo>
                    <a:lnTo>
                      <a:pt x="121" y="150"/>
                    </a:lnTo>
                    <a:lnTo>
                      <a:pt x="125" y="148"/>
                    </a:lnTo>
                    <a:lnTo>
                      <a:pt x="130" y="146"/>
                    </a:lnTo>
                    <a:lnTo>
                      <a:pt x="132" y="146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27" y="129"/>
                    </a:lnTo>
                    <a:lnTo>
                      <a:pt x="121" y="121"/>
                    </a:lnTo>
                    <a:lnTo>
                      <a:pt x="121" y="109"/>
                    </a:lnTo>
                    <a:lnTo>
                      <a:pt x="121" y="94"/>
                    </a:lnTo>
                    <a:lnTo>
                      <a:pt x="123" y="90"/>
                    </a:lnTo>
                    <a:lnTo>
                      <a:pt x="125" y="86"/>
                    </a:lnTo>
                    <a:lnTo>
                      <a:pt x="119" y="81"/>
                    </a:lnTo>
                    <a:lnTo>
                      <a:pt x="113" y="73"/>
                    </a:lnTo>
                    <a:lnTo>
                      <a:pt x="117" y="58"/>
                    </a:lnTo>
                    <a:lnTo>
                      <a:pt x="123" y="44"/>
                    </a:lnTo>
                    <a:lnTo>
                      <a:pt x="123" y="42"/>
                    </a:lnTo>
                    <a:close/>
                    <a:moveTo>
                      <a:pt x="42" y="92"/>
                    </a:moveTo>
                    <a:lnTo>
                      <a:pt x="44" y="94"/>
                    </a:lnTo>
                    <a:lnTo>
                      <a:pt x="44" y="96"/>
                    </a:lnTo>
                    <a:lnTo>
                      <a:pt x="46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2" y="98"/>
                    </a:lnTo>
                    <a:lnTo>
                      <a:pt x="40" y="94"/>
                    </a:lnTo>
                    <a:lnTo>
                      <a:pt x="42" y="92"/>
                    </a:lnTo>
                    <a:close/>
                    <a:moveTo>
                      <a:pt x="119" y="69"/>
                    </a:moveTo>
                    <a:lnTo>
                      <a:pt x="119" y="73"/>
                    </a:lnTo>
                    <a:lnTo>
                      <a:pt x="121" y="77"/>
                    </a:lnTo>
                    <a:lnTo>
                      <a:pt x="123" y="75"/>
                    </a:lnTo>
                    <a:lnTo>
                      <a:pt x="119" y="69"/>
                    </a:lnTo>
                    <a:close/>
                    <a:moveTo>
                      <a:pt x="67" y="36"/>
                    </a:moveTo>
                    <a:lnTo>
                      <a:pt x="69" y="36"/>
                    </a:lnTo>
                    <a:lnTo>
                      <a:pt x="69" y="38"/>
                    </a:lnTo>
                    <a:lnTo>
                      <a:pt x="67" y="40"/>
                    </a:lnTo>
                    <a:lnTo>
                      <a:pt x="67" y="40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5" y="38"/>
                    </a:lnTo>
                    <a:lnTo>
                      <a:pt x="67" y="36"/>
                    </a:lnTo>
                    <a:close/>
                    <a:moveTo>
                      <a:pt x="46" y="8"/>
                    </a:moveTo>
                    <a:lnTo>
                      <a:pt x="48" y="10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6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39" name="Freeform 37"/>
              <p:cNvSpPr>
                <a:spLocks/>
              </p:cNvSpPr>
              <p:nvPr/>
            </p:nvSpPr>
            <p:spPr bwMode="gray">
              <a:xfrm>
                <a:off x="5657623" y="3403601"/>
                <a:ext cx="146034" cy="142875"/>
              </a:xfrm>
              <a:custGeom>
                <a:avLst/>
                <a:gdLst>
                  <a:gd name="T0" fmla="*/ 73 w 92"/>
                  <a:gd name="T1" fmla="*/ 35 h 90"/>
                  <a:gd name="T2" fmla="*/ 73 w 92"/>
                  <a:gd name="T3" fmla="*/ 40 h 90"/>
                  <a:gd name="T4" fmla="*/ 85 w 92"/>
                  <a:gd name="T5" fmla="*/ 40 h 90"/>
                  <a:gd name="T6" fmla="*/ 86 w 92"/>
                  <a:gd name="T7" fmla="*/ 46 h 90"/>
                  <a:gd name="T8" fmla="*/ 88 w 92"/>
                  <a:gd name="T9" fmla="*/ 60 h 90"/>
                  <a:gd name="T10" fmla="*/ 90 w 92"/>
                  <a:gd name="T11" fmla="*/ 67 h 90"/>
                  <a:gd name="T12" fmla="*/ 86 w 92"/>
                  <a:gd name="T13" fmla="*/ 73 h 90"/>
                  <a:gd name="T14" fmla="*/ 69 w 92"/>
                  <a:gd name="T15" fmla="*/ 73 h 90"/>
                  <a:gd name="T16" fmla="*/ 56 w 92"/>
                  <a:gd name="T17" fmla="*/ 79 h 90"/>
                  <a:gd name="T18" fmla="*/ 48 w 92"/>
                  <a:gd name="T19" fmla="*/ 85 h 90"/>
                  <a:gd name="T20" fmla="*/ 37 w 92"/>
                  <a:gd name="T21" fmla="*/ 90 h 90"/>
                  <a:gd name="T22" fmla="*/ 33 w 92"/>
                  <a:gd name="T23" fmla="*/ 77 h 90"/>
                  <a:gd name="T24" fmla="*/ 31 w 92"/>
                  <a:gd name="T25" fmla="*/ 67 h 90"/>
                  <a:gd name="T26" fmla="*/ 25 w 92"/>
                  <a:gd name="T27" fmla="*/ 62 h 90"/>
                  <a:gd name="T28" fmla="*/ 19 w 92"/>
                  <a:gd name="T29" fmla="*/ 67 h 90"/>
                  <a:gd name="T30" fmla="*/ 10 w 92"/>
                  <a:gd name="T31" fmla="*/ 69 h 90"/>
                  <a:gd name="T32" fmla="*/ 6 w 92"/>
                  <a:gd name="T33" fmla="*/ 67 h 90"/>
                  <a:gd name="T34" fmla="*/ 10 w 92"/>
                  <a:gd name="T35" fmla="*/ 62 h 90"/>
                  <a:gd name="T36" fmla="*/ 15 w 92"/>
                  <a:gd name="T37" fmla="*/ 56 h 90"/>
                  <a:gd name="T38" fmla="*/ 12 w 92"/>
                  <a:gd name="T39" fmla="*/ 50 h 90"/>
                  <a:gd name="T40" fmla="*/ 12 w 92"/>
                  <a:gd name="T41" fmla="*/ 42 h 90"/>
                  <a:gd name="T42" fmla="*/ 4 w 92"/>
                  <a:gd name="T43" fmla="*/ 42 h 90"/>
                  <a:gd name="T44" fmla="*/ 0 w 92"/>
                  <a:gd name="T45" fmla="*/ 37 h 90"/>
                  <a:gd name="T46" fmla="*/ 0 w 92"/>
                  <a:gd name="T47" fmla="*/ 33 h 90"/>
                  <a:gd name="T48" fmla="*/ 8 w 92"/>
                  <a:gd name="T49" fmla="*/ 31 h 90"/>
                  <a:gd name="T50" fmla="*/ 12 w 92"/>
                  <a:gd name="T51" fmla="*/ 33 h 90"/>
                  <a:gd name="T52" fmla="*/ 19 w 92"/>
                  <a:gd name="T53" fmla="*/ 25 h 90"/>
                  <a:gd name="T54" fmla="*/ 17 w 92"/>
                  <a:gd name="T55" fmla="*/ 23 h 90"/>
                  <a:gd name="T56" fmla="*/ 23 w 92"/>
                  <a:gd name="T57" fmla="*/ 16 h 90"/>
                  <a:gd name="T58" fmla="*/ 21 w 92"/>
                  <a:gd name="T59" fmla="*/ 12 h 90"/>
                  <a:gd name="T60" fmla="*/ 23 w 92"/>
                  <a:gd name="T61" fmla="*/ 6 h 90"/>
                  <a:gd name="T62" fmla="*/ 27 w 92"/>
                  <a:gd name="T63" fmla="*/ 6 h 90"/>
                  <a:gd name="T64" fmla="*/ 33 w 92"/>
                  <a:gd name="T65" fmla="*/ 8 h 90"/>
                  <a:gd name="T66" fmla="*/ 37 w 92"/>
                  <a:gd name="T67" fmla="*/ 0 h 90"/>
                  <a:gd name="T68" fmla="*/ 42 w 92"/>
                  <a:gd name="T69" fmla="*/ 8 h 90"/>
                  <a:gd name="T70" fmla="*/ 37 w 92"/>
                  <a:gd name="T71" fmla="*/ 14 h 90"/>
                  <a:gd name="T72" fmla="*/ 38 w 92"/>
                  <a:gd name="T73" fmla="*/ 21 h 90"/>
                  <a:gd name="T74" fmla="*/ 27 w 92"/>
                  <a:gd name="T75" fmla="*/ 21 h 90"/>
                  <a:gd name="T76" fmla="*/ 38 w 92"/>
                  <a:gd name="T77" fmla="*/ 27 h 90"/>
                  <a:gd name="T78" fmla="*/ 42 w 92"/>
                  <a:gd name="T79" fmla="*/ 31 h 90"/>
                  <a:gd name="T80" fmla="*/ 50 w 92"/>
                  <a:gd name="T81" fmla="*/ 29 h 90"/>
                  <a:gd name="T82" fmla="*/ 56 w 92"/>
                  <a:gd name="T83" fmla="*/ 31 h 90"/>
                  <a:gd name="T84" fmla="*/ 63 w 92"/>
                  <a:gd name="T85" fmla="*/ 31 h 90"/>
                  <a:gd name="T86" fmla="*/ 73 w 92"/>
                  <a:gd name="T87" fmla="*/ 31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2" h="90">
                    <a:moveTo>
                      <a:pt x="73" y="31"/>
                    </a:moveTo>
                    <a:lnTo>
                      <a:pt x="73" y="35"/>
                    </a:lnTo>
                    <a:lnTo>
                      <a:pt x="73" y="37"/>
                    </a:lnTo>
                    <a:lnTo>
                      <a:pt x="73" y="40"/>
                    </a:lnTo>
                    <a:lnTo>
                      <a:pt x="77" y="44"/>
                    </a:lnTo>
                    <a:lnTo>
                      <a:pt x="85" y="40"/>
                    </a:lnTo>
                    <a:lnTo>
                      <a:pt x="86" y="42"/>
                    </a:lnTo>
                    <a:lnTo>
                      <a:pt x="86" y="46"/>
                    </a:lnTo>
                    <a:lnTo>
                      <a:pt x="85" y="52"/>
                    </a:lnTo>
                    <a:lnTo>
                      <a:pt x="88" y="60"/>
                    </a:lnTo>
                    <a:lnTo>
                      <a:pt x="88" y="65"/>
                    </a:lnTo>
                    <a:lnTo>
                      <a:pt x="90" y="67"/>
                    </a:lnTo>
                    <a:lnTo>
                      <a:pt x="92" y="71"/>
                    </a:lnTo>
                    <a:lnTo>
                      <a:pt x="86" y="73"/>
                    </a:lnTo>
                    <a:lnTo>
                      <a:pt x="79" y="75"/>
                    </a:lnTo>
                    <a:lnTo>
                      <a:pt x="69" y="73"/>
                    </a:lnTo>
                    <a:lnTo>
                      <a:pt x="63" y="73"/>
                    </a:lnTo>
                    <a:lnTo>
                      <a:pt x="56" y="79"/>
                    </a:lnTo>
                    <a:lnTo>
                      <a:pt x="52" y="79"/>
                    </a:lnTo>
                    <a:lnTo>
                      <a:pt x="48" y="85"/>
                    </a:lnTo>
                    <a:lnTo>
                      <a:pt x="42" y="88"/>
                    </a:lnTo>
                    <a:lnTo>
                      <a:pt x="37" y="90"/>
                    </a:lnTo>
                    <a:lnTo>
                      <a:pt x="31" y="85"/>
                    </a:lnTo>
                    <a:lnTo>
                      <a:pt x="33" y="77"/>
                    </a:lnTo>
                    <a:lnTo>
                      <a:pt x="35" y="71"/>
                    </a:lnTo>
                    <a:lnTo>
                      <a:pt x="31" y="67"/>
                    </a:lnTo>
                    <a:lnTo>
                      <a:pt x="29" y="63"/>
                    </a:lnTo>
                    <a:lnTo>
                      <a:pt x="25" y="62"/>
                    </a:lnTo>
                    <a:lnTo>
                      <a:pt x="23" y="65"/>
                    </a:lnTo>
                    <a:lnTo>
                      <a:pt x="19" y="67"/>
                    </a:lnTo>
                    <a:lnTo>
                      <a:pt x="14" y="69"/>
                    </a:lnTo>
                    <a:lnTo>
                      <a:pt x="10" y="69"/>
                    </a:lnTo>
                    <a:lnTo>
                      <a:pt x="6" y="69"/>
                    </a:lnTo>
                    <a:lnTo>
                      <a:pt x="6" y="67"/>
                    </a:lnTo>
                    <a:lnTo>
                      <a:pt x="8" y="63"/>
                    </a:lnTo>
                    <a:lnTo>
                      <a:pt x="10" y="62"/>
                    </a:lnTo>
                    <a:lnTo>
                      <a:pt x="14" y="60"/>
                    </a:lnTo>
                    <a:lnTo>
                      <a:pt x="15" y="56"/>
                    </a:lnTo>
                    <a:lnTo>
                      <a:pt x="12" y="54"/>
                    </a:lnTo>
                    <a:lnTo>
                      <a:pt x="12" y="50"/>
                    </a:lnTo>
                    <a:lnTo>
                      <a:pt x="14" y="44"/>
                    </a:lnTo>
                    <a:lnTo>
                      <a:pt x="12" y="42"/>
                    </a:lnTo>
                    <a:lnTo>
                      <a:pt x="8" y="44"/>
                    </a:lnTo>
                    <a:lnTo>
                      <a:pt x="4" y="42"/>
                    </a:lnTo>
                    <a:lnTo>
                      <a:pt x="2" y="39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2" y="33"/>
                    </a:lnTo>
                    <a:lnTo>
                      <a:pt x="8" y="31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7" y="29"/>
                    </a:lnTo>
                    <a:lnTo>
                      <a:pt x="19" y="25"/>
                    </a:lnTo>
                    <a:lnTo>
                      <a:pt x="19" y="25"/>
                    </a:lnTo>
                    <a:lnTo>
                      <a:pt x="17" y="23"/>
                    </a:lnTo>
                    <a:lnTo>
                      <a:pt x="21" y="17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1" y="12"/>
                    </a:lnTo>
                    <a:lnTo>
                      <a:pt x="19" y="8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31" y="8"/>
                    </a:lnTo>
                    <a:lnTo>
                      <a:pt x="33" y="8"/>
                    </a:lnTo>
                    <a:lnTo>
                      <a:pt x="35" y="6"/>
                    </a:lnTo>
                    <a:lnTo>
                      <a:pt x="37" y="0"/>
                    </a:lnTo>
                    <a:lnTo>
                      <a:pt x="38" y="0"/>
                    </a:lnTo>
                    <a:lnTo>
                      <a:pt x="42" y="8"/>
                    </a:lnTo>
                    <a:lnTo>
                      <a:pt x="37" y="12"/>
                    </a:lnTo>
                    <a:lnTo>
                      <a:pt x="37" y="14"/>
                    </a:lnTo>
                    <a:lnTo>
                      <a:pt x="40" y="17"/>
                    </a:lnTo>
                    <a:lnTo>
                      <a:pt x="38" y="21"/>
                    </a:lnTo>
                    <a:lnTo>
                      <a:pt x="33" y="19"/>
                    </a:lnTo>
                    <a:lnTo>
                      <a:pt x="27" y="21"/>
                    </a:lnTo>
                    <a:lnTo>
                      <a:pt x="29" y="27"/>
                    </a:lnTo>
                    <a:lnTo>
                      <a:pt x="38" y="27"/>
                    </a:lnTo>
                    <a:lnTo>
                      <a:pt x="38" y="29"/>
                    </a:lnTo>
                    <a:lnTo>
                      <a:pt x="42" y="31"/>
                    </a:lnTo>
                    <a:lnTo>
                      <a:pt x="46" y="29"/>
                    </a:lnTo>
                    <a:lnTo>
                      <a:pt x="50" y="29"/>
                    </a:lnTo>
                    <a:lnTo>
                      <a:pt x="54" y="31"/>
                    </a:lnTo>
                    <a:lnTo>
                      <a:pt x="56" y="31"/>
                    </a:lnTo>
                    <a:lnTo>
                      <a:pt x="58" y="33"/>
                    </a:lnTo>
                    <a:lnTo>
                      <a:pt x="63" y="31"/>
                    </a:lnTo>
                    <a:lnTo>
                      <a:pt x="67" y="29"/>
                    </a:lnTo>
                    <a:lnTo>
                      <a:pt x="73" y="3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0" name="Freeform 38"/>
              <p:cNvSpPr>
                <a:spLocks/>
              </p:cNvSpPr>
              <p:nvPr/>
            </p:nvSpPr>
            <p:spPr bwMode="gray">
              <a:xfrm>
                <a:off x="6698907" y="3833814"/>
                <a:ext cx="34921" cy="79375"/>
              </a:xfrm>
              <a:custGeom>
                <a:avLst/>
                <a:gdLst>
                  <a:gd name="T0" fmla="*/ 16 w 22"/>
                  <a:gd name="T1" fmla="*/ 0 h 50"/>
                  <a:gd name="T2" fmla="*/ 8 w 22"/>
                  <a:gd name="T3" fmla="*/ 13 h 50"/>
                  <a:gd name="T4" fmla="*/ 2 w 22"/>
                  <a:gd name="T5" fmla="*/ 27 h 50"/>
                  <a:gd name="T6" fmla="*/ 0 w 22"/>
                  <a:gd name="T7" fmla="*/ 34 h 50"/>
                  <a:gd name="T8" fmla="*/ 2 w 22"/>
                  <a:gd name="T9" fmla="*/ 40 h 50"/>
                  <a:gd name="T10" fmla="*/ 4 w 22"/>
                  <a:gd name="T11" fmla="*/ 44 h 50"/>
                  <a:gd name="T12" fmla="*/ 6 w 22"/>
                  <a:gd name="T13" fmla="*/ 50 h 50"/>
                  <a:gd name="T14" fmla="*/ 10 w 22"/>
                  <a:gd name="T15" fmla="*/ 50 h 50"/>
                  <a:gd name="T16" fmla="*/ 14 w 22"/>
                  <a:gd name="T17" fmla="*/ 38 h 50"/>
                  <a:gd name="T18" fmla="*/ 18 w 22"/>
                  <a:gd name="T19" fmla="*/ 25 h 50"/>
                  <a:gd name="T20" fmla="*/ 20 w 22"/>
                  <a:gd name="T21" fmla="*/ 11 h 50"/>
                  <a:gd name="T22" fmla="*/ 22 w 22"/>
                  <a:gd name="T23" fmla="*/ 0 h 50"/>
                  <a:gd name="T24" fmla="*/ 20 w 22"/>
                  <a:gd name="T25" fmla="*/ 0 h 50"/>
                  <a:gd name="T26" fmla="*/ 16 w 22"/>
                  <a:gd name="T2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50">
                    <a:moveTo>
                      <a:pt x="16" y="0"/>
                    </a:moveTo>
                    <a:lnTo>
                      <a:pt x="8" y="13"/>
                    </a:lnTo>
                    <a:lnTo>
                      <a:pt x="2" y="27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4" y="44"/>
                    </a:lnTo>
                    <a:lnTo>
                      <a:pt x="6" y="50"/>
                    </a:lnTo>
                    <a:lnTo>
                      <a:pt x="10" y="50"/>
                    </a:lnTo>
                    <a:lnTo>
                      <a:pt x="14" y="38"/>
                    </a:lnTo>
                    <a:lnTo>
                      <a:pt x="18" y="25"/>
                    </a:lnTo>
                    <a:lnTo>
                      <a:pt x="20" y="11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1" name="Freeform 39"/>
              <p:cNvSpPr>
                <a:spLocks/>
              </p:cNvSpPr>
              <p:nvPr/>
            </p:nvSpPr>
            <p:spPr bwMode="gray">
              <a:xfrm>
                <a:off x="5036980" y="3506789"/>
                <a:ext cx="130161" cy="138113"/>
              </a:xfrm>
              <a:custGeom>
                <a:avLst/>
                <a:gdLst>
                  <a:gd name="T0" fmla="*/ 5 w 82"/>
                  <a:gd name="T1" fmla="*/ 50 h 87"/>
                  <a:gd name="T2" fmla="*/ 15 w 82"/>
                  <a:gd name="T3" fmla="*/ 46 h 87"/>
                  <a:gd name="T4" fmla="*/ 15 w 82"/>
                  <a:gd name="T5" fmla="*/ 54 h 87"/>
                  <a:gd name="T6" fmla="*/ 11 w 82"/>
                  <a:gd name="T7" fmla="*/ 64 h 87"/>
                  <a:gd name="T8" fmla="*/ 7 w 82"/>
                  <a:gd name="T9" fmla="*/ 70 h 87"/>
                  <a:gd name="T10" fmla="*/ 3 w 82"/>
                  <a:gd name="T11" fmla="*/ 75 h 87"/>
                  <a:gd name="T12" fmla="*/ 2 w 82"/>
                  <a:gd name="T13" fmla="*/ 77 h 87"/>
                  <a:gd name="T14" fmla="*/ 2 w 82"/>
                  <a:gd name="T15" fmla="*/ 87 h 87"/>
                  <a:gd name="T16" fmla="*/ 3 w 82"/>
                  <a:gd name="T17" fmla="*/ 87 h 87"/>
                  <a:gd name="T18" fmla="*/ 3 w 82"/>
                  <a:gd name="T19" fmla="*/ 87 h 87"/>
                  <a:gd name="T20" fmla="*/ 11 w 82"/>
                  <a:gd name="T21" fmla="*/ 85 h 87"/>
                  <a:gd name="T22" fmla="*/ 21 w 82"/>
                  <a:gd name="T23" fmla="*/ 87 h 87"/>
                  <a:gd name="T24" fmla="*/ 67 w 82"/>
                  <a:gd name="T25" fmla="*/ 52 h 87"/>
                  <a:gd name="T26" fmla="*/ 69 w 82"/>
                  <a:gd name="T27" fmla="*/ 48 h 87"/>
                  <a:gd name="T28" fmla="*/ 73 w 82"/>
                  <a:gd name="T29" fmla="*/ 41 h 87"/>
                  <a:gd name="T30" fmla="*/ 73 w 82"/>
                  <a:gd name="T31" fmla="*/ 35 h 87"/>
                  <a:gd name="T32" fmla="*/ 74 w 82"/>
                  <a:gd name="T33" fmla="*/ 27 h 87"/>
                  <a:gd name="T34" fmla="*/ 73 w 82"/>
                  <a:gd name="T35" fmla="*/ 22 h 87"/>
                  <a:gd name="T36" fmla="*/ 80 w 82"/>
                  <a:gd name="T37" fmla="*/ 14 h 87"/>
                  <a:gd name="T38" fmla="*/ 82 w 82"/>
                  <a:gd name="T39" fmla="*/ 4 h 87"/>
                  <a:gd name="T40" fmla="*/ 80 w 82"/>
                  <a:gd name="T41" fmla="*/ 4 h 87"/>
                  <a:gd name="T42" fmla="*/ 78 w 82"/>
                  <a:gd name="T43" fmla="*/ 0 h 87"/>
                  <a:gd name="T44" fmla="*/ 67 w 82"/>
                  <a:gd name="T45" fmla="*/ 6 h 87"/>
                  <a:gd name="T46" fmla="*/ 51 w 82"/>
                  <a:gd name="T47" fmla="*/ 8 h 87"/>
                  <a:gd name="T48" fmla="*/ 34 w 82"/>
                  <a:gd name="T49" fmla="*/ 14 h 87"/>
                  <a:gd name="T50" fmla="*/ 26 w 82"/>
                  <a:gd name="T51" fmla="*/ 12 h 87"/>
                  <a:gd name="T52" fmla="*/ 21 w 82"/>
                  <a:gd name="T53" fmla="*/ 16 h 87"/>
                  <a:gd name="T54" fmla="*/ 15 w 82"/>
                  <a:gd name="T55" fmla="*/ 16 h 87"/>
                  <a:gd name="T56" fmla="*/ 15 w 82"/>
                  <a:gd name="T57" fmla="*/ 22 h 87"/>
                  <a:gd name="T58" fmla="*/ 11 w 82"/>
                  <a:gd name="T59" fmla="*/ 25 h 87"/>
                  <a:gd name="T60" fmla="*/ 7 w 82"/>
                  <a:gd name="T61" fmla="*/ 31 h 87"/>
                  <a:gd name="T62" fmla="*/ 2 w 82"/>
                  <a:gd name="T63" fmla="*/ 29 h 87"/>
                  <a:gd name="T64" fmla="*/ 0 w 82"/>
                  <a:gd name="T65" fmla="*/ 33 h 87"/>
                  <a:gd name="T66" fmla="*/ 0 w 82"/>
                  <a:gd name="T67" fmla="*/ 45 h 87"/>
                  <a:gd name="T68" fmla="*/ 2 w 82"/>
                  <a:gd name="T69" fmla="*/ 48 h 87"/>
                  <a:gd name="T70" fmla="*/ 3 w 82"/>
                  <a:gd name="T71" fmla="*/ 5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2" h="87">
                    <a:moveTo>
                      <a:pt x="3" y="52"/>
                    </a:moveTo>
                    <a:lnTo>
                      <a:pt x="5" y="50"/>
                    </a:lnTo>
                    <a:lnTo>
                      <a:pt x="9" y="46"/>
                    </a:lnTo>
                    <a:lnTo>
                      <a:pt x="15" y="46"/>
                    </a:lnTo>
                    <a:lnTo>
                      <a:pt x="17" y="48"/>
                    </a:lnTo>
                    <a:lnTo>
                      <a:pt x="15" y="54"/>
                    </a:lnTo>
                    <a:lnTo>
                      <a:pt x="11" y="60"/>
                    </a:lnTo>
                    <a:lnTo>
                      <a:pt x="11" y="64"/>
                    </a:lnTo>
                    <a:lnTo>
                      <a:pt x="9" y="70"/>
                    </a:lnTo>
                    <a:lnTo>
                      <a:pt x="7" y="70"/>
                    </a:lnTo>
                    <a:lnTo>
                      <a:pt x="5" y="71"/>
                    </a:lnTo>
                    <a:lnTo>
                      <a:pt x="3" y="75"/>
                    </a:lnTo>
                    <a:lnTo>
                      <a:pt x="3" y="75"/>
                    </a:lnTo>
                    <a:lnTo>
                      <a:pt x="2" y="77"/>
                    </a:lnTo>
                    <a:lnTo>
                      <a:pt x="2" y="81"/>
                    </a:lnTo>
                    <a:lnTo>
                      <a:pt x="2" y="87"/>
                    </a:lnTo>
                    <a:lnTo>
                      <a:pt x="3" y="87"/>
                    </a:lnTo>
                    <a:lnTo>
                      <a:pt x="3" y="87"/>
                    </a:lnTo>
                    <a:lnTo>
                      <a:pt x="3" y="87"/>
                    </a:lnTo>
                    <a:lnTo>
                      <a:pt x="3" y="87"/>
                    </a:lnTo>
                    <a:lnTo>
                      <a:pt x="7" y="85"/>
                    </a:lnTo>
                    <a:lnTo>
                      <a:pt x="11" y="85"/>
                    </a:lnTo>
                    <a:lnTo>
                      <a:pt x="17" y="87"/>
                    </a:lnTo>
                    <a:lnTo>
                      <a:pt x="21" y="87"/>
                    </a:lnTo>
                    <a:lnTo>
                      <a:pt x="40" y="73"/>
                    </a:lnTo>
                    <a:lnTo>
                      <a:pt x="67" y="52"/>
                    </a:lnTo>
                    <a:lnTo>
                      <a:pt x="67" y="52"/>
                    </a:lnTo>
                    <a:lnTo>
                      <a:pt x="69" y="48"/>
                    </a:lnTo>
                    <a:lnTo>
                      <a:pt x="71" y="45"/>
                    </a:lnTo>
                    <a:lnTo>
                      <a:pt x="73" y="41"/>
                    </a:lnTo>
                    <a:lnTo>
                      <a:pt x="73" y="39"/>
                    </a:lnTo>
                    <a:lnTo>
                      <a:pt x="73" y="35"/>
                    </a:lnTo>
                    <a:lnTo>
                      <a:pt x="73" y="31"/>
                    </a:lnTo>
                    <a:lnTo>
                      <a:pt x="74" y="27"/>
                    </a:lnTo>
                    <a:lnTo>
                      <a:pt x="74" y="23"/>
                    </a:lnTo>
                    <a:lnTo>
                      <a:pt x="73" y="22"/>
                    </a:lnTo>
                    <a:lnTo>
                      <a:pt x="76" y="16"/>
                    </a:lnTo>
                    <a:lnTo>
                      <a:pt x="80" y="14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78" y="0"/>
                    </a:lnTo>
                    <a:lnTo>
                      <a:pt x="73" y="2"/>
                    </a:lnTo>
                    <a:lnTo>
                      <a:pt x="67" y="6"/>
                    </a:lnTo>
                    <a:lnTo>
                      <a:pt x="59" y="6"/>
                    </a:lnTo>
                    <a:lnTo>
                      <a:pt x="51" y="8"/>
                    </a:lnTo>
                    <a:lnTo>
                      <a:pt x="42" y="12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26" y="12"/>
                    </a:lnTo>
                    <a:lnTo>
                      <a:pt x="23" y="14"/>
                    </a:lnTo>
                    <a:lnTo>
                      <a:pt x="21" y="16"/>
                    </a:lnTo>
                    <a:lnTo>
                      <a:pt x="19" y="16"/>
                    </a:lnTo>
                    <a:lnTo>
                      <a:pt x="15" y="16"/>
                    </a:lnTo>
                    <a:lnTo>
                      <a:pt x="13" y="18"/>
                    </a:lnTo>
                    <a:lnTo>
                      <a:pt x="15" y="22"/>
                    </a:lnTo>
                    <a:lnTo>
                      <a:pt x="15" y="23"/>
                    </a:lnTo>
                    <a:lnTo>
                      <a:pt x="11" y="25"/>
                    </a:lnTo>
                    <a:lnTo>
                      <a:pt x="9" y="27"/>
                    </a:lnTo>
                    <a:lnTo>
                      <a:pt x="7" y="31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2" y="39"/>
                    </a:lnTo>
                    <a:lnTo>
                      <a:pt x="0" y="45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3" y="50"/>
                    </a:lnTo>
                    <a:lnTo>
                      <a:pt x="3" y="5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2" name="Freeform 40"/>
              <p:cNvSpPr>
                <a:spLocks/>
              </p:cNvSpPr>
              <p:nvPr/>
            </p:nvSpPr>
            <p:spPr bwMode="gray">
              <a:xfrm>
                <a:off x="4444908" y="3214689"/>
                <a:ext cx="92065" cy="63500"/>
              </a:xfrm>
              <a:custGeom>
                <a:avLst/>
                <a:gdLst>
                  <a:gd name="T0" fmla="*/ 58 w 58"/>
                  <a:gd name="T1" fmla="*/ 19 h 40"/>
                  <a:gd name="T2" fmla="*/ 58 w 58"/>
                  <a:gd name="T3" fmla="*/ 17 h 40"/>
                  <a:gd name="T4" fmla="*/ 58 w 58"/>
                  <a:gd name="T5" fmla="*/ 16 h 40"/>
                  <a:gd name="T6" fmla="*/ 56 w 58"/>
                  <a:gd name="T7" fmla="*/ 16 h 40"/>
                  <a:gd name="T8" fmla="*/ 56 w 58"/>
                  <a:gd name="T9" fmla="*/ 14 h 40"/>
                  <a:gd name="T10" fmla="*/ 54 w 58"/>
                  <a:gd name="T11" fmla="*/ 12 h 40"/>
                  <a:gd name="T12" fmla="*/ 54 w 58"/>
                  <a:gd name="T13" fmla="*/ 10 h 40"/>
                  <a:gd name="T14" fmla="*/ 44 w 58"/>
                  <a:gd name="T15" fmla="*/ 2 h 40"/>
                  <a:gd name="T16" fmla="*/ 44 w 58"/>
                  <a:gd name="T17" fmla="*/ 2 h 40"/>
                  <a:gd name="T18" fmla="*/ 41 w 58"/>
                  <a:gd name="T19" fmla="*/ 0 h 40"/>
                  <a:gd name="T20" fmla="*/ 37 w 58"/>
                  <a:gd name="T21" fmla="*/ 0 h 40"/>
                  <a:gd name="T22" fmla="*/ 35 w 58"/>
                  <a:gd name="T23" fmla="*/ 2 h 40"/>
                  <a:gd name="T24" fmla="*/ 31 w 58"/>
                  <a:gd name="T25" fmla="*/ 4 h 40"/>
                  <a:gd name="T26" fmla="*/ 29 w 58"/>
                  <a:gd name="T27" fmla="*/ 4 h 40"/>
                  <a:gd name="T28" fmla="*/ 27 w 58"/>
                  <a:gd name="T29" fmla="*/ 6 h 40"/>
                  <a:gd name="T30" fmla="*/ 23 w 58"/>
                  <a:gd name="T31" fmla="*/ 6 h 40"/>
                  <a:gd name="T32" fmla="*/ 21 w 58"/>
                  <a:gd name="T33" fmla="*/ 6 h 40"/>
                  <a:gd name="T34" fmla="*/ 21 w 58"/>
                  <a:gd name="T35" fmla="*/ 8 h 40"/>
                  <a:gd name="T36" fmla="*/ 21 w 58"/>
                  <a:gd name="T37" fmla="*/ 10 h 40"/>
                  <a:gd name="T38" fmla="*/ 19 w 58"/>
                  <a:gd name="T39" fmla="*/ 10 h 40"/>
                  <a:gd name="T40" fmla="*/ 14 w 58"/>
                  <a:gd name="T41" fmla="*/ 14 h 40"/>
                  <a:gd name="T42" fmla="*/ 10 w 58"/>
                  <a:gd name="T43" fmla="*/ 19 h 40"/>
                  <a:gd name="T44" fmla="*/ 6 w 58"/>
                  <a:gd name="T45" fmla="*/ 25 h 40"/>
                  <a:gd name="T46" fmla="*/ 2 w 58"/>
                  <a:gd name="T47" fmla="*/ 29 h 40"/>
                  <a:gd name="T48" fmla="*/ 2 w 58"/>
                  <a:gd name="T49" fmla="*/ 31 h 40"/>
                  <a:gd name="T50" fmla="*/ 0 w 58"/>
                  <a:gd name="T51" fmla="*/ 35 h 40"/>
                  <a:gd name="T52" fmla="*/ 2 w 58"/>
                  <a:gd name="T53" fmla="*/ 35 h 40"/>
                  <a:gd name="T54" fmla="*/ 4 w 58"/>
                  <a:gd name="T55" fmla="*/ 35 h 40"/>
                  <a:gd name="T56" fmla="*/ 8 w 58"/>
                  <a:gd name="T57" fmla="*/ 33 h 40"/>
                  <a:gd name="T58" fmla="*/ 10 w 58"/>
                  <a:gd name="T59" fmla="*/ 35 h 40"/>
                  <a:gd name="T60" fmla="*/ 12 w 58"/>
                  <a:gd name="T61" fmla="*/ 37 h 40"/>
                  <a:gd name="T62" fmla="*/ 18 w 58"/>
                  <a:gd name="T63" fmla="*/ 39 h 40"/>
                  <a:gd name="T64" fmla="*/ 19 w 58"/>
                  <a:gd name="T65" fmla="*/ 40 h 40"/>
                  <a:gd name="T66" fmla="*/ 21 w 58"/>
                  <a:gd name="T67" fmla="*/ 40 h 40"/>
                  <a:gd name="T68" fmla="*/ 25 w 58"/>
                  <a:gd name="T69" fmla="*/ 39 h 40"/>
                  <a:gd name="T70" fmla="*/ 29 w 58"/>
                  <a:gd name="T71" fmla="*/ 35 h 40"/>
                  <a:gd name="T72" fmla="*/ 29 w 58"/>
                  <a:gd name="T73" fmla="*/ 33 h 40"/>
                  <a:gd name="T74" fmla="*/ 29 w 58"/>
                  <a:gd name="T75" fmla="*/ 31 h 40"/>
                  <a:gd name="T76" fmla="*/ 29 w 58"/>
                  <a:gd name="T77" fmla="*/ 31 h 40"/>
                  <a:gd name="T78" fmla="*/ 31 w 58"/>
                  <a:gd name="T79" fmla="*/ 31 h 40"/>
                  <a:gd name="T80" fmla="*/ 33 w 58"/>
                  <a:gd name="T81" fmla="*/ 35 h 40"/>
                  <a:gd name="T82" fmla="*/ 37 w 58"/>
                  <a:gd name="T83" fmla="*/ 35 h 40"/>
                  <a:gd name="T84" fmla="*/ 41 w 58"/>
                  <a:gd name="T85" fmla="*/ 37 h 40"/>
                  <a:gd name="T86" fmla="*/ 43 w 58"/>
                  <a:gd name="T87" fmla="*/ 37 h 40"/>
                  <a:gd name="T88" fmla="*/ 43 w 58"/>
                  <a:gd name="T89" fmla="*/ 37 h 40"/>
                  <a:gd name="T90" fmla="*/ 43 w 58"/>
                  <a:gd name="T91" fmla="*/ 33 h 40"/>
                  <a:gd name="T92" fmla="*/ 44 w 58"/>
                  <a:gd name="T93" fmla="*/ 31 h 40"/>
                  <a:gd name="T94" fmla="*/ 48 w 58"/>
                  <a:gd name="T95" fmla="*/ 29 h 40"/>
                  <a:gd name="T96" fmla="*/ 50 w 58"/>
                  <a:gd name="T97" fmla="*/ 25 h 40"/>
                  <a:gd name="T98" fmla="*/ 54 w 58"/>
                  <a:gd name="T99" fmla="*/ 25 h 40"/>
                  <a:gd name="T100" fmla="*/ 56 w 58"/>
                  <a:gd name="T101" fmla="*/ 27 h 40"/>
                  <a:gd name="T102" fmla="*/ 58 w 58"/>
                  <a:gd name="T103" fmla="*/ 25 h 40"/>
                  <a:gd name="T104" fmla="*/ 56 w 58"/>
                  <a:gd name="T105" fmla="*/ 23 h 40"/>
                  <a:gd name="T106" fmla="*/ 56 w 58"/>
                  <a:gd name="T107" fmla="*/ 21 h 40"/>
                  <a:gd name="T108" fmla="*/ 58 w 58"/>
                  <a:gd name="T109" fmla="*/ 19 h 40"/>
                  <a:gd name="T110" fmla="*/ 58 w 58"/>
                  <a:gd name="T11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8" h="40">
                    <a:moveTo>
                      <a:pt x="58" y="19"/>
                    </a:moveTo>
                    <a:lnTo>
                      <a:pt x="58" y="17"/>
                    </a:lnTo>
                    <a:lnTo>
                      <a:pt x="58" y="16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1" y="0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7" y="6"/>
                    </a:lnTo>
                    <a:lnTo>
                      <a:pt x="23" y="6"/>
                    </a:lnTo>
                    <a:lnTo>
                      <a:pt x="21" y="6"/>
                    </a:lnTo>
                    <a:lnTo>
                      <a:pt x="21" y="8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4" y="14"/>
                    </a:lnTo>
                    <a:lnTo>
                      <a:pt x="10" y="19"/>
                    </a:lnTo>
                    <a:lnTo>
                      <a:pt x="6" y="25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0" y="35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8" y="33"/>
                    </a:lnTo>
                    <a:lnTo>
                      <a:pt x="10" y="35"/>
                    </a:lnTo>
                    <a:lnTo>
                      <a:pt x="12" y="37"/>
                    </a:lnTo>
                    <a:lnTo>
                      <a:pt x="18" y="39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5" y="39"/>
                    </a:lnTo>
                    <a:lnTo>
                      <a:pt x="29" y="35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31" y="31"/>
                    </a:lnTo>
                    <a:lnTo>
                      <a:pt x="33" y="35"/>
                    </a:lnTo>
                    <a:lnTo>
                      <a:pt x="37" y="35"/>
                    </a:lnTo>
                    <a:lnTo>
                      <a:pt x="41" y="37"/>
                    </a:lnTo>
                    <a:lnTo>
                      <a:pt x="43" y="37"/>
                    </a:lnTo>
                    <a:lnTo>
                      <a:pt x="43" y="37"/>
                    </a:lnTo>
                    <a:lnTo>
                      <a:pt x="43" y="33"/>
                    </a:lnTo>
                    <a:lnTo>
                      <a:pt x="44" y="31"/>
                    </a:lnTo>
                    <a:lnTo>
                      <a:pt x="48" y="29"/>
                    </a:lnTo>
                    <a:lnTo>
                      <a:pt x="50" y="25"/>
                    </a:lnTo>
                    <a:lnTo>
                      <a:pt x="54" y="25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6" y="23"/>
                    </a:lnTo>
                    <a:lnTo>
                      <a:pt x="56" y="21"/>
                    </a:lnTo>
                    <a:lnTo>
                      <a:pt x="58" y="19"/>
                    </a:lnTo>
                    <a:lnTo>
                      <a:pt x="58" y="1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3" name="Freeform 41"/>
              <p:cNvSpPr>
                <a:spLocks noEditPoints="1"/>
              </p:cNvSpPr>
              <p:nvPr/>
            </p:nvSpPr>
            <p:spPr bwMode="gray">
              <a:xfrm>
                <a:off x="4557608" y="2524126"/>
                <a:ext cx="244448" cy="477838"/>
              </a:xfrm>
              <a:custGeom>
                <a:avLst/>
                <a:gdLst>
                  <a:gd name="T0" fmla="*/ 4 w 154"/>
                  <a:gd name="T1" fmla="*/ 234 h 301"/>
                  <a:gd name="T2" fmla="*/ 21 w 154"/>
                  <a:gd name="T3" fmla="*/ 266 h 301"/>
                  <a:gd name="T4" fmla="*/ 14 w 154"/>
                  <a:gd name="T5" fmla="*/ 278 h 301"/>
                  <a:gd name="T6" fmla="*/ 18 w 154"/>
                  <a:gd name="T7" fmla="*/ 287 h 301"/>
                  <a:gd name="T8" fmla="*/ 35 w 154"/>
                  <a:gd name="T9" fmla="*/ 284 h 301"/>
                  <a:gd name="T10" fmla="*/ 46 w 154"/>
                  <a:gd name="T11" fmla="*/ 272 h 301"/>
                  <a:gd name="T12" fmla="*/ 66 w 154"/>
                  <a:gd name="T13" fmla="*/ 266 h 301"/>
                  <a:gd name="T14" fmla="*/ 62 w 154"/>
                  <a:gd name="T15" fmla="*/ 261 h 301"/>
                  <a:gd name="T16" fmla="*/ 67 w 154"/>
                  <a:gd name="T17" fmla="*/ 232 h 301"/>
                  <a:gd name="T18" fmla="*/ 77 w 154"/>
                  <a:gd name="T19" fmla="*/ 222 h 301"/>
                  <a:gd name="T20" fmla="*/ 90 w 154"/>
                  <a:gd name="T21" fmla="*/ 211 h 301"/>
                  <a:gd name="T22" fmla="*/ 96 w 154"/>
                  <a:gd name="T23" fmla="*/ 201 h 301"/>
                  <a:gd name="T24" fmla="*/ 73 w 154"/>
                  <a:gd name="T25" fmla="*/ 184 h 301"/>
                  <a:gd name="T26" fmla="*/ 71 w 154"/>
                  <a:gd name="T27" fmla="*/ 153 h 301"/>
                  <a:gd name="T28" fmla="*/ 75 w 154"/>
                  <a:gd name="T29" fmla="*/ 145 h 301"/>
                  <a:gd name="T30" fmla="*/ 83 w 154"/>
                  <a:gd name="T31" fmla="*/ 134 h 301"/>
                  <a:gd name="T32" fmla="*/ 92 w 154"/>
                  <a:gd name="T33" fmla="*/ 122 h 301"/>
                  <a:gd name="T34" fmla="*/ 117 w 154"/>
                  <a:gd name="T35" fmla="*/ 105 h 301"/>
                  <a:gd name="T36" fmla="*/ 123 w 154"/>
                  <a:gd name="T37" fmla="*/ 84 h 301"/>
                  <a:gd name="T38" fmla="*/ 133 w 154"/>
                  <a:gd name="T39" fmla="*/ 71 h 301"/>
                  <a:gd name="T40" fmla="*/ 138 w 154"/>
                  <a:gd name="T41" fmla="*/ 61 h 301"/>
                  <a:gd name="T42" fmla="*/ 154 w 154"/>
                  <a:gd name="T43" fmla="*/ 65 h 301"/>
                  <a:gd name="T44" fmla="*/ 152 w 154"/>
                  <a:gd name="T45" fmla="*/ 48 h 301"/>
                  <a:gd name="T46" fmla="*/ 150 w 154"/>
                  <a:gd name="T47" fmla="*/ 32 h 301"/>
                  <a:gd name="T48" fmla="*/ 144 w 154"/>
                  <a:gd name="T49" fmla="*/ 19 h 301"/>
                  <a:gd name="T50" fmla="*/ 127 w 154"/>
                  <a:gd name="T51" fmla="*/ 9 h 301"/>
                  <a:gd name="T52" fmla="*/ 110 w 154"/>
                  <a:gd name="T53" fmla="*/ 0 h 301"/>
                  <a:gd name="T54" fmla="*/ 106 w 154"/>
                  <a:gd name="T55" fmla="*/ 19 h 301"/>
                  <a:gd name="T56" fmla="*/ 94 w 154"/>
                  <a:gd name="T57" fmla="*/ 19 h 301"/>
                  <a:gd name="T58" fmla="*/ 85 w 154"/>
                  <a:gd name="T59" fmla="*/ 19 h 301"/>
                  <a:gd name="T60" fmla="*/ 77 w 154"/>
                  <a:gd name="T61" fmla="*/ 34 h 301"/>
                  <a:gd name="T62" fmla="*/ 67 w 154"/>
                  <a:gd name="T63" fmla="*/ 46 h 301"/>
                  <a:gd name="T64" fmla="*/ 58 w 154"/>
                  <a:gd name="T65" fmla="*/ 57 h 301"/>
                  <a:gd name="T66" fmla="*/ 44 w 154"/>
                  <a:gd name="T67" fmla="*/ 80 h 301"/>
                  <a:gd name="T68" fmla="*/ 41 w 154"/>
                  <a:gd name="T69" fmla="*/ 101 h 301"/>
                  <a:gd name="T70" fmla="*/ 21 w 154"/>
                  <a:gd name="T71" fmla="*/ 103 h 301"/>
                  <a:gd name="T72" fmla="*/ 10 w 154"/>
                  <a:gd name="T73" fmla="*/ 122 h 301"/>
                  <a:gd name="T74" fmla="*/ 10 w 154"/>
                  <a:gd name="T75" fmla="*/ 142 h 301"/>
                  <a:gd name="T76" fmla="*/ 10 w 154"/>
                  <a:gd name="T77" fmla="*/ 159 h 301"/>
                  <a:gd name="T78" fmla="*/ 12 w 154"/>
                  <a:gd name="T79" fmla="*/ 174 h 301"/>
                  <a:gd name="T80" fmla="*/ 8 w 154"/>
                  <a:gd name="T81" fmla="*/ 184 h 301"/>
                  <a:gd name="T82" fmla="*/ 10 w 154"/>
                  <a:gd name="T83" fmla="*/ 193 h 301"/>
                  <a:gd name="T84" fmla="*/ 4 w 154"/>
                  <a:gd name="T85" fmla="*/ 201 h 301"/>
                  <a:gd name="T86" fmla="*/ 6 w 154"/>
                  <a:gd name="T87" fmla="*/ 213 h 301"/>
                  <a:gd name="T88" fmla="*/ 0 w 154"/>
                  <a:gd name="T89" fmla="*/ 220 h 301"/>
                  <a:gd name="T90" fmla="*/ 41 w 154"/>
                  <a:gd name="T91" fmla="*/ 230 h 301"/>
                  <a:gd name="T92" fmla="*/ 39 w 154"/>
                  <a:gd name="T93" fmla="*/ 228 h 301"/>
                  <a:gd name="T94" fmla="*/ 41 w 154"/>
                  <a:gd name="T95" fmla="*/ 297 h 301"/>
                  <a:gd name="T96" fmla="*/ 46 w 154"/>
                  <a:gd name="T97" fmla="*/ 301 h 301"/>
                  <a:gd name="T98" fmla="*/ 94 w 154"/>
                  <a:gd name="T99" fmla="*/ 241 h 301"/>
                  <a:gd name="T100" fmla="*/ 85 w 154"/>
                  <a:gd name="T101" fmla="*/ 253 h 301"/>
                  <a:gd name="T102" fmla="*/ 94 w 154"/>
                  <a:gd name="T103" fmla="*/ 241 h 301"/>
                  <a:gd name="T104" fmla="*/ 37 w 154"/>
                  <a:gd name="T105" fmla="*/ 232 h 301"/>
                  <a:gd name="T106" fmla="*/ 79 w 154"/>
                  <a:gd name="T107" fmla="*/ 209 h 301"/>
                  <a:gd name="T108" fmla="*/ 71 w 154"/>
                  <a:gd name="T109" fmla="*/ 207 h 301"/>
                  <a:gd name="T110" fmla="*/ 31 w 154"/>
                  <a:gd name="T111" fmla="*/ 209 h 301"/>
                  <a:gd name="T112" fmla="*/ 25 w 154"/>
                  <a:gd name="T113" fmla="*/ 224 h 301"/>
                  <a:gd name="T114" fmla="*/ 18 w 154"/>
                  <a:gd name="T115" fmla="*/ 214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4" h="301">
                    <a:moveTo>
                      <a:pt x="0" y="222"/>
                    </a:moveTo>
                    <a:lnTo>
                      <a:pt x="0" y="228"/>
                    </a:lnTo>
                    <a:lnTo>
                      <a:pt x="0" y="234"/>
                    </a:lnTo>
                    <a:lnTo>
                      <a:pt x="4" y="234"/>
                    </a:lnTo>
                    <a:lnTo>
                      <a:pt x="2" y="239"/>
                    </a:lnTo>
                    <a:lnTo>
                      <a:pt x="2" y="245"/>
                    </a:lnTo>
                    <a:lnTo>
                      <a:pt x="10" y="255"/>
                    </a:lnTo>
                    <a:lnTo>
                      <a:pt x="21" y="266"/>
                    </a:lnTo>
                    <a:lnTo>
                      <a:pt x="19" y="270"/>
                    </a:lnTo>
                    <a:lnTo>
                      <a:pt x="18" y="274"/>
                    </a:lnTo>
                    <a:lnTo>
                      <a:pt x="14" y="274"/>
                    </a:lnTo>
                    <a:lnTo>
                      <a:pt x="14" y="278"/>
                    </a:lnTo>
                    <a:lnTo>
                      <a:pt x="14" y="282"/>
                    </a:lnTo>
                    <a:lnTo>
                      <a:pt x="16" y="282"/>
                    </a:lnTo>
                    <a:lnTo>
                      <a:pt x="18" y="284"/>
                    </a:lnTo>
                    <a:lnTo>
                      <a:pt x="18" y="287"/>
                    </a:lnTo>
                    <a:lnTo>
                      <a:pt x="16" y="289"/>
                    </a:lnTo>
                    <a:lnTo>
                      <a:pt x="25" y="289"/>
                    </a:lnTo>
                    <a:lnTo>
                      <a:pt x="35" y="289"/>
                    </a:lnTo>
                    <a:lnTo>
                      <a:pt x="35" y="284"/>
                    </a:lnTo>
                    <a:lnTo>
                      <a:pt x="35" y="280"/>
                    </a:lnTo>
                    <a:lnTo>
                      <a:pt x="37" y="276"/>
                    </a:lnTo>
                    <a:lnTo>
                      <a:pt x="41" y="272"/>
                    </a:lnTo>
                    <a:lnTo>
                      <a:pt x="46" y="272"/>
                    </a:lnTo>
                    <a:lnTo>
                      <a:pt x="52" y="274"/>
                    </a:lnTo>
                    <a:lnTo>
                      <a:pt x="58" y="274"/>
                    </a:lnTo>
                    <a:lnTo>
                      <a:pt x="64" y="272"/>
                    </a:lnTo>
                    <a:lnTo>
                      <a:pt x="66" y="266"/>
                    </a:lnTo>
                    <a:lnTo>
                      <a:pt x="67" y="262"/>
                    </a:lnTo>
                    <a:lnTo>
                      <a:pt x="66" y="264"/>
                    </a:lnTo>
                    <a:lnTo>
                      <a:pt x="64" y="266"/>
                    </a:lnTo>
                    <a:lnTo>
                      <a:pt x="62" y="261"/>
                    </a:lnTo>
                    <a:lnTo>
                      <a:pt x="64" y="251"/>
                    </a:lnTo>
                    <a:lnTo>
                      <a:pt x="66" y="247"/>
                    </a:lnTo>
                    <a:lnTo>
                      <a:pt x="67" y="239"/>
                    </a:lnTo>
                    <a:lnTo>
                      <a:pt x="67" y="232"/>
                    </a:lnTo>
                    <a:lnTo>
                      <a:pt x="66" y="228"/>
                    </a:lnTo>
                    <a:lnTo>
                      <a:pt x="67" y="224"/>
                    </a:lnTo>
                    <a:lnTo>
                      <a:pt x="69" y="222"/>
                    </a:lnTo>
                    <a:lnTo>
                      <a:pt x="77" y="222"/>
                    </a:lnTo>
                    <a:lnTo>
                      <a:pt x="83" y="222"/>
                    </a:lnTo>
                    <a:lnTo>
                      <a:pt x="89" y="214"/>
                    </a:lnTo>
                    <a:lnTo>
                      <a:pt x="92" y="214"/>
                    </a:lnTo>
                    <a:lnTo>
                      <a:pt x="90" y="211"/>
                    </a:lnTo>
                    <a:lnTo>
                      <a:pt x="89" y="209"/>
                    </a:lnTo>
                    <a:lnTo>
                      <a:pt x="92" y="207"/>
                    </a:lnTo>
                    <a:lnTo>
                      <a:pt x="96" y="205"/>
                    </a:lnTo>
                    <a:lnTo>
                      <a:pt x="96" y="201"/>
                    </a:lnTo>
                    <a:lnTo>
                      <a:pt x="90" y="193"/>
                    </a:lnTo>
                    <a:lnTo>
                      <a:pt x="87" y="188"/>
                    </a:lnTo>
                    <a:lnTo>
                      <a:pt x="81" y="186"/>
                    </a:lnTo>
                    <a:lnTo>
                      <a:pt x="73" y="184"/>
                    </a:lnTo>
                    <a:lnTo>
                      <a:pt x="73" y="176"/>
                    </a:lnTo>
                    <a:lnTo>
                      <a:pt x="73" y="167"/>
                    </a:lnTo>
                    <a:lnTo>
                      <a:pt x="73" y="159"/>
                    </a:lnTo>
                    <a:lnTo>
                      <a:pt x="71" y="153"/>
                    </a:lnTo>
                    <a:lnTo>
                      <a:pt x="75" y="153"/>
                    </a:lnTo>
                    <a:lnTo>
                      <a:pt x="75" y="149"/>
                    </a:lnTo>
                    <a:lnTo>
                      <a:pt x="77" y="147"/>
                    </a:lnTo>
                    <a:lnTo>
                      <a:pt x="75" y="145"/>
                    </a:lnTo>
                    <a:lnTo>
                      <a:pt x="75" y="142"/>
                    </a:lnTo>
                    <a:lnTo>
                      <a:pt x="79" y="140"/>
                    </a:lnTo>
                    <a:lnTo>
                      <a:pt x="83" y="140"/>
                    </a:lnTo>
                    <a:lnTo>
                      <a:pt x="83" y="134"/>
                    </a:lnTo>
                    <a:lnTo>
                      <a:pt x="83" y="132"/>
                    </a:lnTo>
                    <a:lnTo>
                      <a:pt x="87" y="130"/>
                    </a:lnTo>
                    <a:lnTo>
                      <a:pt x="90" y="130"/>
                    </a:lnTo>
                    <a:lnTo>
                      <a:pt x="92" y="122"/>
                    </a:lnTo>
                    <a:lnTo>
                      <a:pt x="94" y="117"/>
                    </a:lnTo>
                    <a:lnTo>
                      <a:pt x="104" y="113"/>
                    </a:lnTo>
                    <a:lnTo>
                      <a:pt x="115" y="111"/>
                    </a:lnTo>
                    <a:lnTo>
                      <a:pt x="117" y="105"/>
                    </a:lnTo>
                    <a:lnTo>
                      <a:pt x="121" y="101"/>
                    </a:lnTo>
                    <a:lnTo>
                      <a:pt x="125" y="101"/>
                    </a:lnTo>
                    <a:lnTo>
                      <a:pt x="125" y="94"/>
                    </a:lnTo>
                    <a:lnTo>
                      <a:pt x="123" y="84"/>
                    </a:lnTo>
                    <a:lnTo>
                      <a:pt x="125" y="80"/>
                    </a:lnTo>
                    <a:lnTo>
                      <a:pt x="129" y="76"/>
                    </a:lnTo>
                    <a:lnTo>
                      <a:pt x="129" y="72"/>
                    </a:lnTo>
                    <a:lnTo>
                      <a:pt x="133" y="71"/>
                    </a:lnTo>
                    <a:lnTo>
                      <a:pt x="137" y="71"/>
                    </a:lnTo>
                    <a:lnTo>
                      <a:pt x="138" y="67"/>
                    </a:lnTo>
                    <a:lnTo>
                      <a:pt x="138" y="63"/>
                    </a:lnTo>
                    <a:lnTo>
                      <a:pt x="138" y="61"/>
                    </a:lnTo>
                    <a:lnTo>
                      <a:pt x="144" y="61"/>
                    </a:lnTo>
                    <a:lnTo>
                      <a:pt x="146" y="65"/>
                    </a:lnTo>
                    <a:lnTo>
                      <a:pt x="150" y="65"/>
                    </a:lnTo>
                    <a:lnTo>
                      <a:pt x="154" y="65"/>
                    </a:lnTo>
                    <a:lnTo>
                      <a:pt x="152" y="57"/>
                    </a:lnTo>
                    <a:lnTo>
                      <a:pt x="150" y="55"/>
                    </a:lnTo>
                    <a:lnTo>
                      <a:pt x="150" y="51"/>
                    </a:lnTo>
                    <a:lnTo>
                      <a:pt x="152" y="48"/>
                    </a:lnTo>
                    <a:lnTo>
                      <a:pt x="152" y="42"/>
                    </a:lnTo>
                    <a:lnTo>
                      <a:pt x="152" y="38"/>
                    </a:lnTo>
                    <a:lnTo>
                      <a:pt x="150" y="36"/>
                    </a:lnTo>
                    <a:lnTo>
                      <a:pt x="150" y="32"/>
                    </a:lnTo>
                    <a:lnTo>
                      <a:pt x="150" y="28"/>
                    </a:lnTo>
                    <a:lnTo>
                      <a:pt x="150" y="25"/>
                    </a:lnTo>
                    <a:lnTo>
                      <a:pt x="148" y="23"/>
                    </a:lnTo>
                    <a:lnTo>
                      <a:pt x="144" y="19"/>
                    </a:lnTo>
                    <a:lnTo>
                      <a:pt x="142" y="15"/>
                    </a:lnTo>
                    <a:lnTo>
                      <a:pt x="138" y="13"/>
                    </a:lnTo>
                    <a:lnTo>
                      <a:pt x="133" y="11"/>
                    </a:lnTo>
                    <a:lnTo>
                      <a:pt x="127" y="9"/>
                    </a:lnTo>
                    <a:lnTo>
                      <a:pt x="125" y="3"/>
                    </a:lnTo>
                    <a:lnTo>
                      <a:pt x="121" y="1"/>
                    </a:lnTo>
                    <a:lnTo>
                      <a:pt x="117" y="0"/>
                    </a:lnTo>
                    <a:lnTo>
                      <a:pt x="110" y="0"/>
                    </a:lnTo>
                    <a:lnTo>
                      <a:pt x="114" y="3"/>
                    </a:lnTo>
                    <a:lnTo>
                      <a:pt x="112" y="13"/>
                    </a:lnTo>
                    <a:lnTo>
                      <a:pt x="110" y="15"/>
                    </a:lnTo>
                    <a:lnTo>
                      <a:pt x="106" y="19"/>
                    </a:lnTo>
                    <a:lnTo>
                      <a:pt x="102" y="17"/>
                    </a:lnTo>
                    <a:lnTo>
                      <a:pt x="98" y="17"/>
                    </a:lnTo>
                    <a:lnTo>
                      <a:pt x="94" y="17"/>
                    </a:lnTo>
                    <a:lnTo>
                      <a:pt x="94" y="19"/>
                    </a:lnTo>
                    <a:lnTo>
                      <a:pt x="92" y="23"/>
                    </a:lnTo>
                    <a:lnTo>
                      <a:pt x="92" y="26"/>
                    </a:lnTo>
                    <a:lnTo>
                      <a:pt x="90" y="25"/>
                    </a:lnTo>
                    <a:lnTo>
                      <a:pt x="85" y="19"/>
                    </a:lnTo>
                    <a:lnTo>
                      <a:pt x="83" y="21"/>
                    </a:lnTo>
                    <a:lnTo>
                      <a:pt x="79" y="25"/>
                    </a:lnTo>
                    <a:lnTo>
                      <a:pt x="77" y="28"/>
                    </a:lnTo>
                    <a:lnTo>
                      <a:pt x="77" y="34"/>
                    </a:lnTo>
                    <a:lnTo>
                      <a:pt x="75" y="38"/>
                    </a:lnTo>
                    <a:lnTo>
                      <a:pt x="73" y="40"/>
                    </a:lnTo>
                    <a:lnTo>
                      <a:pt x="69" y="42"/>
                    </a:lnTo>
                    <a:lnTo>
                      <a:pt x="67" y="46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58" y="51"/>
                    </a:lnTo>
                    <a:lnTo>
                      <a:pt x="58" y="57"/>
                    </a:lnTo>
                    <a:lnTo>
                      <a:pt x="56" y="67"/>
                    </a:lnTo>
                    <a:lnTo>
                      <a:pt x="52" y="74"/>
                    </a:lnTo>
                    <a:lnTo>
                      <a:pt x="46" y="76"/>
                    </a:lnTo>
                    <a:lnTo>
                      <a:pt x="44" y="80"/>
                    </a:lnTo>
                    <a:lnTo>
                      <a:pt x="44" y="86"/>
                    </a:lnTo>
                    <a:lnTo>
                      <a:pt x="44" y="94"/>
                    </a:lnTo>
                    <a:lnTo>
                      <a:pt x="43" y="99"/>
                    </a:lnTo>
                    <a:lnTo>
                      <a:pt x="41" y="101"/>
                    </a:lnTo>
                    <a:lnTo>
                      <a:pt x="37" y="96"/>
                    </a:lnTo>
                    <a:lnTo>
                      <a:pt x="31" y="94"/>
                    </a:lnTo>
                    <a:lnTo>
                      <a:pt x="25" y="97"/>
                    </a:lnTo>
                    <a:lnTo>
                      <a:pt x="21" y="103"/>
                    </a:lnTo>
                    <a:lnTo>
                      <a:pt x="19" y="107"/>
                    </a:lnTo>
                    <a:lnTo>
                      <a:pt x="16" y="113"/>
                    </a:lnTo>
                    <a:lnTo>
                      <a:pt x="12" y="119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10" y="130"/>
                    </a:lnTo>
                    <a:lnTo>
                      <a:pt x="10" y="136"/>
                    </a:lnTo>
                    <a:lnTo>
                      <a:pt x="10" y="142"/>
                    </a:lnTo>
                    <a:lnTo>
                      <a:pt x="10" y="147"/>
                    </a:lnTo>
                    <a:lnTo>
                      <a:pt x="10" y="153"/>
                    </a:lnTo>
                    <a:lnTo>
                      <a:pt x="8" y="157"/>
                    </a:lnTo>
                    <a:lnTo>
                      <a:pt x="10" y="159"/>
                    </a:lnTo>
                    <a:lnTo>
                      <a:pt x="12" y="161"/>
                    </a:lnTo>
                    <a:lnTo>
                      <a:pt x="14" y="165"/>
                    </a:lnTo>
                    <a:lnTo>
                      <a:pt x="14" y="170"/>
                    </a:lnTo>
                    <a:lnTo>
                      <a:pt x="12" y="174"/>
                    </a:lnTo>
                    <a:lnTo>
                      <a:pt x="10" y="176"/>
                    </a:lnTo>
                    <a:lnTo>
                      <a:pt x="8" y="174"/>
                    </a:lnTo>
                    <a:lnTo>
                      <a:pt x="8" y="178"/>
                    </a:lnTo>
                    <a:lnTo>
                      <a:pt x="8" y="184"/>
                    </a:lnTo>
                    <a:lnTo>
                      <a:pt x="6" y="188"/>
                    </a:lnTo>
                    <a:lnTo>
                      <a:pt x="8" y="190"/>
                    </a:lnTo>
                    <a:lnTo>
                      <a:pt x="10" y="193"/>
                    </a:lnTo>
                    <a:lnTo>
                      <a:pt x="10" y="193"/>
                    </a:lnTo>
                    <a:lnTo>
                      <a:pt x="10" y="195"/>
                    </a:lnTo>
                    <a:lnTo>
                      <a:pt x="8" y="197"/>
                    </a:lnTo>
                    <a:lnTo>
                      <a:pt x="6" y="199"/>
                    </a:lnTo>
                    <a:lnTo>
                      <a:pt x="4" y="201"/>
                    </a:lnTo>
                    <a:lnTo>
                      <a:pt x="2" y="203"/>
                    </a:lnTo>
                    <a:lnTo>
                      <a:pt x="2" y="207"/>
                    </a:lnTo>
                    <a:lnTo>
                      <a:pt x="4" y="211"/>
                    </a:lnTo>
                    <a:lnTo>
                      <a:pt x="6" y="213"/>
                    </a:lnTo>
                    <a:lnTo>
                      <a:pt x="6" y="218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0" y="222"/>
                    </a:lnTo>
                    <a:close/>
                    <a:moveTo>
                      <a:pt x="43" y="220"/>
                    </a:moveTo>
                    <a:lnTo>
                      <a:pt x="41" y="224"/>
                    </a:lnTo>
                    <a:lnTo>
                      <a:pt x="41" y="230"/>
                    </a:lnTo>
                    <a:lnTo>
                      <a:pt x="39" y="230"/>
                    </a:lnTo>
                    <a:lnTo>
                      <a:pt x="39" y="230"/>
                    </a:lnTo>
                    <a:lnTo>
                      <a:pt x="39" y="230"/>
                    </a:lnTo>
                    <a:lnTo>
                      <a:pt x="39" y="228"/>
                    </a:lnTo>
                    <a:lnTo>
                      <a:pt x="41" y="222"/>
                    </a:lnTo>
                    <a:lnTo>
                      <a:pt x="43" y="220"/>
                    </a:lnTo>
                    <a:close/>
                    <a:moveTo>
                      <a:pt x="41" y="293"/>
                    </a:moveTo>
                    <a:lnTo>
                      <a:pt x="41" y="297"/>
                    </a:lnTo>
                    <a:lnTo>
                      <a:pt x="43" y="301"/>
                    </a:lnTo>
                    <a:lnTo>
                      <a:pt x="44" y="301"/>
                    </a:lnTo>
                    <a:lnTo>
                      <a:pt x="46" y="301"/>
                    </a:lnTo>
                    <a:lnTo>
                      <a:pt x="46" y="301"/>
                    </a:lnTo>
                    <a:lnTo>
                      <a:pt x="46" y="299"/>
                    </a:lnTo>
                    <a:lnTo>
                      <a:pt x="43" y="295"/>
                    </a:lnTo>
                    <a:lnTo>
                      <a:pt x="41" y="293"/>
                    </a:lnTo>
                    <a:close/>
                    <a:moveTo>
                      <a:pt x="94" y="241"/>
                    </a:moveTo>
                    <a:lnTo>
                      <a:pt x="94" y="245"/>
                    </a:lnTo>
                    <a:lnTo>
                      <a:pt x="90" y="245"/>
                    </a:lnTo>
                    <a:lnTo>
                      <a:pt x="89" y="245"/>
                    </a:lnTo>
                    <a:lnTo>
                      <a:pt x="85" y="253"/>
                    </a:lnTo>
                    <a:lnTo>
                      <a:pt x="83" y="262"/>
                    </a:lnTo>
                    <a:lnTo>
                      <a:pt x="89" y="264"/>
                    </a:lnTo>
                    <a:lnTo>
                      <a:pt x="94" y="251"/>
                    </a:lnTo>
                    <a:lnTo>
                      <a:pt x="94" y="241"/>
                    </a:lnTo>
                    <a:close/>
                    <a:moveTo>
                      <a:pt x="39" y="232"/>
                    </a:moveTo>
                    <a:lnTo>
                      <a:pt x="39" y="234"/>
                    </a:lnTo>
                    <a:lnTo>
                      <a:pt x="37" y="236"/>
                    </a:lnTo>
                    <a:lnTo>
                      <a:pt x="37" y="232"/>
                    </a:lnTo>
                    <a:lnTo>
                      <a:pt x="39" y="232"/>
                    </a:lnTo>
                    <a:close/>
                    <a:moveTo>
                      <a:pt x="73" y="205"/>
                    </a:moveTo>
                    <a:lnTo>
                      <a:pt x="77" y="207"/>
                    </a:lnTo>
                    <a:lnTo>
                      <a:pt x="79" y="209"/>
                    </a:lnTo>
                    <a:lnTo>
                      <a:pt x="79" y="209"/>
                    </a:lnTo>
                    <a:lnTo>
                      <a:pt x="73" y="209"/>
                    </a:lnTo>
                    <a:lnTo>
                      <a:pt x="71" y="209"/>
                    </a:lnTo>
                    <a:lnTo>
                      <a:pt x="71" y="207"/>
                    </a:lnTo>
                    <a:lnTo>
                      <a:pt x="71" y="205"/>
                    </a:lnTo>
                    <a:lnTo>
                      <a:pt x="73" y="205"/>
                    </a:lnTo>
                    <a:close/>
                    <a:moveTo>
                      <a:pt x="25" y="205"/>
                    </a:moveTo>
                    <a:lnTo>
                      <a:pt x="31" y="209"/>
                    </a:lnTo>
                    <a:lnTo>
                      <a:pt x="33" y="213"/>
                    </a:lnTo>
                    <a:lnTo>
                      <a:pt x="35" y="214"/>
                    </a:lnTo>
                    <a:lnTo>
                      <a:pt x="33" y="218"/>
                    </a:lnTo>
                    <a:lnTo>
                      <a:pt x="25" y="224"/>
                    </a:lnTo>
                    <a:lnTo>
                      <a:pt x="14" y="228"/>
                    </a:lnTo>
                    <a:lnTo>
                      <a:pt x="14" y="222"/>
                    </a:lnTo>
                    <a:lnTo>
                      <a:pt x="14" y="218"/>
                    </a:lnTo>
                    <a:lnTo>
                      <a:pt x="18" y="214"/>
                    </a:lnTo>
                    <a:lnTo>
                      <a:pt x="21" y="214"/>
                    </a:lnTo>
                    <a:lnTo>
                      <a:pt x="23" y="211"/>
                    </a:lnTo>
                    <a:lnTo>
                      <a:pt x="25" y="20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4" name="Freeform 42"/>
              <p:cNvSpPr>
                <a:spLocks/>
              </p:cNvSpPr>
              <p:nvPr/>
            </p:nvSpPr>
            <p:spPr bwMode="gray">
              <a:xfrm>
                <a:off x="4935391" y="5094289"/>
                <a:ext cx="28572" cy="36513"/>
              </a:xfrm>
              <a:custGeom>
                <a:avLst/>
                <a:gdLst>
                  <a:gd name="T0" fmla="*/ 16 w 18"/>
                  <a:gd name="T1" fmla="*/ 16 h 23"/>
                  <a:gd name="T2" fmla="*/ 16 w 18"/>
                  <a:gd name="T3" fmla="*/ 12 h 23"/>
                  <a:gd name="T4" fmla="*/ 18 w 18"/>
                  <a:gd name="T5" fmla="*/ 6 h 23"/>
                  <a:gd name="T6" fmla="*/ 14 w 18"/>
                  <a:gd name="T7" fmla="*/ 2 h 23"/>
                  <a:gd name="T8" fmla="*/ 12 w 18"/>
                  <a:gd name="T9" fmla="*/ 0 h 23"/>
                  <a:gd name="T10" fmla="*/ 8 w 18"/>
                  <a:gd name="T11" fmla="*/ 2 h 23"/>
                  <a:gd name="T12" fmla="*/ 6 w 18"/>
                  <a:gd name="T13" fmla="*/ 2 h 23"/>
                  <a:gd name="T14" fmla="*/ 4 w 18"/>
                  <a:gd name="T15" fmla="*/ 2 h 23"/>
                  <a:gd name="T16" fmla="*/ 2 w 18"/>
                  <a:gd name="T17" fmla="*/ 2 h 23"/>
                  <a:gd name="T18" fmla="*/ 2 w 18"/>
                  <a:gd name="T19" fmla="*/ 4 h 23"/>
                  <a:gd name="T20" fmla="*/ 0 w 18"/>
                  <a:gd name="T21" fmla="*/ 8 h 23"/>
                  <a:gd name="T22" fmla="*/ 0 w 18"/>
                  <a:gd name="T23" fmla="*/ 12 h 23"/>
                  <a:gd name="T24" fmla="*/ 2 w 18"/>
                  <a:gd name="T25" fmla="*/ 16 h 23"/>
                  <a:gd name="T26" fmla="*/ 4 w 18"/>
                  <a:gd name="T27" fmla="*/ 19 h 23"/>
                  <a:gd name="T28" fmla="*/ 6 w 18"/>
                  <a:gd name="T29" fmla="*/ 19 h 23"/>
                  <a:gd name="T30" fmla="*/ 12 w 18"/>
                  <a:gd name="T31" fmla="*/ 21 h 23"/>
                  <a:gd name="T32" fmla="*/ 16 w 18"/>
                  <a:gd name="T33" fmla="*/ 23 h 23"/>
                  <a:gd name="T34" fmla="*/ 16 w 18"/>
                  <a:gd name="T35" fmla="*/ 1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" h="23">
                    <a:moveTo>
                      <a:pt x="16" y="16"/>
                    </a:moveTo>
                    <a:lnTo>
                      <a:pt x="16" y="12"/>
                    </a:lnTo>
                    <a:lnTo>
                      <a:pt x="18" y="6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12" y="21"/>
                    </a:lnTo>
                    <a:lnTo>
                      <a:pt x="16" y="23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5" name="Freeform 43"/>
              <p:cNvSpPr>
                <a:spLocks/>
              </p:cNvSpPr>
              <p:nvPr/>
            </p:nvSpPr>
            <p:spPr bwMode="gray">
              <a:xfrm>
                <a:off x="3178224" y="4302126"/>
                <a:ext cx="79366" cy="122238"/>
              </a:xfrm>
              <a:custGeom>
                <a:avLst/>
                <a:gdLst>
                  <a:gd name="T0" fmla="*/ 13 w 50"/>
                  <a:gd name="T1" fmla="*/ 4 h 77"/>
                  <a:gd name="T2" fmla="*/ 10 w 50"/>
                  <a:gd name="T3" fmla="*/ 10 h 77"/>
                  <a:gd name="T4" fmla="*/ 8 w 50"/>
                  <a:gd name="T5" fmla="*/ 14 h 77"/>
                  <a:gd name="T6" fmla="*/ 8 w 50"/>
                  <a:gd name="T7" fmla="*/ 16 h 77"/>
                  <a:gd name="T8" fmla="*/ 6 w 50"/>
                  <a:gd name="T9" fmla="*/ 21 h 77"/>
                  <a:gd name="T10" fmla="*/ 4 w 50"/>
                  <a:gd name="T11" fmla="*/ 23 h 77"/>
                  <a:gd name="T12" fmla="*/ 0 w 50"/>
                  <a:gd name="T13" fmla="*/ 27 h 77"/>
                  <a:gd name="T14" fmla="*/ 0 w 50"/>
                  <a:gd name="T15" fmla="*/ 31 h 77"/>
                  <a:gd name="T16" fmla="*/ 2 w 50"/>
                  <a:gd name="T17" fmla="*/ 35 h 77"/>
                  <a:gd name="T18" fmla="*/ 0 w 50"/>
                  <a:gd name="T19" fmla="*/ 43 h 77"/>
                  <a:gd name="T20" fmla="*/ 0 w 50"/>
                  <a:gd name="T21" fmla="*/ 44 h 77"/>
                  <a:gd name="T22" fmla="*/ 2 w 50"/>
                  <a:gd name="T23" fmla="*/ 46 h 77"/>
                  <a:gd name="T24" fmla="*/ 4 w 50"/>
                  <a:gd name="T25" fmla="*/ 48 h 77"/>
                  <a:gd name="T26" fmla="*/ 4 w 50"/>
                  <a:gd name="T27" fmla="*/ 52 h 77"/>
                  <a:gd name="T28" fmla="*/ 4 w 50"/>
                  <a:gd name="T29" fmla="*/ 56 h 77"/>
                  <a:gd name="T30" fmla="*/ 6 w 50"/>
                  <a:gd name="T31" fmla="*/ 67 h 77"/>
                  <a:gd name="T32" fmla="*/ 8 w 50"/>
                  <a:gd name="T33" fmla="*/ 75 h 77"/>
                  <a:gd name="T34" fmla="*/ 13 w 50"/>
                  <a:gd name="T35" fmla="*/ 73 h 77"/>
                  <a:gd name="T36" fmla="*/ 21 w 50"/>
                  <a:gd name="T37" fmla="*/ 77 h 77"/>
                  <a:gd name="T38" fmla="*/ 25 w 50"/>
                  <a:gd name="T39" fmla="*/ 71 h 77"/>
                  <a:gd name="T40" fmla="*/ 19 w 50"/>
                  <a:gd name="T41" fmla="*/ 67 h 77"/>
                  <a:gd name="T42" fmla="*/ 21 w 50"/>
                  <a:gd name="T43" fmla="*/ 60 h 77"/>
                  <a:gd name="T44" fmla="*/ 31 w 50"/>
                  <a:gd name="T45" fmla="*/ 64 h 77"/>
                  <a:gd name="T46" fmla="*/ 34 w 50"/>
                  <a:gd name="T47" fmla="*/ 62 h 77"/>
                  <a:gd name="T48" fmla="*/ 36 w 50"/>
                  <a:gd name="T49" fmla="*/ 64 h 77"/>
                  <a:gd name="T50" fmla="*/ 42 w 50"/>
                  <a:gd name="T51" fmla="*/ 64 h 77"/>
                  <a:gd name="T52" fmla="*/ 44 w 50"/>
                  <a:gd name="T53" fmla="*/ 62 h 77"/>
                  <a:gd name="T54" fmla="*/ 48 w 50"/>
                  <a:gd name="T55" fmla="*/ 56 h 77"/>
                  <a:gd name="T56" fmla="*/ 50 w 50"/>
                  <a:gd name="T57" fmla="*/ 48 h 77"/>
                  <a:gd name="T58" fmla="*/ 50 w 50"/>
                  <a:gd name="T59" fmla="*/ 44 h 77"/>
                  <a:gd name="T60" fmla="*/ 46 w 50"/>
                  <a:gd name="T61" fmla="*/ 41 h 77"/>
                  <a:gd name="T62" fmla="*/ 42 w 50"/>
                  <a:gd name="T63" fmla="*/ 35 h 77"/>
                  <a:gd name="T64" fmla="*/ 42 w 50"/>
                  <a:gd name="T65" fmla="*/ 25 h 77"/>
                  <a:gd name="T66" fmla="*/ 42 w 50"/>
                  <a:gd name="T67" fmla="*/ 18 h 77"/>
                  <a:gd name="T68" fmla="*/ 48 w 50"/>
                  <a:gd name="T69" fmla="*/ 8 h 77"/>
                  <a:gd name="T70" fmla="*/ 48 w 50"/>
                  <a:gd name="T71" fmla="*/ 6 h 77"/>
                  <a:gd name="T72" fmla="*/ 48 w 50"/>
                  <a:gd name="T73" fmla="*/ 2 h 77"/>
                  <a:gd name="T74" fmla="*/ 33 w 50"/>
                  <a:gd name="T75" fmla="*/ 2 h 77"/>
                  <a:gd name="T76" fmla="*/ 15 w 50"/>
                  <a:gd name="T77" fmla="*/ 0 h 77"/>
                  <a:gd name="T78" fmla="*/ 15 w 50"/>
                  <a:gd name="T79" fmla="*/ 4 h 77"/>
                  <a:gd name="T80" fmla="*/ 13 w 50"/>
                  <a:gd name="T81" fmla="*/ 6 h 77"/>
                  <a:gd name="T82" fmla="*/ 13 w 50"/>
                  <a:gd name="T83" fmla="*/ 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0" h="77">
                    <a:moveTo>
                      <a:pt x="13" y="4"/>
                    </a:moveTo>
                    <a:lnTo>
                      <a:pt x="10" y="10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6" y="21"/>
                    </a:lnTo>
                    <a:lnTo>
                      <a:pt x="4" y="23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0" y="43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6" y="67"/>
                    </a:lnTo>
                    <a:lnTo>
                      <a:pt x="8" y="75"/>
                    </a:lnTo>
                    <a:lnTo>
                      <a:pt x="13" y="73"/>
                    </a:lnTo>
                    <a:lnTo>
                      <a:pt x="21" y="77"/>
                    </a:lnTo>
                    <a:lnTo>
                      <a:pt x="25" y="71"/>
                    </a:lnTo>
                    <a:lnTo>
                      <a:pt x="19" y="67"/>
                    </a:lnTo>
                    <a:lnTo>
                      <a:pt x="21" y="60"/>
                    </a:lnTo>
                    <a:lnTo>
                      <a:pt x="31" y="64"/>
                    </a:lnTo>
                    <a:lnTo>
                      <a:pt x="34" y="62"/>
                    </a:lnTo>
                    <a:lnTo>
                      <a:pt x="36" y="64"/>
                    </a:lnTo>
                    <a:lnTo>
                      <a:pt x="42" y="64"/>
                    </a:lnTo>
                    <a:lnTo>
                      <a:pt x="44" y="62"/>
                    </a:lnTo>
                    <a:lnTo>
                      <a:pt x="48" y="56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46" y="41"/>
                    </a:lnTo>
                    <a:lnTo>
                      <a:pt x="42" y="35"/>
                    </a:lnTo>
                    <a:lnTo>
                      <a:pt x="42" y="25"/>
                    </a:lnTo>
                    <a:lnTo>
                      <a:pt x="42" y="18"/>
                    </a:lnTo>
                    <a:lnTo>
                      <a:pt x="48" y="8"/>
                    </a:lnTo>
                    <a:lnTo>
                      <a:pt x="48" y="6"/>
                    </a:lnTo>
                    <a:lnTo>
                      <a:pt x="48" y="2"/>
                    </a:lnTo>
                    <a:lnTo>
                      <a:pt x="33" y="2"/>
                    </a:lnTo>
                    <a:lnTo>
                      <a:pt x="15" y="0"/>
                    </a:lnTo>
                    <a:lnTo>
                      <a:pt x="15" y="4"/>
                    </a:lnTo>
                    <a:lnTo>
                      <a:pt x="13" y="6"/>
                    </a:lnTo>
                    <a:lnTo>
                      <a:pt x="13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6" name="Freeform 44"/>
              <p:cNvSpPr>
                <a:spLocks/>
              </p:cNvSpPr>
              <p:nvPr/>
            </p:nvSpPr>
            <p:spPr bwMode="gray">
              <a:xfrm>
                <a:off x="4756023" y="3873501"/>
                <a:ext cx="344449" cy="490538"/>
              </a:xfrm>
              <a:custGeom>
                <a:avLst/>
                <a:gdLst>
                  <a:gd name="T0" fmla="*/ 203 w 217"/>
                  <a:gd name="T1" fmla="*/ 67 h 309"/>
                  <a:gd name="T2" fmla="*/ 196 w 217"/>
                  <a:gd name="T3" fmla="*/ 23 h 309"/>
                  <a:gd name="T4" fmla="*/ 192 w 217"/>
                  <a:gd name="T5" fmla="*/ 11 h 309"/>
                  <a:gd name="T6" fmla="*/ 177 w 217"/>
                  <a:gd name="T7" fmla="*/ 0 h 309"/>
                  <a:gd name="T8" fmla="*/ 163 w 217"/>
                  <a:gd name="T9" fmla="*/ 11 h 309"/>
                  <a:gd name="T10" fmla="*/ 152 w 217"/>
                  <a:gd name="T11" fmla="*/ 23 h 309"/>
                  <a:gd name="T12" fmla="*/ 138 w 217"/>
                  <a:gd name="T13" fmla="*/ 17 h 309"/>
                  <a:gd name="T14" fmla="*/ 46 w 217"/>
                  <a:gd name="T15" fmla="*/ 48 h 309"/>
                  <a:gd name="T16" fmla="*/ 33 w 217"/>
                  <a:gd name="T17" fmla="*/ 119 h 309"/>
                  <a:gd name="T18" fmla="*/ 21 w 217"/>
                  <a:gd name="T19" fmla="*/ 117 h 309"/>
                  <a:gd name="T20" fmla="*/ 15 w 217"/>
                  <a:gd name="T21" fmla="*/ 126 h 309"/>
                  <a:gd name="T22" fmla="*/ 12 w 217"/>
                  <a:gd name="T23" fmla="*/ 136 h 309"/>
                  <a:gd name="T24" fmla="*/ 8 w 217"/>
                  <a:gd name="T25" fmla="*/ 149 h 309"/>
                  <a:gd name="T26" fmla="*/ 4 w 217"/>
                  <a:gd name="T27" fmla="*/ 157 h 309"/>
                  <a:gd name="T28" fmla="*/ 0 w 217"/>
                  <a:gd name="T29" fmla="*/ 165 h 309"/>
                  <a:gd name="T30" fmla="*/ 10 w 217"/>
                  <a:gd name="T31" fmla="*/ 165 h 309"/>
                  <a:gd name="T32" fmla="*/ 8 w 217"/>
                  <a:gd name="T33" fmla="*/ 176 h 309"/>
                  <a:gd name="T34" fmla="*/ 10 w 217"/>
                  <a:gd name="T35" fmla="*/ 180 h 309"/>
                  <a:gd name="T36" fmla="*/ 12 w 217"/>
                  <a:gd name="T37" fmla="*/ 190 h 309"/>
                  <a:gd name="T38" fmla="*/ 19 w 217"/>
                  <a:gd name="T39" fmla="*/ 203 h 309"/>
                  <a:gd name="T40" fmla="*/ 19 w 217"/>
                  <a:gd name="T41" fmla="*/ 215 h 309"/>
                  <a:gd name="T42" fmla="*/ 25 w 217"/>
                  <a:gd name="T43" fmla="*/ 220 h 309"/>
                  <a:gd name="T44" fmla="*/ 25 w 217"/>
                  <a:gd name="T45" fmla="*/ 232 h 309"/>
                  <a:gd name="T46" fmla="*/ 35 w 217"/>
                  <a:gd name="T47" fmla="*/ 241 h 309"/>
                  <a:gd name="T48" fmla="*/ 44 w 217"/>
                  <a:gd name="T49" fmla="*/ 247 h 309"/>
                  <a:gd name="T50" fmla="*/ 52 w 217"/>
                  <a:gd name="T51" fmla="*/ 251 h 309"/>
                  <a:gd name="T52" fmla="*/ 63 w 217"/>
                  <a:gd name="T53" fmla="*/ 261 h 309"/>
                  <a:gd name="T54" fmla="*/ 67 w 217"/>
                  <a:gd name="T55" fmla="*/ 274 h 309"/>
                  <a:gd name="T56" fmla="*/ 75 w 217"/>
                  <a:gd name="T57" fmla="*/ 286 h 309"/>
                  <a:gd name="T58" fmla="*/ 81 w 217"/>
                  <a:gd name="T59" fmla="*/ 293 h 309"/>
                  <a:gd name="T60" fmla="*/ 90 w 217"/>
                  <a:gd name="T61" fmla="*/ 291 h 309"/>
                  <a:gd name="T62" fmla="*/ 96 w 217"/>
                  <a:gd name="T63" fmla="*/ 289 h 309"/>
                  <a:gd name="T64" fmla="*/ 102 w 217"/>
                  <a:gd name="T65" fmla="*/ 291 h 309"/>
                  <a:gd name="T66" fmla="*/ 109 w 217"/>
                  <a:gd name="T67" fmla="*/ 303 h 309"/>
                  <a:gd name="T68" fmla="*/ 119 w 217"/>
                  <a:gd name="T69" fmla="*/ 305 h 309"/>
                  <a:gd name="T70" fmla="*/ 134 w 217"/>
                  <a:gd name="T71" fmla="*/ 303 h 309"/>
                  <a:gd name="T72" fmla="*/ 146 w 217"/>
                  <a:gd name="T73" fmla="*/ 301 h 309"/>
                  <a:gd name="T74" fmla="*/ 159 w 217"/>
                  <a:gd name="T75" fmla="*/ 299 h 309"/>
                  <a:gd name="T76" fmla="*/ 167 w 217"/>
                  <a:gd name="T77" fmla="*/ 295 h 309"/>
                  <a:gd name="T78" fmla="*/ 180 w 217"/>
                  <a:gd name="T79" fmla="*/ 297 h 309"/>
                  <a:gd name="T80" fmla="*/ 175 w 217"/>
                  <a:gd name="T81" fmla="*/ 289 h 309"/>
                  <a:gd name="T82" fmla="*/ 167 w 217"/>
                  <a:gd name="T83" fmla="*/ 284 h 309"/>
                  <a:gd name="T84" fmla="*/ 161 w 217"/>
                  <a:gd name="T85" fmla="*/ 266 h 309"/>
                  <a:gd name="T86" fmla="*/ 152 w 217"/>
                  <a:gd name="T87" fmla="*/ 257 h 309"/>
                  <a:gd name="T88" fmla="*/ 140 w 217"/>
                  <a:gd name="T89" fmla="*/ 253 h 309"/>
                  <a:gd name="T90" fmla="*/ 140 w 217"/>
                  <a:gd name="T91" fmla="*/ 243 h 309"/>
                  <a:gd name="T92" fmla="*/ 148 w 217"/>
                  <a:gd name="T93" fmla="*/ 241 h 309"/>
                  <a:gd name="T94" fmla="*/ 152 w 217"/>
                  <a:gd name="T95" fmla="*/ 232 h 309"/>
                  <a:gd name="T96" fmla="*/ 154 w 217"/>
                  <a:gd name="T97" fmla="*/ 213 h 309"/>
                  <a:gd name="T98" fmla="*/ 157 w 217"/>
                  <a:gd name="T99" fmla="*/ 195 h 309"/>
                  <a:gd name="T100" fmla="*/ 167 w 217"/>
                  <a:gd name="T101" fmla="*/ 190 h 309"/>
                  <a:gd name="T102" fmla="*/ 173 w 217"/>
                  <a:gd name="T103" fmla="*/ 180 h 309"/>
                  <a:gd name="T104" fmla="*/ 179 w 217"/>
                  <a:gd name="T105" fmla="*/ 161 h 309"/>
                  <a:gd name="T106" fmla="*/ 190 w 217"/>
                  <a:gd name="T107" fmla="*/ 146 h 309"/>
                  <a:gd name="T108" fmla="*/ 188 w 217"/>
                  <a:gd name="T109" fmla="*/ 128 h 309"/>
                  <a:gd name="T110" fmla="*/ 194 w 217"/>
                  <a:gd name="T111" fmla="*/ 111 h 309"/>
                  <a:gd name="T112" fmla="*/ 194 w 217"/>
                  <a:gd name="T113" fmla="*/ 96 h 309"/>
                  <a:gd name="T114" fmla="*/ 198 w 217"/>
                  <a:gd name="T115" fmla="*/ 88 h 309"/>
                  <a:gd name="T116" fmla="*/ 213 w 217"/>
                  <a:gd name="T117" fmla="*/ 84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7" h="309">
                    <a:moveTo>
                      <a:pt x="217" y="76"/>
                    </a:moveTo>
                    <a:lnTo>
                      <a:pt x="213" y="76"/>
                    </a:lnTo>
                    <a:lnTo>
                      <a:pt x="203" y="67"/>
                    </a:lnTo>
                    <a:lnTo>
                      <a:pt x="196" y="57"/>
                    </a:lnTo>
                    <a:lnTo>
                      <a:pt x="196" y="40"/>
                    </a:lnTo>
                    <a:lnTo>
                      <a:pt x="196" y="23"/>
                    </a:lnTo>
                    <a:lnTo>
                      <a:pt x="192" y="21"/>
                    </a:lnTo>
                    <a:lnTo>
                      <a:pt x="192" y="17"/>
                    </a:lnTo>
                    <a:lnTo>
                      <a:pt x="192" y="11"/>
                    </a:lnTo>
                    <a:lnTo>
                      <a:pt x="186" y="7"/>
                    </a:lnTo>
                    <a:lnTo>
                      <a:pt x="179" y="2"/>
                    </a:lnTo>
                    <a:lnTo>
                      <a:pt x="177" y="0"/>
                    </a:lnTo>
                    <a:lnTo>
                      <a:pt x="171" y="4"/>
                    </a:lnTo>
                    <a:lnTo>
                      <a:pt x="165" y="4"/>
                    </a:lnTo>
                    <a:lnTo>
                      <a:pt x="163" y="11"/>
                    </a:lnTo>
                    <a:lnTo>
                      <a:pt x="157" y="13"/>
                    </a:lnTo>
                    <a:lnTo>
                      <a:pt x="157" y="21"/>
                    </a:lnTo>
                    <a:lnTo>
                      <a:pt x="152" y="23"/>
                    </a:lnTo>
                    <a:lnTo>
                      <a:pt x="150" y="19"/>
                    </a:lnTo>
                    <a:lnTo>
                      <a:pt x="138" y="19"/>
                    </a:lnTo>
                    <a:lnTo>
                      <a:pt x="138" y="17"/>
                    </a:lnTo>
                    <a:lnTo>
                      <a:pt x="134" y="19"/>
                    </a:lnTo>
                    <a:lnTo>
                      <a:pt x="46" y="19"/>
                    </a:lnTo>
                    <a:lnTo>
                      <a:pt x="46" y="48"/>
                    </a:lnTo>
                    <a:lnTo>
                      <a:pt x="33" y="48"/>
                    </a:lnTo>
                    <a:lnTo>
                      <a:pt x="33" y="59"/>
                    </a:lnTo>
                    <a:lnTo>
                      <a:pt x="33" y="119"/>
                    </a:lnTo>
                    <a:lnTo>
                      <a:pt x="31" y="119"/>
                    </a:lnTo>
                    <a:lnTo>
                      <a:pt x="25" y="119"/>
                    </a:lnTo>
                    <a:lnTo>
                      <a:pt x="21" y="117"/>
                    </a:lnTo>
                    <a:lnTo>
                      <a:pt x="19" y="119"/>
                    </a:lnTo>
                    <a:lnTo>
                      <a:pt x="15" y="123"/>
                    </a:lnTo>
                    <a:lnTo>
                      <a:pt x="15" y="126"/>
                    </a:lnTo>
                    <a:lnTo>
                      <a:pt x="15" y="130"/>
                    </a:lnTo>
                    <a:lnTo>
                      <a:pt x="13" y="134"/>
                    </a:lnTo>
                    <a:lnTo>
                      <a:pt x="12" y="136"/>
                    </a:lnTo>
                    <a:lnTo>
                      <a:pt x="12" y="140"/>
                    </a:lnTo>
                    <a:lnTo>
                      <a:pt x="12" y="144"/>
                    </a:lnTo>
                    <a:lnTo>
                      <a:pt x="8" y="149"/>
                    </a:lnTo>
                    <a:lnTo>
                      <a:pt x="6" y="151"/>
                    </a:lnTo>
                    <a:lnTo>
                      <a:pt x="6" y="153"/>
                    </a:lnTo>
                    <a:lnTo>
                      <a:pt x="4" y="157"/>
                    </a:lnTo>
                    <a:lnTo>
                      <a:pt x="2" y="159"/>
                    </a:lnTo>
                    <a:lnTo>
                      <a:pt x="0" y="161"/>
                    </a:lnTo>
                    <a:lnTo>
                      <a:pt x="0" y="165"/>
                    </a:lnTo>
                    <a:lnTo>
                      <a:pt x="2" y="165"/>
                    </a:lnTo>
                    <a:lnTo>
                      <a:pt x="6" y="165"/>
                    </a:lnTo>
                    <a:lnTo>
                      <a:pt x="10" y="165"/>
                    </a:lnTo>
                    <a:lnTo>
                      <a:pt x="12" y="169"/>
                    </a:lnTo>
                    <a:lnTo>
                      <a:pt x="10" y="172"/>
                    </a:lnTo>
                    <a:lnTo>
                      <a:pt x="8" y="176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80"/>
                    </a:lnTo>
                    <a:lnTo>
                      <a:pt x="10" y="184"/>
                    </a:lnTo>
                    <a:lnTo>
                      <a:pt x="8" y="188"/>
                    </a:lnTo>
                    <a:lnTo>
                      <a:pt x="12" y="190"/>
                    </a:lnTo>
                    <a:lnTo>
                      <a:pt x="13" y="194"/>
                    </a:lnTo>
                    <a:lnTo>
                      <a:pt x="12" y="195"/>
                    </a:lnTo>
                    <a:lnTo>
                      <a:pt x="19" y="203"/>
                    </a:lnTo>
                    <a:lnTo>
                      <a:pt x="21" y="205"/>
                    </a:lnTo>
                    <a:lnTo>
                      <a:pt x="19" y="211"/>
                    </a:lnTo>
                    <a:lnTo>
                      <a:pt x="19" y="215"/>
                    </a:lnTo>
                    <a:lnTo>
                      <a:pt x="21" y="217"/>
                    </a:lnTo>
                    <a:lnTo>
                      <a:pt x="23" y="218"/>
                    </a:lnTo>
                    <a:lnTo>
                      <a:pt x="25" y="220"/>
                    </a:lnTo>
                    <a:lnTo>
                      <a:pt x="25" y="222"/>
                    </a:lnTo>
                    <a:lnTo>
                      <a:pt x="25" y="224"/>
                    </a:lnTo>
                    <a:lnTo>
                      <a:pt x="25" y="232"/>
                    </a:lnTo>
                    <a:lnTo>
                      <a:pt x="31" y="236"/>
                    </a:lnTo>
                    <a:lnTo>
                      <a:pt x="33" y="240"/>
                    </a:lnTo>
                    <a:lnTo>
                      <a:pt x="35" y="241"/>
                    </a:lnTo>
                    <a:lnTo>
                      <a:pt x="38" y="241"/>
                    </a:lnTo>
                    <a:lnTo>
                      <a:pt x="40" y="243"/>
                    </a:lnTo>
                    <a:lnTo>
                      <a:pt x="44" y="247"/>
                    </a:lnTo>
                    <a:lnTo>
                      <a:pt x="48" y="249"/>
                    </a:lnTo>
                    <a:lnTo>
                      <a:pt x="50" y="249"/>
                    </a:lnTo>
                    <a:lnTo>
                      <a:pt x="52" y="251"/>
                    </a:lnTo>
                    <a:lnTo>
                      <a:pt x="54" y="255"/>
                    </a:lnTo>
                    <a:lnTo>
                      <a:pt x="58" y="259"/>
                    </a:lnTo>
                    <a:lnTo>
                      <a:pt x="63" y="261"/>
                    </a:lnTo>
                    <a:lnTo>
                      <a:pt x="65" y="266"/>
                    </a:lnTo>
                    <a:lnTo>
                      <a:pt x="67" y="272"/>
                    </a:lnTo>
                    <a:lnTo>
                      <a:pt x="67" y="274"/>
                    </a:lnTo>
                    <a:lnTo>
                      <a:pt x="69" y="278"/>
                    </a:lnTo>
                    <a:lnTo>
                      <a:pt x="71" y="280"/>
                    </a:lnTo>
                    <a:lnTo>
                      <a:pt x="75" y="286"/>
                    </a:lnTo>
                    <a:lnTo>
                      <a:pt x="75" y="289"/>
                    </a:lnTo>
                    <a:lnTo>
                      <a:pt x="77" y="291"/>
                    </a:lnTo>
                    <a:lnTo>
                      <a:pt x="81" y="293"/>
                    </a:lnTo>
                    <a:lnTo>
                      <a:pt x="83" y="289"/>
                    </a:lnTo>
                    <a:lnTo>
                      <a:pt x="84" y="289"/>
                    </a:lnTo>
                    <a:lnTo>
                      <a:pt x="90" y="291"/>
                    </a:lnTo>
                    <a:lnTo>
                      <a:pt x="92" y="293"/>
                    </a:lnTo>
                    <a:lnTo>
                      <a:pt x="94" y="289"/>
                    </a:lnTo>
                    <a:lnTo>
                      <a:pt x="96" y="289"/>
                    </a:lnTo>
                    <a:lnTo>
                      <a:pt x="98" y="289"/>
                    </a:lnTo>
                    <a:lnTo>
                      <a:pt x="100" y="289"/>
                    </a:lnTo>
                    <a:lnTo>
                      <a:pt x="102" y="291"/>
                    </a:lnTo>
                    <a:lnTo>
                      <a:pt x="104" y="297"/>
                    </a:lnTo>
                    <a:lnTo>
                      <a:pt x="106" y="301"/>
                    </a:lnTo>
                    <a:lnTo>
                      <a:pt x="109" y="303"/>
                    </a:lnTo>
                    <a:lnTo>
                      <a:pt x="113" y="305"/>
                    </a:lnTo>
                    <a:lnTo>
                      <a:pt x="117" y="305"/>
                    </a:lnTo>
                    <a:lnTo>
                      <a:pt x="119" y="305"/>
                    </a:lnTo>
                    <a:lnTo>
                      <a:pt x="125" y="309"/>
                    </a:lnTo>
                    <a:lnTo>
                      <a:pt x="129" y="305"/>
                    </a:lnTo>
                    <a:lnTo>
                      <a:pt x="134" y="303"/>
                    </a:lnTo>
                    <a:lnTo>
                      <a:pt x="136" y="303"/>
                    </a:lnTo>
                    <a:lnTo>
                      <a:pt x="140" y="301"/>
                    </a:lnTo>
                    <a:lnTo>
                      <a:pt x="146" y="301"/>
                    </a:lnTo>
                    <a:lnTo>
                      <a:pt x="148" y="305"/>
                    </a:lnTo>
                    <a:lnTo>
                      <a:pt x="154" y="301"/>
                    </a:lnTo>
                    <a:lnTo>
                      <a:pt x="159" y="299"/>
                    </a:lnTo>
                    <a:lnTo>
                      <a:pt x="163" y="295"/>
                    </a:lnTo>
                    <a:lnTo>
                      <a:pt x="167" y="295"/>
                    </a:lnTo>
                    <a:lnTo>
                      <a:pt x="167" y="295"/>
                    </a:lnTo>
                    <a:lnTo>
                      <a:pt x="173" y="295"/>
                    </a:lnTo>
                    <a:lnTo>
                      <a:pt x="180" y="301"/>
                    </a:lnTo>
                    <a:lnTo>
                      <a:pt x="180" y="297"/>
                    </a:lnTo>
                    <a:lnTo>
                      <a:pt x="180" y="293"/>
                    </a:lnTo>
                    <a:lnTo>
                      <a:pt x="177" y="289"/>
                    </a:lnTo>
                    <a:lnTo>
                      <a:pt x="175" y="289"/>
                    </a:lnTo>
                    <a:lnTo>
                      <a:pt x="175" y="289"/>
                    </a:lnTo>
                    <a:lnTo>
                      <a:pt x="169" y="288"/>
                    </a:lnTo>
                    <a:lnTo>
                      <a:pt x="167" y="284"/>
                    </a:lnTo>
                    <a:lnTo>
                      <a:pt x="163" y="278"/>
                    </a:lnTo>
                    <a:lnTo>
                      <a:pt x="161" y="270"/>
                    </a:lnTo>
                    <a:lnTo>
                      <a:pt x="161" y="266"/>
                    </a:lnTo>
                    <a:lnTo>
                      <a:pt x="157" y="265"/>
                    </a:lnTo>
                    <a:lnTo>
                      <a:pt x="155" y="261"/>
                    </a:lnTo>
                    <a:lnTo>
                      <a:pt x="152" y="257"/>
                    </a:lnTo>
                    <a:lnTo>
                      <a:pt x="150" y="255"/>
                    </a:lnTo>
                    <a:lnTo>
                      <a:pt x="146" y="253"/>
                    </a:lnTo>
                    <a:lnTo>
                      <a:pt x="140" y="253"/>
                    </a:lnTo>
                    <a:lnTo>
                      <a:pt x="138" y="251"/>
                    </a:lnTo>
                    <a:lnTo>
                      <a:pt x="138" y="245"/>
                    </a:lnTo>
                    <a:lnTo>
                      <a:pt x="140" y="243"/>
                    </a:lnTo>
                    <a:lnTo>
                      <a:pt x="140" y="243"/>
                    </a:lnTo>
                    <a:lnTo>
                      <a:pt x="144" y="241"/>
                    </a:lnTo>
                    <a:lnTo>
                      <a:pt x="148" y="241"/>
                    </a:lnTo>
                    <a:lnTo>
                      <a:pt x="150" y="240"/>
                    </a:lnTo>
                    <a:lnTo>
                      <a:pt x="150" y="238"/>
                    </a:lnTo>
                    <a:lnTo>
                      <a:pt x="152" y="232"/>
                    </a:lnTo>
                    <a:lnTo>
                      <a:pt x="152" y="226"/>
                    </a:lnTo>
                    <a:lnTo>
                      <a:pt x="152" y="218"/>
                    </a:lnTo>
                    <a:lnTo>
                      <a:pt x="154" y="213"/>
                    </a:lnTo>
                    <a:lnTo>
                      <a:pt x="157" y="203"/>
                    </a:lnTo>
                    <a:lnTo>
                      <a:pt x="157" y="197"/>
                    </a:lnTo>
                    <a:lnTo>
                      <a:pt x="157" y="195"/>
                    </a:lnTo>
                    <a:lnTo>
                      <a:pt x="159" y="194"/>
                    </a:lnTo>
                    <a:lnTo>
                      <a:pt x="163" y="192"/>
                    </a:lnTo>
                    <a:lnTo>
                      <a:pt x="167" y="190"/>
                    </a:lnTo>
                    <a:lnTo>
                      <a:pt x="169" y="188"/>
                    </a:lnTo>
                    <a:lnTo>
                      <a:pt x="171" y="184"/>
                    </a:lnTo>
                    <a:lnTo>
                      <a:pt x="173" y="180"/>
                    </a:lnTo>
                    <a:lnTo>
                      <a:pt x="175" y="174"/>
                    </a:lnTo>
                    <a:lnTo>
                      <a:pt x="177" y="169"/>
                    </a:lnTo>
                    <a:lnTo>
                      <a:pt x="179" y="161"/>
                    </a:lnTo>
                    <a:lnTo>
                      <a:pt x="182" y="157"/>
                    </a:lnTo>
                    <a:lnTo>
                      <a:pt x="186" y="149"/>
                    </a:lnTo>
                    <a:lnTo>
                      <a:pt x="190" y="146"/>
                    </a:lnTo>
                    <a:lnTo>
                      <a:pt x="190" y="140"/>
                    </a:lnTo>
                    <a:lnTo>
                      <a:pt x="188" y="132"/>
                    </a:lnTo>
                    <a:lnTo>
                      <a:pt x="188" y="128"/>
                    </a:lnTo>
                    <a:lnTo>
                      <a:pt x="190" y="121"/>
                    </a:lnTo>
                    <a:lnTo>
                      <a:pt x="192" y="117"/>
                    </a:lnTo>
                    <a:lnTo>
                      <a:pt x="194" y="111"/>
                    </a:lnTo>
                    <a:lnTo>
                      <a:pt x="194" y="105"/>
                    </a:lnTo>
                    <a:lnTo>
                      <a:pt x="194" y="99"/>
                    </a:lnTo>
                    <a:lnTo>
                      <a:pt x="194" y="96"/>
                    </a:lnTo>
                    <a:lnTo>
                      <a:pt x="196" y="94"/>
                    </a:lnTo>
                    <a:lnTo>
                      <a:pt x="198" y="92"/>
                    </a:lnTo>
                    <a:lnTo>
                      <a:pt x="198" y="88"/>
                    </a:lnTo>
                    <a:lnTo>
                      <a:pt x="202" y="84"/>
                    </a:lnTo>
                    <a:lnTo>
                      <a:pt x="205" y="84"/>
                    </a:lnTo>
                    <a:lnTo>
                      <a:pt x="213" y="84"/>
                    </a:lnTo>
                    <a:lnTo>
                      <a:pt x="217" y="78"/>
                    </a:lnTo>
                    <a:lnTo>
                      <a:pt x="217" y="7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7" name="Freeform 45"/>
              <p:cNvSpPr>
                <a:spLocks/>
              </p:cNvSpPr>
              <p:nvPr/>
            </p:nvSpPr>
            <p:spPr bwMode="gray">
              <a:xfrm>
                <a:off x="5895722" y="4222751"/>
                <a:ext cx="46032" cy="95250"/>
              </a:xfrm>
              <a:custGeom>
                <a:avLst/>
                <a:gdLst>
                  <a:gd name="T0" fmla="*/ 6 w 29"/>
                  <a:gd name="T1" fmla="*/ 0 h 60"/>
                  <a:gd name="T2" fmla="*/ 6 w 29"/>
                  <a:gd name="T3" fmla="*/ 2 h 60"/>
                  <a:gd name="T4" fmla="*/ 4 w 29"/>
                  <a:gd name="T5" fmla="*/ 4 h 60"/>
                  <a:gd name="T6" fmla="*/ 4 w 29"/>
                  <a:gd name="T7" fmla="*/ 4 h 60"/>
                  <a:gd name="T8" fmla="*/ 4 w 29"/>
                  <a:gd name="T9" fmla="*/ 8 h 60"/>
                  <a:gd name="T10" fmla="*/ 6 w 29"/>
                  <a:gd name="T11" fmla="*/ 8 h 60"/>
                  <a:gd name="T12" fmla="*/ 6 w 29"/>
                  <a:gd name="T13" fmla="*/ 12 h 60"/>
                  <a:gd name="T14" fmla="*/ 2 w 29"/>
                  <a:gd name="T15" fmla="*/ 20 h 60"/>
                  <a:gd name="T16" fmla="*/ 0 w 29"/>
                  <a:gd name="T17" fmla="*/ 27 h 60"/>
                  <a:gd name="T18" fmla="*/ 2 w 29"/>
                  <a:gd name="T19" fmla="*/ 35 h 60"/>
                  <a:gd name="T20" fmla="*/ 4 w 29"/>
                  <a:gd name="T21" fmla="*/ 43 h 60"/>
                  <a:gd name="T22" fmla="*/ 6 w 29"/>
                  <a:gd name="T23" fmla="*/ 52 h 60"/>
                  <a:gd name="T24" fmla="*/ 7 w 29"/>
                  <a:gd name="T25" fmla="*/ 58 h 60"/>
                  <a:gd name="T26" fmla="*/ 9 w 29"/>
                  <a:gd name="T27" fmla="*/ 60 h 60"/>
                  <a:gd name="T28" fmla="*/ 11 w 29"/>
                  <a:gd name="T29" fmla="*/ 60 h 60"/>
                  <a:gd name="T30" fmla="*/ 15 w 29"/>
                  <a:gd name="T31" fmla="*/ 58 h 60"/>
                  <a:gd name="T32" fmla="*/ 19 w 29"/>
                  <a:gd name="T33" fmla="*/ 56 h 60"/>
                  <a:gd name="T34" fmla="*/ 23 w 29"/>
                  <a:gd name="T35" fmla="*/ 54 h 60"/>
                  <a:gd name="T36" fmla="*/ 27 w 29"/>
                  <a:gd name="T37" fmla="*/ 52 h 60"/>
                  <a:gd name="T38" fmla="*/ 29 w 29"/>
                  <a:gd name="T39" fmla="*/ 46 h 60"/>
                  <a:gd name="T40" fmla="*/ 29 w 29"/>
                  <a:gd name="T41" fmla="*/ 43 h 60"/>
                  <a:gd name="T42" fmla="*/ 29 w 29"/>
                  <a:gd name="T43" fmla="*/ 37 h 60"/>
                  <a:gd name="T44" fmla="*/ 27 w 29"/>
                  <a:gd name="T45" fmla="*/ 31 h 60"/>
                  <a:gd name="T46" fmla="*/ 13 w 29"/>
                  <a:gd name="T47" fmla="*/ 12 h 60"/>
                  <a:gd name="T48" fmla="*/ 6 w 29"/>
                  <a:gd name="T4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9" h="60">
                    <a:moveTo>
                      <a:pt x="6" y="0"/>
                    </a:moveTo>
                    <a:lnTo>
                      <a:pt x="6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12"/>
                    </a:lnTo>
                    <a:lnTo>
                      <a:pt x="2" y="20"/>
                    </a:lnTo>
                    <a:lnTo>
                      <a:pt x="0" y="27"/>
                    </a:lnTo>
                    <a:lnTo>
                      <a:pt x="2" y="35"/>
                    </a:lnTo>
                    <a:lnTo>
                      <a:pt x="4" y="43"/>
                    </a:lnTo>
                    <a:lnTo>
                      <a:pt x="6" y="52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1" y="60"/>
                    </a:lnTo>
                    <a:lnTo>
                      <a:pt x="15" y="58"/>
                    </a:lnTo>
                    <a:lnTo>
                      <a:pt x="19" y="56"/>
                    </a:lnTo>
                    <a:lnTo>
                      <a:pt x="23" y="54"/>
                    </a:lnTo>
                    <a:lnTo>
                      <a:pt x="27" y="52"/>
                    </a:lnTo>
                    <a:lnTo>
                      <a:pt x="29" y="46"/>
                    </a:lnTo>
                    <a:lnTo>
                      <a:pt x="29" y="43"/>
                    </a:lnTo>
                    <a:lnTo>
                      <a:pt x="29" y="37"/>
                    </a:lnTo>
                    <a:lnTo>
                      <a:pt x="27" y="31"/>
                    </a:lnTo>
                    <a:lnTo>
                      <a:pt x="13" y="1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8" name="Freeform 46"/>
              <p:cNvSpPr>
                <a:spLocks noEditPoints="1"/>
              </p:cNvSpPr>
              <p:nvPr/>
            </p:nvSpPr>
            <p:spPr bwMode="gray">
              <a:xfrm>
                <a:off x="3997283" y="3330576"/>
                <a:ext cx="436514" cy="438150"/>
              </a:xfrm>
              <a:custGeom>
                <a:avLst/>
                <a:gdLst>
                  <a:gd name="T0" fmla="*/ 250 w 275"/>
                  <a:gd name="T1" fmla="*/ 75 h 276"/>
                  <a:gd name="T2" fmla="*/ 250 w 275"/>
                  <a:gd name="T3" fmla="*/ 77 h 276"/>
                  <a:gd name="T4" fmla="*/ 255 w 275"/>
                  <a:gd name="T5" fmla="*/ 71 h 276"/>
                  <a:gd name="T6" fmla="*/ 267 w 275"/>
                  <a:gd name="T7" fmla="*/ 67 h 276"/>
                  <a:gd name="T8" fmla="*/ 273 w 275"/>
                  <a:gd name="T9" fmla="*/ 69 h 276"/>
                  <a:gd name="T10" fmla="*/ 225 w 275"/>
                  <a:gd name="T11" fmla="*/ 79 h 276"/>
                  <a:gd name="T12" fmla="*/ 227 w 275"/>
                  <a:gd name="T13" fmla="*/ 81 h 276"/>
                  <a:gd name="T14" fmla="*/ 225 w 275"/>
                  <a:gd name="T15" fmla="*/ 79 h 276"/>
                  <a:gd name="T16" fmla="*/ 33 w 275"/>
                  <a:gd name="T17" fmla="*/ 271 h 276"/>
                  <a:gd name="T18" fmla="*/ 39 w 275"/>
                  <a:gd name="T19" fmla="*/ 263 h 276"/>
                  <a:gd name="T20" fmla="*/ 2 w 275"/>
                  <a:gd name="T21" fmla="*/ 267 h 276"/>
                  <a:gd name="T22" fmla="*/ 4 w 275"/>
                  <a:gd name="T23" fmla="*/ 271 h 276"/>
                  <a:gd name="T24" fmla="*/ 8 w 275"/>
                  <a:gd name="T25" fmla="*/ 265 h 276"/>
                  <a:gd name="T26" fmla="*/ 16 w 275"/>
                  <a:gd name="T27" fmla="*/ 271 h 276"/>
                  <a:gd name="T28" fmla="*/ 16 w 275"/>
                  <a:gd name="T29" fmla="*/ 275 h 276"/>
                  <a:gd name="T30" fmla="*/ 19 w 275"/>
                  <a:gd name="T31" fmla="*/ 273 h 276"/>
                  <a:gd name="T32" fmla="*/ 192 w 275"/>
                  <a:gd name="T33" fmla="*/ 8 h 276"/>
                  <a:gd name="T34" fmla="*/ 136 w 275"/>
                  <a:gd name="T35" fmla="*/ 4 h 276"/>
                  <a:gd name="T36" fmla="*/ 117 w 275"/>
                  <a:gd name="T37" fmla="*/ 0 h 276"/>
                  <a:gd name="T38" fmla="*/ 102 w 275"/>
                  <a:gd name="T39" fmla="*/ 8 h 276"/>
                  <a:gd name="T40" fmla="*/ 92 w 275"/>
                  <a:gd name="T41" fmla="*/ 14 h 276"/>
                  <a:gd name="T42" fmla="*/ 98 w 275"/>
                  <a:gd name="T43" fmla="*/ 27 h 276"/>
                  <a:gd name="T44" fmla="*/ 108 w 275"/>
                  <a:gd name="T45" fmla="*/ 31 h 276"/>
                  <a:gd name="T46" fmla="*/ 108 w 275"/>
                  <a:gd name="T47" fmla="*/ 33 h 276"/>
                  <a:gd name="T48" fmla="*/ 119 w 275"/>
                  <a:gd name="T49" fmla="*/ 33 h 276"/>
                  <a:gd name="T50" fmla="*/ 125 w 275"/>
                  <a:gd name="T51" fmla="*/ 35 h 276"/>
                  <a:gd name="T52" fmla="*/ 125 w 275"/>
                  <a:gd name="T53" fmla="*/ 40 h 276"/>
                  <a:gd name="T54" fmla="*/ 123 w 275"/>
                  <a:gd name="T55" fmla="*/ 52 h 276"/>
                  <a:gd name="T56" fmla="*/ 123 w 275"/>
                  <a:gd name="T57" fmla="*/ 62 h 276"/>
                  <a:gd name="T58" fmla="*/ 121 w 275"/>
                  <a:gd name="T59" fmla="*/ 73 h 276"/>
                  <a:gd name="T60" fmla="*/ 117 w 275"/>
                  <a:gd name="T61" fmla="*/ 81 h 276"/>
                  <a:gd name="T62" fmla="*/ 121 w 275"/>
                  <a:gd name="T63" fmla="*/ 90 h 276"/>
                  <a:gd name="T64" fmla="*/ 117 w 275"/>
                  <a:gd name="T65" fmla="*/ 102 h 276"/>
                  <a:gd name="T66" fmla="*/ 121 w 275"/>
                  <a:gd name="T67" fmla="*/ 111 h 276"/>
                  <a:gd name="T68" fmla="*/ 135 w 275"/>
                  <a:gd name="T69" fmla="*/ 131 h 276"/>
                  <a:gd name="T70" fmla="*/ 154 w 275"/>
                  <a:gd name="T71" fmla="*/ 123 h 276"/>
                  <a:gd name="T72" fmla="*/ 179 w 275"/>
                  <a:gd name="T73" fmla="*/ 121 h 276"/>
                  <a:gd name="T74" fmla="*/ 192 w 275"/>
                  <a:gd name="T75" fmla="*/ 108 h 276"/>
                  <a:gd name="T76" fmla="*/ 200 w 275"/>
                  <a:gd name="T77" fmla="*/ 96 h 276"/>
                  <a:gd name="T78" fmla="*/ 211 w 275"/>
                  <a:gd name="T79" fmla="*/ 85 h 276"/>
                  <a:gd name="T80" fmla="*/ 209 w 275"/>
                  <a:gd name="T81" fmla="*/ 69 h 276"/>
                  <a:gd name="T82" fmla="*/ 230 w 275"/>
                  <a:gd name="T83" fmla="*/ 44 h 276"/>
                  <a:gd name="T84" fmla="*/ 250 w 275"/>
                  <a:gd name="T85" fmla="*/ 29 h 276"/>
                  <a:gd name="T86" fmla="*/ 242 w 275"/>
                  <a:gd name="T87" fmla="*/ 25 h 276"/>
                  <a:gd name="T88" fmla="*/ 230 w 275"/>
                  <a:gd name="T89" fmla="*/ 27 h 276"/>
                  <a:gd name="T90" fmla="*/ 221 w 275"/>
                  <a:gd name="T91" fmla="*/ 21 h 276"/>
                  <a:gd name="T92" fmla="*/ 209 w 275"/>
                  <a:gd name="T93" fmla="*/ 19 h 276"/>
                  <a:gd name="T94" fmla="*/ 200 w 275"/>
                  <a:gd name="T95" fmla="*/ 15 h 276"/>
                  <a:gd name="T96" fmla="*/ 194 w 275"/>
                  <a:gd name="T97" fmla="*/ 10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75" h="276">
                    <a:moveTo>
                      <a:pt x="248" y="67"/>
                    </a:moveTo>
                    <a:lnTo>
                      <a:pt x="250" y="71"/>
                    </a:lnTo>
                    <a:lnTo>
                      <a:pt x="250" y="75"/>
                    </a:lnTo>
                    <a:lnTo>
                      <a:pt x="248" y="75"/>
                    </a:lnTo>
                    <a:lnTo>
                      <a:pt x="248" y="77"/>
                    </a:lnTo>
                    <a:lnTo>
                      <a:pt x="250" y="77"/>
                    </a:lnTo>
                    <a:lnTo>
                      <a:pt x="252" y="79"/>
                    </a:lnTo>
                    <a:lnTo>
                      <a:pt x="253" y="75"/>
                    </a:lnTo>
                    <a:lnTo>
                      <a:pt x="255" y="71"/>
                    </a:lnTo>
                    <a:lnTo>
                      <a:pt x="252" y="69"/>
                    </a:lnTo>
                    <a:lnTo>
                      <a:pt x="248" y="67"/>
                    </a:lnTo>
                    <a:close/>
                    <a:moveTo>
                      <a:pt x="267" y="67"/>
                    </a:moveTo>
                    <a:lnTo>
                      <a:pt x="271" y="71"/>
                    </a:lnTo>
                    <a:lnTo>
                      <a:pt x="275" y="71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67" y="67"/>
                    </a:lnTo>
                    <a:close/>
                    <a:moveTo>
                      <a:pt x="225" y="79"/>
                    </a:moveTo>
                    <a:lnTo>
                      <a:pt x="225" y="81"/>
                    </a:lnTo>
                    <a:lnTo>
                      <a:pt x="227" y="83"/>
                    </a:lnTo>
                    <a:lnTo>
                      <a:pt x="227" y="81"/>
                    </a:lnTo>
                    <a:lnTo>
                      <a:pt x="229" y="81"/>
                    </a:lnTo>
                    <a:lnTo>
                      <a:pt x="229" y="79"/>
                    </a:lnTo>
                    <a:lnTo>
                      <a:pt x="225" y="79"/>
                    </a:lnTo>
                    <a:close/>
                    <a:moveTo>
                      <a:pt x="37" y="263"/>
                    </a:moveTo>
                    <a:lnTo>
                      <a:pt x="35" y="269"/>
                    </a:lnTo>
                    <a:lnTo>
                      <a:pt x="33" y="271"/>
                    </a:lnTo>
                    <a:lnTo>
                      <a:pt x="35" y="269"/>
                    </a:lnTo>
                    <a:lnTo>
                      <a:pt x="39" y="267"/>
                    </a:lnTo>
                    <a:lnTo>
                      <a:pt x="39" y="263"/>
                    </a:lnTo>
                    <a:lnTo>
                      <a:pt x="37" y="263"/>
                    </a:lnTo>
                    <a:close/>
                    <a:moveTo>
                      <a:pt x="4" y="265"/>
                    </a:moveTo>
                    <a:lnTo>
                      <a:pt x="2" y="267"/>
                    </a:lnTo>
                    <a:lnTo>
                      <a:pt x="0" y="269"/>
                    </a:lnTo>
                    <a:lnTo>
                      <a:pt x="0" y="271"/>
                    </a:lnTo>
                    <a:lnTo>
                      <a:pt x="4" y="271"/>
                    </a:lnTo>
                    <a:lnTo>
                      <a:pt x="4" y="267"/>
                    </a:lnTo>
                    <a:lnTo>
                      <a:pt x="8" y="267"/>
                    </a:lnTo>
                    <a:lnTo>
                      <a:pt x="8" y="265"/>
                    </a:lnTo>
                    <a:lnTo>
                      <a:pt x="6" y="265"/>
                    </a:lnTo>
                    <a:lnTo>
                      <a:pt x="4" y="265"/>
                    </a:lnTo>
                    <a:close/>
                    <a:moveTo>
                      <a:pt x="16" y="271"/>
                    </a:moveTo>
                    <a:lnTo>
                      <a:pt x="14" y="273"/>
                    </a:lnTo>
                    <a:lnTo>
                      <a:pt x="14" y="273"/>
                    </a:lnTo>
                    <a:lnTo>
                      <a:pt x="16" y="275"/>
                    </a:lnTo>
                    <a:lnTo>
                      <a:pt x="17" y="276"/>
                    </a:lnTo>
                    <a:lnTo>
                      <a:pt x="17" y="275"/>
                    </a:lnTo>
                    <a:lnTo>
                      <a:pt x="19" y="273"/>
                    </a:lnTo>
                    <a:lnTo>
                      <a:pt x="19" y="271"/>
                    </a:lnTo>
                    <a:lnTo>
                      <a:pt x="16" y="271"/>
                    </a:lnTo>
                    <a:close/>
                    <a:moveTo>
                      <a:pt x="192" y="8"/>
                    </a:moveTo>
                    <a:lnTo>
                      <a:pt x="171" y="6"/>
                    </a:lnTo>
                    <a:lnTo>
                      <a:pt x="150" y="4"/>
                    </a:lnTo>
                    <a:lnTo>
                      <a:pt x="136" y="4"/>
                    </a:lnTo>
                    <a:lnTo>
                      <a:pt x="123" y="4"/>
                    </a:lnTo>
                    <a:lnTo>
                      <a:pt x="121" y="2"/>
                    </a:lnTo>
                    <a:lnTo>
                      <a:pt x="117" y="0"/>
                    </a:lnTo>
                    <a:lnTo>
                      <a:pt x="110" y="4"/>
                    </a:lnTo>
                    <a:lnTo>
                      <a:pt x="108" y="8"/>
                    </a:lnTo>
                    <a:lnTo>
                      <a:pt x="102" y="8"/>
                    </a:lnTo>
                    <a:lnTo>
                      <a:pt x="98" y="8"/>
                    </a:lnTo>
                    <a:lnTo>
                      <a:pt x="94" y="10"/>
                    </a:lnTo>
                    <a:lnTo>
                      <a:pt x="92" y="14"/>
                    </a:lnTo>
                    <a:lnTo>
                      <a:pt x="96" y="21"/>
                    </a:lnTo>
                    <a:lnTo>
                      <a:pt x="98" y="23"/>
                    </a:lnTo>
                    <a:lnTo>
                      <a:pt x="98" y="27"/>
                    </a:lnTo>
                    <a:lnTo>
                      <a:pt x="98" y="33"/>
                    </a:lnTo>
                    <a:lnTo>
                      <a:pt x="102" y="31"/>
                    </a:lnTo>
                    <a:lnTo>
                      <a:pt x="108" y="31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10" y="33"/>
                    </a:lnTo>
                    <a:lnTo>
                      <a:pt x="115" y="33"/>
                    </a:lnTo>
                    <a:lnTo>
                      <a:pt x="119" y="33"/>
                    </a:lnTo>
                    <a:lnTo>
                      <a:pt x="123" y="33"/>
                    </a:lnTo>
                    <a:lnTo>
                      <a:pt x="123" y="35"/>
                    </a:lnTo>
                    <a:lnTo>
                      <a:pt x="125" y="35"/>
                    </a:lnTo>
                    <a:lnTo>
                      <a:pt x="127" y="35"/>
                    </a:lnTo>
                    <a:lnTo>
                      <a:pt x="127" y="37"/>
                    </a:lnTo>
                    <a:lnTo>
                      <a:pt x="125" y="40"/>
                    </a:lnTo>
                    <a:lnTo>
                      <a:pt x="119" y="44"/>
                    </a:lnTo>
                    <a:lnTo>
                      <a:pt x="119" y="48"/>
                    </a:lnTo>
                    <a:lnTo>
                      <a:pt x="123" y="52"/>
                    </a:lnTo>
                    <a:lnTo>
                      <a:pt x="123" y="56"/>
                    </a:lnTo>
                    <a:lnTo>
                      <a:pt x="125" y="60"/>
                    </a:lnTo>
                    <a:lnTo>
                      <a:pt x="123" y="62"/>
                    </a:lnTo>
                    <a:lnTo>
                      <a:pt x="119" y="65"/>
                    </a:lnTo>
                    <a:lnTo>
                      <a:pt x="119" y="69"/>
                    </a:lnTo>
                    <a:lnTo>
                      <a:pt x="121" y="73"/>
                    </a:lnTo>
                    <a:lnTo>
                      <a:pt x="119" y="77"/>
                    </a:lnTo>
                    <a:lnTo>
                      <a:pt x="119" y="79"/>
                    </a:lnTo>
                    <a:lnTo>
                      <a:pt x="117" y="81"/>
                    </a:lnTo>
                    <a:lnTo>
                      <a:pt x="117" y="83"/>
                    </a:lnTo>
                    <a:lnTo>
                      <a:pt x="119" y="86"/>
                    </a:lnTo>
                    <a:lnTo>
                      <a:pt x="121" y="90"/>
                    </a:lnTo>
                    <a:lnTo>
                      <a:pt x="119" y="92"/>
                    </a:lnTo>
                    <a:lnTo>
                      <a:pt x="117" y="96"/>
                    </a:lnTo>
                    <a:lnTo>
                      <a:pt x="117" y="102"/>
                    </a:lnTo>
                    <a:lnTo>
                      <a:pt x="121" y="104"/>
                    </a:lnTo>
                    <a:lnTo>
                      <a:pt x="121" y="106"/>
                    </a:lnTo>
                    <a:lnTo>
                      <a:pt x="121" y="111"/>
                    </a:lnTo>
                    <a:lnTo>
                      <a:pt x="123" y="113"/>
                    </a:lnTo>
                    <a:lnTo>
                      <a:pt x="129" y="121"/>
                    </a:lnTo>
                    <a:lnTo>
                      <a:pt x="135" y="131"/>
                    </a:lnTo>
                    <a:lnTo>
                      <a:pt x="142" y="129"/>
                    </a:lnTo>
                    <a:lnTo>
                      <a:pt x="152" y="127"/>
                    </a:lnTo>
                    <a:lnTo>
                      <a:pt x="154" y="123"/>
                    </a:lnTo>
                    <a:lnTo>
                      <a:pt x="165" y="125"/>
                    </a:lnTo>
                    <a:lnTo>
                      <a:pt x="179" y="123"/>
                    </a:lnTo>
                    <a:lnTo>
                      <a:pt x="179" y="121"/>
                    </a:lnTo>
                    <a:lnTo>
                      <a:pt x="182" y="115"/>
                    </a:lnTo>
                    <a:lnTo>
                      <a:pt x="186" y="109"/>
                    </a:lnTo>
                    <a:lnTo>
                      <a:pt x="192" y="108"/>
                    </a:lnTo>
                    <a:lnTo>
                      <a:pt x="200" y="104"/>
                    </a:lnTo>
                    <a:lnTo>
                      <a:pt x="200" y="100"/>
                    </a:lnTo>
                    <a:lnTo>
                      <a:pt x="200" y="96"/>
                    </a:lnTo>
                    <a:lnTo>
                      <a:pt x="204" y="90"/>
                    </a:lnTo>
                    <a:lnTo>
                      <a:pt x="209" y="86"/>
                    </a:lnTo>
                    <a:lnTo>
                      <a:pt x="211" y="85"/>
                    </a:lnTo>
                    <a:lnTo>
                      <a:pt x="209" y="79"/>
                    </a:lnTo>
                    <a:lnTo>
                      <a:pt x="207" y="71"/>
                    </a:lnTo>
                    <a:lnTo>
                      <a:pt x="209" y="69"/>
                    </a:lnTo>
                    <a:lnTo>
                      <a:pt x="213" y="67"/>
                    </a:lnTo>
                    <a:lnTo>
                      <a:pt x="221" y="54"/>
                    </a:lnTo>
                    <a:lnTo>
                      <a:pt x="230" y="44"/>
                    </a:lnTo>
                    <a:lnTo>
                      <a:pt x="240" y="40"/>
                    </a:lnTo>
                    <a:lnTo>
                      <a:pt x="250" y="35"/>
                    </a:lnTo>
                    <a:lnTo>
                      <a:pt x="250" y="29"/>
                    </a:lnTo>
                    <a:lnTo>
                      <a:pt x="250" y="21"/>
                    </a:lnTo>
                    <a:lnTo>
                      <a:pt x="244" y="23"/>
                    </a:lnTo>
                    <a:lnTo>
                      <a:pt x="242" y="25"/>
                    </a:lnTo>
                    <a:lnTo>
                      <a:pt x="238" y="25"/>
                    </a:lnTo>
                    <a:lnTo>
                      <a:pt x="234" y="25"/>
                    </a:lnTo>
                    <a:lnTo>
                      <a:pt x="230" y="27"/>
                    </a:lnTo>
                    <a:lnTo>
                      <a:pt x="229" y="23"/>
                    </a:lnTo>
                    <a:lnTo>
                      <a:pt x="227" y="23"/>
                    </a:lnTo>
                    <a:lnTo>
                      <a:pt x="221" y="21"/>
                    </a:lnTo>
                    <a:lnTo>
                      <a:pt x="215" y="21"/>
                    </a:lnTo>
                    <a:lnTo>
                      <a:pt x="211" y="21"/>
                    </a:lnTo>
                    <a:lnTo>
                      <a:pt x="209" y="19"/>
                    </a:lnTo>
                    <a:lnTo>
                      <a:pt x="207" y="17"/>
                    </a:lnTo>
                    <a:lnTo>
                      <a:pt x="204" y="17"/>
                    </a:lnTo>
                    <a:lnTo>
                      <a:pt x="200" y="15"/>
                    </a:lnTo>
                    <a:lnTo>
                      <a:pt x="196" y="15"/>
                    </a:lnTo>
                    <a:lnTo>
                      <a:pt x="196" y="14"/>
                    </a:lnTo>
                    <a:lnTo>
                      <a:pt x="194" y="10"/>
                    </a:lnTo>
                    <a:lnTo>
                      <a:pt x="192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49" name="Freeform 47"/>
              <p:cNvSpPr>
                <a:spLocks noEditPoints="1"/>
              </p:cNvSpPr>
              <p:nvPr/>
            </p:nvSpPr>
            <p:spPr bwMode="gray">
              <a:xfrm>
                <a:off x="6821131" y="3486151"/>
                <a:ext cx="66668" cy="142875"/>
              </a:xfrm>
              <a:custGeom>
                <a:avLst/>
                <a:gdLst>
                  <a:gd name="T0" fmla="*/ 8 w 42"/>
                  <a:gd name="T1" fmla="*/ 10 h 90"/>
                  <a:gd name="T2" fmla="*/ 10 w 42"/>
                  <a:gd name="T3" fmla="*/ 15 h 90"/>
                  <a:gd name="T4" fmla="*/ 12 w 42"/>
                  <a:gd name="T5" fmla="*/ 19 h 90"/>
                  <a:gd name="T6" fmla="*/ 10 w 42"/>
                  <a:gd name="T7" fmla="*/ 21 h 90"/>
                  <a:gd name="T8" fmla="*/ 6 w 42"/>
                  <a:gd name="T9" fmla="*/ 25 h 90"/>
                  <a:gd name="T10" fmla="*/ 8 w 42"/>
                  <a:gd name="T11" fmla="*/ 27 h 90"/>
                  <a:gd name="T12" fmla="*/ 12 w 42"/>
                  <a:gd name="T13" fmla="*/ 31 h 90"/>
                  <a:gd name="T14" fmla="*/ 12 w 42"/>
                  <a:gd name="T15" fmla="*/ 33 h 90"/>
                  <a:gd name="T16" fmla="*/ 10 w 42"/>
                  <a:gd name="T17" fmla="*/ 35 h 90"/>
                  <a:gd name="T18" fmla="*/ 10 w 42"/>
                  <a:gd name="T19" fmla="*/ 36 h 90"/>
                  <a:gd name="T20" fmla="*/ 10 w 42"/>
                  <a:gd name="T21" fmla="*/ 40 h 90"/>
                  <a:gd name="T22" fmla="*/ 12 w 42"/>
                  <a:gd name="T23" fmla="*/ 42 h 90"/>
                  <a:gd name="T24" fmla="*/ 12 w 42"/>
                  <a:gd name="T25" fmla="*/ 48 h 90"/>
                  <a:gd name="T26" fmla="*/ 10 w 42"/>
                  <a:gd name="T27" fmla="*/ 50 h 90"/>
                  <a:gd name="T28" fmla="*/ 6 w 42"/>
                  <a:gd name="T29" fmla="*/ 50 h 90"/>
                  <a:gd name="T30" fmla="*/ 6 w 42"/>
                  <a:gd name="T31" fmla="*/ 61 h 90"/>
                  <a:gd name="T32" fmla="*/ 4 w 42"/>
                  <a:gd name="T33" fmla="*/ 71 h 90"/>
                  <a:gd name="T34" fmla="*/ 8 w 42"/>
                  <a:gd name="T35" fmla="*/ 71 h 90"/>
                  <a:gd name="T36" fmla="*/ 10 w 42"/>
                  <a:gd name="T37" fmla="*/ 73 h 90"/>
                  <a:gd name="T38" fmla="*/ 16 w 42"/>
                  <a:gd name="T39" fmla="*/ 67 h 90"/>
                  <a:gd name="T40" fmla="*/ 23 w 42"/>
                  <a:gd name="T41" fmla="*/ 61 h 90"/>
                  <a:gd name="T42" fmla="*/ 33 w 42"/>
                  <a:gd name="T43" fmla="*/ 58 h 90"/>
                  <a:gd name="T44" fmla="*/ 41 w 42"/>
                  <a:gd name="T45" fmla="*/ 54 h 90"/>
                  <a:gd name="T46" fmla="*/ 42 w 42"/>
                  <a:gd name="T47" fmla="*/ 38 h 90"/>
                  <a:gd name="T48" fmla="*/ 42 w 42"/>
                  <a:gd name="T49" fmla="*/ 23 h 90"/>
                  <a:gd name="T50" fmla="*/ 41 w 42"/>
                  <a:gd name="T51" fmla="*/ 21 h 90"/>
                  <a:gd name="T52" fmla="*/ 37 w 42"/>
                  <a:gd name="T53" fmla="*/ 17 h 90"/>
                  <a:gd name="T54" fmla="*/ 37 w 42"/>
                  <a:gd name="T55" fmla="*/ 13 h 90"/>
                  <a:gd name="T56" fmla="*/ 37 w 42"/>
                  <a:gd name="T57" fmla="*/ 11 h 90"/>
                  <a:gd name="T58" fmla="*/ 33 w 42"/>
                  <a:gd name="T59" fmla="*/ 11 h 90"/>
                  <a:gd name="T60" fmla="*/ 33 w 42"/>
                  <a:gd name="T61" fmla="*/ 8 h 90"/>
                  <a:gd name="T62" fmla="*/ 33 w 42"/>
                  <a:gd name="T63" fmla="*/ 4 h 90"/>
                  <a:gd name="T64" fmla="*/ 31 w 42"/>
                  <a:gd name="T65" fmla="*/ 4 h 90"/>
                  <a:gd name="T66" fmla="*/ 29 w 42"/>
                  <a:gd name="T67" fmla="*/ 2 h 90"/>
                  <a:gd name="T68" fmla="*/ 27 w 42"/>
                  <a:gd name="T69" fmla="*/ 4 h 90"/>
                  <a:gd name="T70" fmla="*/ 23 w 42"/>
                  <a:gd name="T71" fmla="*/ 4 h 90"/>
                  <a:gd name="T72" fmla="*/ 19 w 42"/>
                  <a:gd name="T73" fmla="*/ 2 h 90"/>
                  <a:gd name="T74" fmla="*/ 17 w 42"/>
                  <a:gd name="T75" fmla="*/ 0 h 90"/>
                  <a:gd name="T76" fmla="*/ 14 w 42"/>
                  <a:gd name="T77" fmla="*/ 2 h 90"/>
                  <a:gd name="T78" fmla="*/ 6 w 42"/>
                  <a:gd name="T79" fmla="*/ 10 h 90"/>
                  <a:gd name="T80" fmla="*/ 8 w 42"/>
                  <a:gd name="T81" fmla="*/ 10 h 90"/>
                  <a:gd name="T82" fmla="*/ 4 w 42"/>
                  <a:gd name="T83" fmla="*/ 84 h 90"/>
                  <a:gd name="T84" fmla="*/ 2 w 42"/>
                  <a:gd name="T85" fmla="*/ 86 h 90"/>
                  <a:gd name="T86" fmla="*/ 2 w 42"/>
                  <a:gd name="T87" fmla="*/ 88 h 90"/>
                  <a:gd name="T88" fmla="*/ 0 w 42"/>
                  <a:gd name="T89" fmla="*/ 90 h 90"/>
                  <a:gd name="T90" fmla="*/ 4 w 42"/>
                  <a:gd name="T91" fmla="*/ 90 h 90"/>
                  <a:gd name="T92" fmla="*/ 6 w 42"/>
                  <a:gd name="T93" fmla="*/ 88 h 90"/>
                  <a:gd name="T94" fmla="*/ 8 w 42"/>
                  <a:gd name="T95" fmla="*/ 86 h 90"/>
                  <a:gd name="T96" fmla="*/ 8 w 42"/>
                  <a:gd name="T97" fmla="*/ 84 h 90"/>
                  <a:gd name="T98" fmla="*/ 4 w 42"/>
                  <a:gd name="T99" fmla="*/ 8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" h="90">
                    <a:moveTo>
                      <a:pt x="8" y="10"/>
                    </a:moveTo>
                    <a:lnTo>
                      <a:pt x="10" y="15"/>
                    </a:lnTo>
                    <a:lnTo>
                      <a:pt x="12" y="19"/>
                    </a:lnTo>
                    <a:lnTo>
                      <a:pt x="10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12" y="31"/>
                    </a:lnTo>
                    <a:lnTo>
                      <a:pt x="12" y="33"/>
                    </a:lnTo>
                    <a:lnTo>
                      <a:pt x="10" y="35"/>
                    </a:lnTo>
                    <a:lnTo>
                      <a:pt x="10" y="36"/>
                    </a:lnTo>
                    <a:lnTo>
                      <a:pt x="10" y="40"/>
                    </a:lnTo>
                    <a:lnTo>
                      <a:pt x="12" y="42"/>
                    </a:lnTo>
                    <a:lnTo>
                      <a:pt x="12" y="48"/>
                    </a:lnTo>
                    <a:lnTo>
                      <a:pt x="10" y="50"/>
                    </a:lnTo>
                    <a:lnTo>
                      <a:pt x="6" y="50"/>
                    </a:lnTo>
                    <a:lnTo>
                      <a:pt x="6" y="61"/>
                    </a:lnTo>
                    <a:lnTo>
                      <a:pt x="4" y="71"/>
                    </a:lnTo>
                    <a:lnTo>
                      <a:pt x="8" y="71"/>
                    </a:lnTo>
                    <a:lnTo>
                      <a:pt x="10" y="73"/>
                    </a:lnTo>
                    <a:lnTo>
                      <a:pt x="16" y="67"/>
                    </a:lnTo>
                    <a:lnTo>
                      <a:pt x="23" y="61"/>
                    </a:lnTo>
                    <a:lnTo>
                      <a:pt x="33" y="58"/>
                    </a:lnTo>
                    <a:lnTo>
                      <a:pt x="41" y="54"/>
                    </a:lnTo>
                    <a:lnTo>
                      <a:pt x="42" y="38"/>
                    </a:lnTo>
                    <a:lnTo>
                      <a:pt x="42" y="23"/>
                    </a:lnTo>
                    <a:lnTo>
                      <a:pt x="41" y="21"/>
                    </a:lnTo>
                    <a:lnTo>
                      <a:pt x="37" y="17"/>
                    </a:lnTo>
                    <a:lnTo>
                      <a:pt x="37" y="13"/>
                    </a:lnTo>
                    <a:lnTo>
                      <a:pt x="37" y="11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33" y="4"/>
                    </a:lnTo>
                    <a:lnTo>
                      <a:pt x="31" y="4"/>
                    </a:lnTo>
                    <a:lnTo>
                      <a:pt x="29" y="2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4" y="2"/>
                    </a:lnTo>
                    <a:lnTo>
                      <a:pt x="6" y="10"/>
                    </a:lnTo>
                    <a:lnTo>
                      <a:pt x="8" y="10"/>
                    </a:lnTo>
                    <a:close/>
                    <a:moveTo>
                      <a:pt x="4" y="84"/>
                    </a:moveTo>
                    <a:lnTo>
                      <a:pt x="2" y="86"/>
                    </a:lnTo>
                    <a:lnTo>
                      <a:pt x="2" y="88"/>
                    </a:lnTo>
                    <a:lnTo>
                      <a:pt x="0" y="90"/>
                    </a:lnTo>
                    <a:lnTo>
                      <a:pt x="4" y="90"/>
                    </a:lnTo>
                    <a:lnTo>
                      <a:pt x="6" y="88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0" name="Freeform 48"/>
              <p:cNvSpPr>
                <a:spLocks noEditPoints="1"/>
              </p:cNvSpPr>
              <p:nvPr/>
            </p:nvSpPr>
            <p:spPr bwMode="gray">
              <a:xfrm>
                <a:off x="4649673" y="5006976"/>
                <a:ext cx="322227" cy="322263"/>
              </a:xfrm>
              <a:custGeom>
                <a:avLst/>
                <a:gdLst>
                  <a:gd name="T0" fmla="*/ 201 w 203"/>
                  <a:gd name="T1" fmla="*/ 96 h 203"/>
                  <a:gd name="T2" fmla="*/ 196 w 203"/>
                  <a:gd name="T3" fmla="*/ 99 h 203"/>
                  <a:gd name="T4" fmla="*/ 192 w 203"/>
                  <a:gd name="T5" fmla="*/ 111 h 203"/>
                  <a:gd name="T6" fmla="*/ 175 w 203"/>
                  <a:gd name="T7" fmla="*/ 136 h 203"/>
                  <a:gd name="T8" fmla="*/ 173 w 203"/>
                  <a:gd name="T9" fmla="*/ 142 h 203"/>
                  <a:gd name="T10" fmla="*/ 155 w 203"/>
                  <a:gd name="T11" fmla="*/ 159 h 203"/>
                  <a:gd name="T12" fmla="*/ 127 w 203"/>
                  <a:gd name="T13" fmla="*/ 186 h 203"/>
                  <a:gd name="T14" fmla="*/ 117 w 203"/>
                  <a:gd name="T15" fmla="*/ 190 h 203"/>
                  <a:gd name="T16" fmla="*/ 104 w 203"/>
                  <a:gd name="T17" fmla="*/ 191 h 203"/>
                  <a:gd name="T18" fmla="*/ 73 w 203"/>
                  <a:gd name="T19" fmla="*/ 191 h 203"/>
                  <a:gd name="T20" fmla="*/ 61 w 203"/>
                  <a:gd name="T21" fmla="*/ 197 h 203"/>
                  <a:gd name="T22" fmla="*/ 34 w 203"/>
                  <a:gd name="T23" fmla="*/ 203 h 203"/>
                  <a:gd name="T24" fmla="*/ 27 w 203"/>
                  <a:gd name="T25" fmla="*/ 199 h 203"/>
                  <a:gd name="T26" fmla="*/ 21 w 203"/>
                  <a:gd name="T27" fmla="*/ 197 h 203"/>
                  <a:gd name="T28" fmla="*/ 13 w 203"/>
                  <a:gd name="T29" fmla="*/ 174 h 203"/>
                  <a:gd name="T30" fmla="*/ 19 w 203"/>
                  <a:gd name="T31" fmla="*/ 149 h 203"/>
                  <a:gd name="T32" fmla="*/ 9 w 203"/>
                  <a:gd name="T33" fmla="*/ 134 h 203"/>
                  <a:gd name="T34" fmla="*/ 4 w 203"/>
                  <a:gd name="T35" fmla="*/ 111 h 203"/>
                  <a:gd name="T36" fmla="*/ 8 w 203"/>
                  <a:gd name="T37" fmla="*/ 99 h 203"/>
                  <a:gd name="T38" fmla="*/ 13 w 203"/>
                  <a:gd name="T39" fmla="*/ 99 h 203"/>
                  <a:gd name="T40" fmla="*/ 21 w 203"/>
                  <a:gd name="T41" fmla="*/ 107 h 203"/>
                  <a:gd name="T42" fmla="*/ 31 w 203"/>
                  <a:gd name="T43" fmla="*/ 105 h 203"/>
                  <a:gd name="T44" fmla="*/ 40 w 203"/>
                  <a:gd name="T45" fmla="*/ 99 h 203"/>
                  <a:gd name="T46" fmla="*/ 50 w 203"/>
                  <a:gd name="T47" fmla="*/ 59 h 203"/>
                  <a:gd name="T48" fmla="*/ 50 w 203"/>
                  <a:gd name="T49" fmla="*/ 73 h 203"/>
                  <a:gd name="T50" fmla="*/ 54 w 203"/>
                  <a:gd name="T51" fmla="*/ 76 h 203"/>
                  <a:gd name="T52" fmla="*/ 67 w 203"/>
                  <a:gd name="T53" fmla="*/ 73 h 203"/>
                  <a:gd name="T54" fmla="*/ 84 w 203"/>
                  <a:gd name="T55" fmla="*/ 59 h 203"/>
                  <a:gd name="T56" fmla="*/ 86 w 203"/>
                  <a:gd name="T57" fmla="*/ 55 h 203"/>
                  <a:gd name="T58" fmla="*/ 94 w 203"/>
                  <a:gd name="T59" fmla="*/ 55 h 203"/>
                  <a:gd name="T60" fmla="*/ 107 w 203"/>
                  <a:gd name="T61" fmla="*/ 55 h 203"/>
                  <a:gd name="T62" fmla="*/ 117 w 203"/>
                  <a:gd name="T63" fmla="*/ 57 h 203"/>
                  <a:gd name="T64" fmla="*/ 121 w 203"/>
                  <a:gd name="T65" fmla="*/ 36 h 203"/>
                  <a:gd name="T66" fmla="*/ 130 w 203"/>
                  <a:gd name="T67" fmla="*/ 23 h 203"/>
                  <a:gd name="T68" fmla="*/ 146 w 203"/>
                  <a:gd name="T69" fmla="*/ 11 h 203"/>
                  <a:gd name="T70" fmla="*/ 157 w 203"/>
                  <a:gd name="T71" fmla="*/ 5 h 203"/>
                  <a:gd name="T72" fmla="*/ 167 w 203"/>
                  <a:gd name="T73" fmla="*/ 2 h 203"/>
                  <a:gd name="T74" fmla="*/ 178 w 203"/>
                  <a:gd name="T75" fmla="*/ 0 h 203"/>
                  <a:gd name="T76" fmla="*/ 188 w 203"/>
                  <a:gd name="T77" fmla="*/ 3 h 203"/>
                  <a:gd name="T78" fmla="*/ 190 w 203"/>
                  <a:gd name="T79" fmla="*/ 17 h 203"/>
                  <a:gd name="T80" fmla="*/ 190 w 203"/>
                  <a:gd name="T81" fmla="*/ 38 h 203"/>
                  <a:gd name="T82" fmla="*/ 190 w 203"/>
                  <a:gd name="T83" fmla="*/ 51 h 203"/>
                  <a:gd name="T84" fmla="*/ 188 w 203"/>
                  <a:gd name="T85" fmla="*/ 57 h 203"/>
                  <a:gd name="T86" fmla="*/ 182 w 203"/>
                  <a:gd name="T87" fmla="*/ 57 h 203"/>
                  <a:gd name="T88" fmla="*/ 180 w 203"/>
                  <a:gd name="T89" fmla="*/ 67 h 203"/>
                  <a:gd name="T90" fmla="*/ 186 w 203"/>
                  <a:gd name="T91" fmla="*/ 74 h 203"/>
                  <a:gd name="T92" fmla="*/ 196 w 203"/>
                  <a:gd name="T93" fmla="*/ 71 h 203"/>
                  <a:gd name="T94" fmla="*/ 144 w 203"/>
                  <a:gd name="T95" fmla="*/ 130 h 203"/>
                  <a:gd name="T96" fmla="*/ 150 w 203"/>
                  <a:gd name="T97" fmla="*/ 126 h 203"/>
                  <a:gd name="T98" fmla="*/ 155 w 203"/>
                  <a:gd name="T99" fmla="*/ 120 h 203"/>
                  <a:gd name="T100" fmla="*/ 150 w 203"/>
                  <a:gd name="T101" fmla="*/ 113 h 203"/>
                  <a:gd name="T102" fmla="*/ 140 w 203"/>
                  <a:gd name="T103" fmla="*/ 117 h 203"/>
                  <a:gd name="T104" fmla="*/ 132 w 203"/>
                  <a:gd name="T105" fmla="*/ 120 h 203"/>
                  <a:gd name="T106" fmla="*/ 134 w 203"/>
                  <a:gd name="T107" fmla="*/ 128 h 203"/>
                  <a:gd name="T108" fmla="*/ 142 w 203"/>
                  <a:gd name="T109" fmla="*/ 132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03" h="203">
                    <a:moveTo>
                      <a:pt x="203" y="71"/>
                    </a:moveTo>
                    <a:lnTo>
                      <a:pt x="201" y="86"/>
                    </a:lnTo>
                    <a:lnTo>
                      <a:pt x="201" y="96"/>
                    </a:lnTo>
                    <a:lnTo>
                      <a:pt x="198" y="96"/>
                    </a:lnTo>
                    <a:lnTo>
                      <a:pt x="196" y="96"/>
                    </a:lnTo>
                    <a:lnTo>
                      <a:pt x="196" y="99"/>
                    </a:lnTo>
                    <a:lnTo>
                      <a:pt x="196" y="101"/>
                    </a:lnTo>
                    <a:lnTo>
                      <a:pt x="199" y="105"/>
                    </a:lnTo>
                    <a:lnTo>
                      <a:pt x="192" y="111"/>
                    </a:lnTo>
                    <a:lnTo>
                      <a:pt x="184" y="115"/>
                    </a:lnTo>
                    <a:lnTo>
                      <a:pt x="178" y="124"/>
                    </a:lnTo>
                    <a:lnTo>
                      <a:pt x="175" y="136"/>
                    </a:lnTo>
                    <a:lnTo>
                      <a:pt x="173" y="136"/>
                    </a:lnTo>
                    <a:lnTo>
                      <a:pt x="173" y="140"/>
                    </a:lnTo>
                    <a:lnTo>
                      <a:pt x="173" y="142"/>
                    </a:lnTo>
                    <a:lnTo>
                      <a:pt x="167" y="145"/>
                    </a:lnTo>
                    <a:lnTo>
                      <a:pt x="163" y="149"/>
                    </a:lnTo>
                    <a:lnTo>
                      <a:pt x="155" y="159"/>
                    </a:lnTo>
                    <a:lnTo>
                      <a:pt x="146" y="170"/>
                    </a:lnTo>
                    <a:lnTo>
                      <a:pt x="136" y="180"/>
                    </a:lnTo>
                    <a:lnTo>
                      <a:pt x="127" y="186"/>
                    </a:lnTo>
                    <a:lnTo>
                      <a:pt x="121" y="186"/>
                    </a:lnTo>
                    <a:lnTo>
                      <a:pt x="117" y="186"/>
                    </a:lnTo>
                    <a:lnTo>
                      <a:pt x="117" y="190"/>
                    </a:lnTo>
                    <a:lnTo>
                      <a:pt x="111" y="190"/>
                    </a:lnTo>
                    <a:lnTo>
                      <a:pt x="105" y="190"/>
                    </a:lnTo>
                    <a:lnTo>
                      <a:pt x="104" y="191"/>
                    </a:lnTo>
                    <a:lnTo>
                      <a:pt x="104" y="193"/>
                    </a:lnTo>
                    <a:lnTo>
                      <a:pt x="88" y="191"/>
                    </a:lnTo>
                    <a:lnTo>
                      <a:pt x="73" y="191"/>
                    </a:lnTo>
                    <a:lnTo>
                      <a:pt x="69" y="195"/>
                    </a:lnTo>
                    <a:lnTo>
                      <a:pt x="67" y="197"/>
                    </a:lnTo>
                    <a:lnTo>
                      <a:pt x="61" y="197"/>
                    </a:lnTo>
                    <a:lnTo>
                      <a:pt x="54" y="195"/>
                    </a:lnTo>
                    <a:lnTo>
                      <a:pt x="46" y="201"/>
                    </a:lnTo>
                    <a:lnTo>
                      <a:pt x="34" y="203"/>
                    </a:lnTo>
                    <a:lnTo>
                      <a:pt x="32" y="199"/>
                    </a:lnTo>
                    <a:lnTo>
                      <a:pt x="29" y="199"/>
                    </a:lnTo>
                    <a:lnTo>
                      <a:pt x="27" y="199"/>
                    </a:lnTo>
                    <a:lnTo>
                      <a:pt x="27" y="195"/>
                    </a:lnTo>
                    <a:lnTo>
                      <a:pt x="21" y="199"/>
                    </a:lnTo>
                    <a:lnTo>
                      <a:pt x="21" y="197"/>
                    </a:lnTo>
                    <a:lnTo>
                      <a:pt x="17" y="186"/>
                    </a:lnTo>
                    <a:lnTo>
                      <a:pt x="17" y="176"/>
                    </a:lnTo>
                    <a:lnTo>
                      <a:pt x="13" y="174"/>
                    </a:lnTo>
                    <a:lnTo>
                      <a:pt x="17" y="168"/>
                    </a:lnTo>
                    <a:lnTo>
                      <a:pt x="21" y="163"/>
                    </a:lnTo>
                    <a:lnTo>
                      <a:pt x="19" y="149"/>
                    </a:lnTo>
                    <a:lnTo>
                      <a:pt x="15" y="138"/>
                    </a:lnTo>
                    <a:lnTo>
                      <a:pt x="11" y="136"/>
                    </a:lnTo>
                    <a:lnTo>
                      <a:pt x="9" y="134"/>
                    </a:lnTo>
                    <a:lnTo>
                      <a:pt x="8" y="122"/>
                    </a:lnTo>
                    <a:lnTo>
                      <a:pt x="8" y="115"/>
                    </a:lnTo>
                    <a:lnTo>
                      <a:pt x="4" y="111"/>
                    </a:lnTo>
                    <a:lnTo>
                      <a:pt x="0" y="107"/>
                    </a:lnTo>
                    <a:lnTo>
                      <a:pt x="4" y="105"/>
                    </a:lnTo>
                    <a:lnTo>
                      <a:pt x="8" y="99"/>
                    </a:lnTo>
                    <a:lnTo>
                      <a:pt x="9" y="97"/>
                    </a:lnTo>
                    <a:lnTo>
                      <a:pt x="13" y="97"/>
                    </a:lnTo>
                    <a:lnTo>
                      <a:pt x="13" y="99"/>
                    </a:lnTo>
                    <a:lnTo>
                      <a:pt x="13" y="103"/>
                    </a:lnTo>
                    <a:lnTo>
                      <a:pt x="17" y="105"/>
                    </a:lnTo>
                    <a:lnTo>
                      <a:pt x="21" y="107"/>
                    </a:lnTo>
                    <a:lnTo>
                      <a:pt x="25" y="107"/>
                    </a:lnTo>
                    <a:lnTo>
                      <a:pt x="27" y="107"/>
                    </a:lnTo>
                    <a:lnTo>
                      <a:pt x="31" y="105"/>
                    </a:lnTo>
                    <a:lnTo>
                      <a:pt x="32" y="101"/>
                    </a:lnTo>
                    <a:lnTo>
                      <a:pt x="38" y="99"/>
                    </a:lnTo>
                    <a:lnTo>
                      <a:pt x="40" y="99"/>
                    </a:lnTo>
                    <a:lnTo>
                      <a:pt x="42" y="49"/>
                    </a:lnTo>
                    <a:lnTo>
                      <a:pt x="44" y="51"/>
                    </a:lnTo>
                    <a:lnTo>
                      <a:pt x="50" y="59"/>
                    </a:lnTo>
                    <a:lnTo>
                      <a:pt x="52" y="65"/>
                    </a:lnTo>
                    <a:lnTo>
                      <a:pt x="52" y="69"/>
                    </a:lnTo>
                    <a:lnTo>
                      <a:pt x="50" y="73"/>
                    </a:lnTo>
                    <a:lnTo>
                      <a:pt x="50" y="74"/>
                    </a:lnTo>
                    <a:lnTo>
                      <a:pt x="52" y="76"/>
                    </a:lnTo>
                    <a:lnTo>
                      <a:pt x="54" y="76"/>
                    </a:lnTo>
                    <a:lnTo>
                      <a:pt x="57" y="76"/>
                    </a:lnTo>
                    <a:lnTo>
                      <a:pt x="59" y="74"/>
                    </a:lnTo>
                    <a:lnTo>
                      <a:pt x="67" y="73"/>
                    </a:lnTo>
                    <a:lnTo>
                      <a:pt x="71" y="69"/>
                    </a:lnTo>
                    <a:lnTo>
                      <a:pt x="79" y="65"/>
                    </a:lnTo>
                    <a:lnTo>
                      <a:pt x="84" y="59"/>
                    </a:lnTo>
                    <a:lnTo>
                      <a:pt x="84" y="57"/>
                    </a:lnTo>
                    <a:lnTo>
                      <a:pt x="84" y="55"/>
                    </a:lnTo>
                    <a:lnTo>
                      <a:pt x="86" y="55"/>
                    </a:lnTo>
                    <a:lnTo>
                      <a:pt x="88" y="51"/>
                    </a:lnTo>
                    <a:lnTo>
                      <a:pt x="92" y="53"/>
                    </a:lnTo>
                    <a:lnTo>
                      <a:pt x="94" y="55"/>
                    </a:lnTo>
                    <a:lnTo>
                      <a:pt x="98" y="55"/>
                    </a:lnTo>
                    <a:lnTo>
                      <a:pt x="102" y="55"/>
                    </a:lnTo>
                    <a:lnTo>
                      <a:pt x="107" y="55"/>
                    </a:lnTo>
                    <a:lnTo>
                      <a:pt x="111" y="57"/>
                    </a:lnTo>
                    <a:lnTo>
                      <a:pt x="115" y="57"/>
                    </a:lnTo>
                    <a:lnTo>
                      <a:pt x="117" y="57"/>
                    </a:lnTo>
                    <a:lnTo>
                      <a:pt x="117" y="46"/>
                    </a:lnTo>
                    <a:lnTo>
                      <a:pt x="119" y="38"/>
                    </a:lnTo>
                    <a:lnTo>
                      <a:pt x="121" y="36"/>
                    </a:lnTo>
                    <a:lnTo>
                      <a:pt x="125" y="36"/>
                    </a:lnTo>
                    <a:lnTo>
                      <a:pt x="127" y="30"/>
                    </a:lnTo>
                    <a:lnTo>
                      <a:pt x="130" y="23"/>
                    </a:lnTo>
                    <a:lnTo>
                      <a:pt x="134" y="17"/>
                    </a:lnTo>
                    <a:lnTo>
                      <a:pt x="140" y="13"/>
                    </a:lnTo>
                    <a:lnTo>
                      <a:pt x="146" y="11"/>
                    </a:lnTo>
                    <a:lnTo>
                      <a:pt x="151" y="9"/>
                    </a:lnTo>
                    <a:lnTo>
                      <a:pt x="153" y="7"/>
                    </a:lnTo>
                    <a:lnTo>
                      <a:pt x="157" y="5"/>
                    </a:lnTo>
                    <a:lnTo>
                      <a:pt x="163" y="3"/>
                    </a:lnTo>
                    <a:lnTo>
                      <a:pt x="165" y="0"/>
                    </a:lnTo>
                    <a:lnTo>
                      <a:pt x="167" y="2"/>
                    </a:lnTo>
                    <a:lnTo>
                      <a:pt x="171" y="2"/>
                    </a:lnTo>
                    <a:lnTo>
                      <a:pt x="175" y="0"/>
                    </a:lnTo>
                    <a:lnTo>
                      <a:pt x="178" y="0"/>
                    </a:lnTo>
                    <a:lnTo>
                      <a:pt x="178" y="2"/>
                    </a:lnTo>
                    <a:lnTo>
                      <a:pt x="182" y="2"/>
                    </a:lnTo>
                    <a:lnTo>
                      <a:pt x="188" y="3"/>
                    </a:lnTo>
                    <a:lnTo>
                      <a:pt x="190" y="3"/>
                    </a:lnTo>
                    <a:lnTo>
                      <a:pt x="190" y="9"/>
                    </a:lnTo>
                    <a:lnTo>
                      <a:pt x="190" y="17"/>
                    </a:lnTo>
                    <a:lnTo>
                      <a:pt x="188" y="23"/>
                    </a:lnTo>
                    <a:lnTo>
                      <a:pt x="190" y="30"/>
                    </a:lnTo>
                    <a:lnTo>
                      <a:pt x="190" y="38"/>
                    </a:lnTo>
                    <a:lnTo>
                      <a:pt x="190" y="44"/>
                    </a:lnTo>
                    <a:lnTo>
                      <a:pt x="188" y="48"/>
                    </a:lnTo>
                    <a:lnTo>
                      <a:pt x="190" y="51"/>
                    </a:lnTo>
                    <a:lnTo>
                      <a:pt x="192" y="53"/>
                    </a:lnTo>
                    <a:lnTo>
                      <a:pt x="192" y="55"/>
                    </a:lnTo>
                    <a:lnTo>
                      <a:pt x="188" y="57"/>
                    </a:lnTo>
                    <a:lnTo>
                      <a:pt x="186" y="57"/>
                    </a:lnTo>
                    <a:lnTo>
                      <a:pt x="184" y="57"/>
                    </a:lnTo>
                    <a:lnTo>
                      <a:pt x="182" y="57"/>
                    </a:lnTo>
                    <a:lnTo>
                      <a:pt x="182" y="59"/>
                    </a:lnTo>
                    <a:lnTo>
                      <a:pt x="180" y="63"/>
                    </a:lnTo>
                    <a:lnTo>
                      <a:pt x="180" y="67"/>
                    </a:lnTo>
                    <a:lnTo>
                      <a:pt x="182" y="71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92" y="76"/>
                    </a:lnTo>
                    <a:lnTo>
                      <a:pt x="196" y="78"/>
                    </a:lnTo>
                    <a:lnTo>
                      <a:pt x="196" y="71"/>
                    </a:lnTo>
                    <a:lnTo>
                      <a:pt x="203" y="71"/>
                    </a:lnTo>
                    <a:close/>
                    <a:moveTo>
                      <a:pt x="144" y="130"/>
                    </a:moveTo>
                    <a:lnTo>
                      <a:pt x="144" y="130"/>
                    </a:lnTo>
                    <a:lnTo>
                      <a:pt x="146" y="128"/>
                    </a:lnTo>
                    <a:lnTo>
                      <a:pt x="148" y="126"/>
                    </a:lnTo>
                    <a:lnTo>
                      <a:pt x="150" y="126"/>
                    </a:lnTo>
                    <a:lnTo>
                      <a:pt x="153" y="124"/>
                    </a:lnTo>
                    <a:lnTo>
                      <a:pt x="155" y="124"/>
                    </a:lnTo>
                    <a:lnTo>
                      <a:pt x="155" y="120"/>
                    </a:lnTo>
                    <a:lnTo>
                      <a:pt x="153" y="119"/>
                    </a:lnTo>
                    <a:lnTo>
                      <a:pt x="151" y="117"/>
                    </a:lnTo>
                    <a:lnTo>
                      <a:pt x="150" y="113"/>
                    </a:lnTo>
                    <a:lnTo>
                      <a:pt x="148" y="111"/>
                    </a:lnTo>
                    <a:lnTo>
                      <a:pt x="144" y="113"/>
                    </a:lnTo>
                    <a:lnTo>
                      <a:pt x="140" y="117"/>
                    </a:lnTo>
                    <a:lnTo>
                      <a:pt x="136" y="119"/>
                    </a:lnTo>
                    <a:lnTo>
                      <a:pt x="134" y="119"/>
                    </a:lnTo>
                    <a:lnTo>
                      <a:pt x="132" y="120"/>
                    </a:lnTo>
                    <a:lnTo>
                      <a:pt x="132" y="122"/>
                    </a:lnTo>
                    <a:lnTo>
                      <a:pt x="134" y="124"/>
                    </a:lnTo>
                    <a:lnTo>
                      <a:pt x="134" y="128"/>
                    </a:lnTo>
                    <a:lnTo>
                      <a:pt x="136" y="132"/>
                    </a:lnTo>
                    <a:lnTo>
                      <a:pt x="138" y="132"/>
                    </a:lnTo>
                    <a:lnTo>
                      <a:pt x="142" y="132"/>
                    </a:lnTo>
                    <a:lnTo>
                      <a:pt x="144" y="13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1" name="Freeform 49"/>
              <p:cNvSpPr>
                <a:spLocks/>
              </p:cNvSpPr>
              <p:nvPr/>
            </p:nvSpPr>
            <p:spPr bwMode="gray">
              <a:xfrm>
                <a:off x="5149680" y="4152901"/>
                <a:ext cx="193653" cy="320675"/>
              </a:xfrm>
              <a:custGeom>
                <a:avLst/>
                <a:gdLst>
                  <a:gd name="T0" fmla="*/ 17 w 122"/>
                  <a:gd name="T1" fmla="*/ 23 h 202"/>
                  <a:gd name="T2" fmla="*/ 15 w 122"/>
                  <a:gd name="T3" fmla="*/ 31 h 202"/>
                  <a:gd name="T4" fmla="*/ 21 w 122"/>
                  <a:gd name="T5" fmla="*/ 39 h 202"/>
                  <a:gd name="T6" fmla="*/ 26 w 122"/>
                  <a:gd name="T7" fmla="*/ 46 h 202"/>
                  <a:gd name="T8" fmla="*/ 50 w 122"/>
                  <a:gd name="T9" fmla="*/ 58 h 202"/>
                  <a:gd name="T10" fmla="*/ 84 w 122"/>
                  <a:gd name="T11" fmla="*/ 64 h 202"/>
                  <a:gd name="T12" fmla="*/ 34 w 122"/>
                  <a:gd name="T13" fmla="*/ 115 h 202"/>
                  <a:gd name="T14" fmla="*/ 17 w 122"/>
                  <a:gd name="T15" fmla="*/ 119 h 202"/>
                  <a:gd name="T16" fmla="*/ 7 w 122"/>
                  <a:gd name="T17" fmla="*/ 138 h 202"/>
                  <a:gd name="T18" fmla="*/ 2 w 122"/>
                  <a:gd name="T19" fmla="*/ 194 h 202"/>
                  <a:gd name="T20" fmla="*/ 7 w 122"/>
                  <a:gd name="T21" fmla="*/ 200 h 202"/>
                  <a:gd name="T22" fmla="*/ 13 w 122"/>
                  <a:gd name="T23" fmla="*/ 196 h 202"/>
                  <a:gd name="T24" fmla="*/ 23 w 122"/>
                  <a:gd name="T25" fmla="*/ 179 h 202"/>
                  <a:gd name="T26" fmla="*/ 30 w 122"/>
                  <a:gd name="T27" fmla="*/ 177 h 202"/>
                  <a:gd name="T28" fmla="*/ 38 w 122"/>
                  <a:gd name="T29" fmla="*/ 167 h 202"/>
                  <a:gd name="T30" fmla="*/ 44 w 122"/>
                  <a:gd name="T31" fmla="*/ 167 h 202"/>
                  <a:gd name="T32" fmla="*/ 57 w 122"/>
                  <a:gd name="T33" fmla="*/ 154 h 202"/>
                  <a:gd name="T34" fmla="*/ 59 w 122"/>
                  <a:gd name="T35" fmla="*/ 146 h 202"/>
                  <a:gd name="T36" fmla="*/ 69 w 122"/>
                  <a:gd name="T37" fmla="*/ 142 h 202"/>
                  <a:gd name="T38" fmla="*/ 69 w 122"/>
                  <a:gd name="T39" fmla="*/ 135 h 202"/>
                  <a:gd name="T40" fmla="*/ 78 w 122"/>
                  <a:gd name="T41" fmla="*/ 129 h 202"/>
                  <a:gd name="T42" fmla="*/ 80 w 122"/>
                  <a:gd name="T43" fmla="*/ 119 h 202"/>
                  <a:gd name="T44" fmla="*/ 86 w 122"/>
                  <a:gd name="T45" fmla="*/ 113 h 202"/>
                  <a:gd name="T46" fmla="*/ 92 w 122"/>
                  <a:gd name="T47" fmla="*/ 92 h 202"/>
                  <a:gd name="T48" fmla="*/ 97 w 122"/>
                  <a:gd name="T49" fmla="*/ 81 h 202"/>
                  <a:gd name="T50" fmla="*/ 107 w 122"/>
                  <a:gd name="T51" fmla="*/ 58 h 202"/>
                  <a:gd name="T52" fmla="*/ 113 w 122"/>
                  <a:gd name="T53" fmla="*/ 46 h 202"/>
                  <a:gd name="T54" fmla="*/ 117 w 122"/>
                  <a:gd name="T55" fmla="*/ 41 h 202"/>
                  <a:gd name="T56" fmla="*/ 117 w 122"/>
                  <a:gd name="T57" fmla="*/ 29 h 202"/>
                  <a:gd name="T58" fmla="*/ 121 w 122"/>
                  <a:gd name="T59" fmla="*/ 16 h 202"/>
                  <a:gd name="T60" fmla="*/ 121 w 122"/>
                  <a:gd name="T61" fmla="*/ 0 h 202"/>
                  <a:gd name="T62" fmla="*/ 111 w 122"/>
                  <a:gd name="T63" fmla="*/ 4 h 202"/>
                  <a:gd name="T64" fmla="*/ 90 w 122"/>
                  <a:gd name="T65" fmla="*/ 10 h 202"/>
                  <a:gd name="T66" fmla="*/ 73 w 122"/>
                  <a:gd name="T67" fmla="*/ 16 h 202"/>
                  <a:gd name="T68" fmla="*/ 57 w 122"/>
                  <a:gd name="T69" fmla="*/ 18 h 202"/>
                  <a:gd name="T70" fmla="*/ 42 w 122"/>
                  <a:gd name="T71" fmla="*/ 19 h 202"/>
                  <a:gd name="T72" fmla="*/ 32 w 122"/>
                  <a:gd name="T73" fmla="*/ 18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2" h="202">
                    <a:moveTo>
                      <a:pt x="28" y="10"/>
                    </a:moveTo>
                    <a:lnTo>
                      <a:pt x="17" y="23"/>
                    </a:lnTo>
                    <a:lnTo>
                      <a:pt x="13" y="29"/>
                    </a:lnTo>
                    <a:lnTo>
                      <a:pt x="15" y="31"/>
                    </a:lnTo>
                    <a:lnTo>
                      <a:pt x="19" y="35"/>
                    </a:lnTo>
                    <a:lnTo>
                      <a:pt x="21" y="39"/>
                    </a:lnTo>
                    <a:lnTo>
                      <a:pt x="23" y="42"/>
                    </a:lnTo>
                    <a:lnTo>
                      <a:pt x="26" y="46"/>
                    </a:lnTo>
                    <a:lnTo>
                      <a:pt x="32" y="48"/>
                    </a:lnTo>
                    <a:lnTo>
                      <a:pt x="50" y="58"/>
                    </a:lnTo>
                    <a:lnTo>
                      <a:pt x="65" y="65"/>
                    </a:lnTo>
                    <a:lnTo>
                      <a:pt x="84" y="64"/>
                    </a:lnTo>
                    <a:lnTo>
                      <a:pt x="50" y="113"/>
                    </a:lnTo>
                    <a:lnTo>
                      <a:pt x="34" y="115"/>
                    </a:lnTo>
                    <a:lnTo>
                      <a:pt x="28" y="119"/>
                    </a:lnTo>
                    <a:lnTo>
                      <a:pt x="17" y="119"/>
                    </a:lnTo>
                    <a:lnTo>
                      <a:pt x="15" y="121"/>
                    </a:lnTo>
                    <a:lnTo>
                      <a:pt x="7" y="138"/>
                    </a:lnTo>
                    <a:lnTo>
                      <a:pt x="0" y="142"/>
                    </a:lnTo>
                    <a:lnTo>
                      <a:pt x="2" y="194"/>
                    </a:lnTo>
                    <a:lnTo>
                      <a:pt x="7" y="202"/>
                    </a:lnTo>
                    <a:lnTo>
                      <a:pt x="7" y="200"/>
                    </a:lnTo>
                    <a:lnTo>
                      <a:pt x="9" y="196"/>
                    </a:lnTo>
                    <a:lnTo>
                      <a:pt x="13" y="196"/>
                    </a:lnTo>
                    <a:lnTo>
                      <a:pt x="17" y="188"/>
                    </a:lnTo>
                    <a:lnTo>
                      <a:pt x="23" y="179"/>
                    </a:lnTo>
                    <a:lnTo>
                      <a:pt x="26" y="177"/>
                    </a:lnTo>
                    <a:lnTo>
                      <a:pt x="30" y="177"/>
                    </a:lnTo>
                    <a:lnTo>
                      <a:pt x="34" y="171"/>
                    </a:lnTo>
                    <a:lnTo>
                      <a:pt x="38" y="167"/>
                    </a:lnTo>
                    <a:lnTo>
                      <a:pt x="40" y="167"/>
                    </a:lnTo>
                    <a:lnTo>
                      <a:pt x="44" y="167"/>
                    </a:lnTo>
                    <a:lnTo>
                      <a:pt x="51" y="161"/>
                    </a:lnTo>
                    <a:lnTo>
                      <a:pt x="57" y="154"/>
                    </a:lnTo>
                    <a:lnTo>
                      <a:pt x="57" y="150"/>
                    </a:lnTo>
                    <a:lnTo>
                      <a:pt x="59" y="146"/>
                    </a:lnTo>
                    <a:lnTo>
                      <a:pt x="63" y="144"/>
                    </a:lnTo>
                    <a:lnTo>
                      <a:pt x="69" y="142"/>
                    </a:lnTo>
                    <a:lnTo>
                      <a:pt x="69" y="138"/>
                    </a:lnTo>
                    <a:lnTo>
                      <a:pt x="69" y="135"/>
                    </a:lnTo>
                    <a:lnTo>
                      <a:pt x="73" y="133"/>
                    </a:lnTo>
                    <a:lnTo>
                      <a:pt x="78" y="129"/>
                    </a:lnTo>
                    <a:lnTo>
                      <a:pt x="80" y="125"/>
                    </a:lnTo>
                    <a:lnTo>
                      <a:pt x="80" y="119"/>
                    </a:lnTo>
                    <a:lnTo>
                      <a:pt x="82" y="115"/>
                    </a:lnTo>
                    <a:lnTo>
                      <a:pt x="86" y="113"/>
                    </a:lnTo>
                    <a:lnTo>
                      <a:pt x="88" y="104"/>
                    </a:lnTo>
                    <a:lnTo>
                      <a:pt x="92" y="92"/>
                    </a:lnTo>
                    <a:lnTo>
                      <a:pt x="96" y="92"/>
                    </a:lnTo>
                    <a:lnTo>
                      <a:pt x="97" y="81"/>
                    </a:lnTo>
                    <a:lnTo>
                      <a:pt x="101" y="67"/>
                    </a:lnTo>
                    <a:lnTo>
                      <a:pt x="107" y="58"/>
                    </a:lnTo>
                    <a:lnTo>
                      <a:pt x="113" y="50"/>
                    </a:lnTo>
                    <a:lnTo>
                      <a:pt x="113" y="46"/>
                    </a:lnTo>
                    <a:lnTo>
                      <a:pt x="113" y="42"/>
                    </a:lnTo>
                    <a:lnTo>
                      <a:pt x="117" y="41"/>
                    </a:lnTo>
                    <a:lnTo>
                      <a:pt x="117" y="35"/>
                    </a:lnTo>
                    <a:lnTo>
                      <a:pt x="117" y="29"/>
                    </a:lnTo>
                    <a:lnTo>
                      <a:pt x="121" y="25"/>
                    </a:lnTo>
                    <a:lnTo>
                      <a:pt x="121" y="16"/>
                    </a:lnTo>
                    <a:lnTo>
                      <a:pt x="122" y="6"/>
                    </a:lnTo>
                    <a:lnTo>
                      <a:pt x="121" y="0"/>
                    </a:lnTo>
                    <a:lnTo>
                      <a:pt x="117" y="0"/>
                    </a:lnTo>
                    <a:lnTo>
                      <a:pt x="111" y="4"/>
                    </a:lnTo>
                    <a:lnTo>
                      <a:pt x="105" y="8"/>
                    </a:lnTo>
                    <a:lnTo>
                      <a:pt x="90" y="10"/>
                    </a:lnTo>
                    <a:lnTo>
                      <a:pt x="76" y="12"/>
                    </a:lnTo>
                    <a:lnTo>
                      <a:pt x="73" y="16"/>
                    </a:lnTo>
                    <a:lnTo>
                      <a:pt x="67" y="19"/>
                    </a:lnTo>
                    <a:lnTo>
                      <a:pt x="57" y="18"/>
                    </a:lnTo>
                    <a:lnTo>
                      <a:pt x="46" y="18"/>
                    </a:lnTo>
                    <a:lnTo>
                      <a:pt x="42" y="19"/>
                    </a:lnTo>
                    <a:lnTo>
                      <a:pt x="38" y="21"/>
                    </a:lnTo>
                    <a:lnTo>
                      <a:pt x="32" y="18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2" name="Freeform 50"/>
              <p:cNvSpPr>
                <a:spLocks noEditPoints="1"/>
              </p:cNvSpPr>
              <p:nvPr/>
            </p:nvSpPr>
            <p:spPr bwMode="gray">
              <a:xfrm>
                <a:off x="7410028" y="4632326"/>
                <a:ext cx="112700" cy="100013"/>
              </a:xfrm>
              <a:custGeom>
                <a:avLst/>
                <a:gdLst>
                  <a:gd name="T0" fmla="*/ 61 w 71"/>
                  <a:gd name="T1" fmla="*/ 57 h 63"/>
                  <a:gd name="T2" fmla="*/ 65 w 71"/>
                  <a:gd name="T3" fmla="*/ 61 h 63"/>
                  <a:gd name="T4" fmla="*/ 69 w 71"/>
                  <a:gd name="T5" fmla="*/ 63 h 63"/>
                  <a:gd name="T6" fmla="*/ 71 w 71"/>
                  <a:gd name="T7" fmla="*/ 63 h 63"/>
                  <a:gd name="T8" fmla="*/ 71 w 71"/>
                  <a:gd name="T9" fmla="*/ 61 h 63"/>
                  <a:gd name="T10" fmla="*/ 69 w 71"/>
                  <a:gd name="T11" fmla="*/ 59 h 63"/>
                  <a:gd name="T12" fmla="*/ 67 w 71"/>
                  <a:gd name="T13" fmla="*/ 57 h 63"/>
                  <a:gd name="T14" fmla="*/ 65 w 71"/>
                  <a:gd name="T15" fmla="*/ 57 h 63"/>
                  <a:gd name="T16" fmla="*/ 61 w 71"/>
                  <a:gd name="T17" fmla="*/ 57 h 63"/>
                  <a:gd name="T18" fmla="*/ 38 w 71"/>
                  <a:gd name="T19" fmla="*/ 42 h 63"/>
                  <a:gd name="T20" fmla="*/ 40 w 71"/>
                  <a:gd name="T21" fmla="*/ 46 h 63"/>
                  <a:gd name="T22" fmla="*/ 44 w 71"/>
                  <a:gd name="T23" fmla="*/ 49 h 63"/>
                  <a:gd name="T24" fmla="*/ 50 w 71"/>
                  <a:gd name="T25" fmla="*/ 49 h 63"/>
                  <a:gd name="T26" fmla="*/ 53 w 71"/>
                  <a:gd name="T27" fmla="*/ 48 h 63"/>
                  <a:gd name="T28" fmla="*/ 51 w 71"/>
                  <a:gd name="T29" fmla="*/ 44 h 63"/>
                  <a:gd name="T30" fmla="*/ 48 w 71"/>
                  <a:gd name="T31" fmla="*/ 42 h 63"/>
                  <a:gd name="T32" fmla="*/ 44 w 71"/>
                  <a:gd name="T33" fmla="*/ 42 h 63"/>
                  <a:gd name="T34" fmla="*/ 38 w 71"/>
                  <a:gd name="T35" fmla="*/ 42 h 63"/>
                  <a:gd name="T36" fmla="*/ 51 w 71"/>
                  <a:gd name="T37" fmla="*/ 28 h 63"/>
                  <a:gd name="T38" fmla="*/ 53 w 71"/>
                  <a:gd name="T39" fmla="*/ 34 h 63"/>
                  <a:gd name="T40" fmla="*/ 55 w 71"/>
                  <a:gd name="T41" fmla="*/ 40 h 63"/>
                  <a:gd name="T42" fmla="*/ 59 w 71"/>
                  <a:gd name="T43" fmla="*/ 42 h 63"/>
                  <a:gd name="T44" fmla="*/ 61 w 71"/>
                  <a:gd name="T45" fmla="*/ 44 h 63"/>
                  <a:gd name="T46" fmla="*/ 61 w 71"/>
                  <a:gd name="T47" fmla="*/ 42 h 63"/>
                  <a:gd name="T48" fmla="*/ 61 w 71"/>
                  <a:gd name="T49" fmla="*/ 38 h 63"/>
                  <a:gd name="T50" fmla="*/ 59 w 71"/>
                  <a:gd name="T51" fmla="*/ 34 h 63"/>
                  <a:gd name="T52" fmla="*/ 55 w 71"/>
                  <a:gd name="T53" fmla="*/ 28 h 63"/>
                  <a:gd name="T54" fmla="*/ 51 w 71"/>
                  <a:gd name="T55" fmla="*/ 28 h 63"/>
                  <a:gd name="T56" fmla="*/ 11 w 71"/>
                  <a:gd name="T57" fmla="*/ 19 h 63"/>
                  <a:gd name="T58" fmla="*/ 9 w 71"/>
                  <a:gd name="T59" fmla="*/ 24 h 63"/>
                  <a:gd name="T60" fmla="*/ 13 w 71"/>
                  <a:gd name="T61" fmla="*/ 26 h 63"/>
                  <a:gd name="T62" fmla="*/ 15 w 71"/>
                  <a:gd name="T63" fmla="*/ 28 h 63"/>
                  <a:gd name="T64" fmla="*/ 15 w 71"/>
                  <a:gd name="T65" fmla="*/ 28 h 63"/>
                  <a:gd name="T66" fmla="*/ 15 w 71"/>
                  <a:gd name="T67" fmla="*/ 24 h 63"/>
                  <a:gd name="T68" fmla="*/ 15 w 71"/>
                  <a:gd name="T69" fmla="*/ 23 h 63"/>
                  <a:gd name="T70" fmla="*/ 15 w 71"/>
                  <a:gd name="T71" fmla="*/ 19 h 63"/>
                  <a:gd name="T72" fmla="*/ 11 w 71"/>
                  <a:gd name="T73" fmla="*/ 19 h 63"/>
                  <a:gd name="T74" fmla="*/ 25 w 71"/>
                  <a:gd name="T75" fmla="*/ 13 h 63"/>
                  <a:gd name="T76" fmla="*/ 34 w 71"/>
                  <a:gd name="T77" fmla="*/ 24 h 63"/>
                  <a:gd name="T78" fmla="*/ 38 w 71"/>
                  <a:gd name="T79" fmla="*/ 24 h 63"/>
                  <a:gd name="T80" fmla="*/ 40 w 71"/>
                  <a:gd name="T81" fmla="*/ 24 h 63"/>
                  <a:gd name="T82" fmla="*/ 34 w 71"/>
                  <a:gd name="T83" fmla="*/ 15 h 63"/>
                  <a:gd name="T84" fmla="*/ 30 w 71"/>
                  <a:gd name="T85" fmla="*/ 15 h 63"/>
                  <a:gd name="T86" fmla="*/ 25 w 71"/>
                  <a:gd name="T87" fmla="*/ 13 h 63"/>
                  <a:gd name="T88" fmla="*/ 0 w 71"/>
                  <a:gd name="T89" fmla="*/ 0 h 63"/>
                  <a:gd name="T90" fmla="*/ 2 w 71"/>
                  <a:gd name="T91" fmla="*/ 3 h 63"/>
                  <a:gd name="T92" fmla="*/ 2 w 71"/>
                  <a:gd name="T93" fmla="*/ 7 h 63"/>
                  <a:gd name="T94" fmla="*/ 9 w 71"/>
                  <a:gd name="T95" fmla="*/ 11 h 63"/>
                  <a:gd name="T96" fmla="*/ 11 w 71"/>
                  <a:gd name="T97" fmla="*/ 9 h 63"/>
                  <a:gd name="T98" fmla="*/ 5 w 71"/>
                  <a:gd name="T99" fmla="*/ 5 h 63"/>
                  <a:gd name="T100" fmla="*/ 0 w 71"/>
                  <a:gd name="T10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1" h="63">
                    <a:moveTo>
                      <a:pt x="61" y="57"/>
                    </a:moveTo>
                    <a:lnTo>
                      <a:pt x="65" y="61"/>
                    </a:lnTo>
                    <a:lnTo>
                      <a:pt x="69" y="63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69" y="59"/>
                    </a:lnTo>
                    <a:lnTo>
                      <a:pt x="67" y="57"/>
                    </a:lnTo>
                    <a:lnTo>
                      <a:pt x="65" y="57"/>
                    </a:lnTo>
                    <a:lnTo>
                      <a:pt x="61" y="57"/>
                    </a:lnTo>
                    <a:close/>
                    <a:moveTo>
                      <a:pt x="38" y="42"/>
                    </a:moveTo>
                    <a:lnTo>
                      <a:pt x="40" y="46"/>
                    </a:lnTo>
                    <a:lnTo>
                      <a:pt x="44" y="49"/>
                    </a:lnTo>
                    <a:lnTo>
                      <a:pt x="50" y="49"/>
                    </a:lnTo>
                    <a:lnTo>
                      <a:pt x="53" y="48"/>
                    </a:lnTo>
                    <a:lnTo>
                      <a:pt x="51" y="44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38" y="42"/>
                    </a:lnTo>
                    <a:close/>
                    <a:moveTo>
                      <a:pt x="51" y="28"/>
                    </a:moveTo>
                    <a:lnTo>
                      <a:pt x="53" y="34"/>
                    </a:lnTo>
                    <a:lnTo>
                      <a:pt x="55" y="40"/>
                    </a:lnTo>
                    <a:lnTo>
                      <a:pt x="59" y="42"/>
                    </a:lnTo>
                    <a:lnTo>
                      <a:pt x="61" y="44"/>
                    </a:lnTo>
                    <a:lnTo>
                      <a:pt x="61" y="42"/>
                    </a:lnTo>
                    <a:lnTo>
                      <a:pt x="61" y="38"/>
                    </a:lnTo>
                    <a:lnTo>
                      <a:pt x="59" y="34"/>
                    </a:lnTo>
                    <a:lnTo>
                      <a:pt x="55" y="28"/>
                    </a:lnTo>
                    <a:lnTo>
                      <a:pt x="51" y="28"/>
                    </a:lnTo>
                    <a:close/>
                    <a:moveTo>
                      <a:pt x="11" y="19"/>
                    </a:moveTo>
                    <a:lnTo>
                      <a:pt x="9" y="24"/>
                    </a:lnTo>
                    <a:lnTo>
                      <a:pt x="13" y="26"/>
                    </a:lnTo>
                    <a:lnTo>
                      <a:pt x="15" y="28"/>
                    </a:lnTo>
                    <a:lnTo>
                      <a:pt x="15" y="28"/>
                    </a:lnTo>
                    <a:lnTo>
                      <a:pt x="15" y="24"/>
                    </a:lnTo>
                    <a:lnTo>
                      <a:pt x="15" y="23"/>
                    </a:lnTo>
                    <a:lnTo>
                      <a:pt x="15" y="19"/>
                    </a:lnTo>
                    <a:lnTo>
                      <a:pt x="11" y="19"/>
                    </a:lnTo>
                    <a:close/>
                    <a:moveTo>
                      <a:pt x="25" y="13"/>
                    </a:moveTo>
                    <a:lnTo>
                      <a:pt x="34" y="24"/>
                    </a:lnTo>
                    <a:lnTo>
                      <a:pt x="38" y="24"/>
                    </a:lnTo>
                    <a:lnTo>
                      <a:pt x="40" y="24"/>
                    </a:lnTo>
                    <a:lnTo>
                      <a:pt x="34" y="15"/>
                    </a:lnTo>
                    <a:lnTo>
                      <a:pt x="30" y="15"/>
                    </a:lnTo>
                    <a:lnTo>
                      <a:pt x="25" y="13"/>
                    </a:lnTo>
                    <a:close/>
                    <a:moveTo>
                      <a:pt x="0" y="0"/>
                    </a:moveTo>
                    <a:lnTo>
                      <a:pt x="2" y="3"/>
                    </a:lnTo>
                    <a:lnTo>
                      <a:pt x="2" y="7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3" name="Freeform 51"/>
              <p:cNvSpPr>
                <a:spLocks/>
              </p:cNvSpPr>
              <p:nvPr/>
            </p:nvSpPr>
            <p:spPr bwMode="gray">
              <a:xfrm>
                <a:off x="4587767" y="3230564"/>
                <a:ext cx="68255" cy="60325"/>
              </a:xfrm>
              <a:custGeom>
                <a:avLst/>
                <a:gdLst>
                  <a:gd name="T0" fmla="*/ 6 w 43"/>
                  <a:gd name="T1" fmla="*/ 32 h 38"/>
                  <a:gd name="T2" fmla="*/ 4 w 43"/>
                  <a:gd name="T3" fmla="*/ 36 h 38"/>
                  <a:gd name="T4" fmla="*/ 4 w 43"/>
                  <a:gd name="T5" fmla="*/ 38 h 38"/>
                  <a:gd name="T6" fmla="*/ 12 w 43"/>
                  <a:gd name="T7" fmla="*/ 38 h 38"/>
                  <a:gd name="T8" fmla="*/ 20 w 43"/>
                  <a:gd name="T9" fmla="*/ 34 h 38"/>
                  <a:gd name="T10" fmla="*/ 20 w 43"/>
                  <a:gd name="T11" fmla="*/ 30 h 38"/>
                  <a:gd name="T12" fmla="*/ 20 w 43"/>
                  <a:gd name="T13" fmla="*/ 27 h 38"/>
                  <a:gd name="T14" fmla="*/ 22 w 43"/>
                  <a:gd name="T15" fmla="*/ 27 h 38"/>
                  <a:gd name="T16" fmla="*/ 25 w 43"/>
                  <a:gd name="T17" fmla="*/ 30 h 38"/>
                  <a:gd name="T18" fmla="*/ 29 w 43"/>
                  <a:gd name="T19" fmla="*/ 25 h 38"/>
                  <a:gd name="T20" fmla="*/ 31 w 43"/>
                  <a:gd name="T21" fmla="*/ 19 h 38"/>
                  <a:gd name="T22" fmla="*/ 31 w 43"/>
                  <a:gd name="T23" fmla="*/ 15 h 38"/>
                  <a:gd name="T24" fmla="*/ 35 w 43"/>
                  <a:gd name="T25" fmla="*/ 15 h 38"/>
                  <a:gd name="T26" fmla="*/ 37 w 43"/>
                  <a:gd name="T27" fmla="*/ 15 h 38"/>
                  <a:gd name="T28" fmla="*/ 39 w 43"/>
                  <a:gd name="T29" fmla="*/ 13 h 38"/>
                  <a:gd name="T30" fmla="*/ 41 w 43"/>
                  <a:gd name="T31" fmla="*/ 9 h 38"/>
                  <a:gd name="T32" fmla="*/ 43 w 43"/>
                  <a:gd name="T33" fmla="*/ 9 h 38"/>
                  <a:gd name="T34" fmla="*/ 43 w 43"/>
                  <a:gd name="T35" fmla="*/ 7 h 38"/>
                  <a:gd name="T36" fmla="*/ 43 w 43"/>
                  <a:gd name="T37" fmla="*/ 4 h 38"/>
                  <a:gd name="T38" fmla="*/ 43 w 43"/>
                  <a:gd name="T39" fmla="*/ 2 h 38"/>
                  <a:gd name="T40" fmla="*/ 41 w 43"/>
                  <a:gd name="T41" fmla="*/ 0 h 38"/>
                  <a:gd name="T42" fmla="*/ 39 w 43"/>
                  <a:gd name="T43" fmla="*/ 0 h 38"/>
                  <a:gd name="T44" fmla="*/ 37 w 43"/>
                  <a:gd name="T45" fmla="*/ 2 h 38"/>
                  <a:gd name="T46" fmla="*/ 31 w 43"/>
                  <a:gd name="T47" fmla="*/ 2 h 38"/>
                  <a:gd name="T48" fmla="*/ 27 w 43"/>
                  <a:gd name="T49" fmla="*/ 2 h 38"/>
                  <a:gd name="T50" fmla="*/ 24 w 43"/>
                  <a:gd name="T51" fmla="*/ 2 h 38"/>
                  <a:gd name="T52" fmla="*/ 22 w 43"/>
                  <a:gd name="T53" fmla="*/ 4 h 38"/>
                  <a:gd name="T54" fmla="*/ 18 w 43"/>
                  <a:gd name="T55" fmla="*/ 7 h 38"/>
                  <a:gd name="T56" fmla="*/ 12 w 43"/>
                  <a:gd name="T57" fmla="*/ 7 h 38"/>
                  <a:gd name="T58" fmla="*/ 10 w 43"/>
                  <a:gd name="T59" fmla="*/ 6 h 38"/>
                  <a:gd name="T60" fmla="*/ 8 w 43"/>
                  <a:gd name="T61" fmla="*/ 6 h 38"/>
                  <a:gd name="T62" fmla="*/ 8 w 43"/>
                  <a:gd name="T63" fmla="*/ 7 h 38"/>
                  <a:gd name="T64" fmla="*/ 8 w 43"/>
                  <a:gd name="T65" fmla="*/ 9 h 38"/>
                  <a:gd name="T66" fmla="*/ 6 w 43"/>
                  <a:gd name="T67" fmla="*/ 11 h 38"/>
                  <a:gd name="T68" fmla="*/ 2 w 43"/>
                  <a:gd name="T69" fmla="*/ 11 h 38"/>
                  <a:gd name="T70" fmla="*/ 0 w 43"/>
                  <a:gd name="T71" fmla="*/ 15 h 38"/>
                  <a:gd name="T72" fmla="*/ 2 w 43"/>
                  <a:gd name="T73" fmla="*/ 19 h 38"/>
                  <a:gd name="T74" fmla="*/ 4 w 43"/>
                  <a:gd name="T75" fmla="*/ 19 h 38"/>
                  <a:gd name="T76" fmla="*/ 4 w 43"/>
                  <a:gd name="T77" fmla="*/ 21 h 38"/>
                  <a:gd name="T78" fmla="*/ 4 w 43"/>
                  <a:gd name="T79" fmla="*/ 21 h 38"/>
                  <a:gd name="T80" fmla="*/ 4 w 43"/>
                  <a:gd name="T81" fmla="*/ 23 h 38"/>
                  <a:gd name="T82" fmla="*/ 4 w 43"/>
                  <a:gd name="T83" fmla="*/ 29 h 38"/>
                  <a:gd name="T84" fmla="*/ 4 w 43"/>
                  <a:gd name="T85" fmla="*/ 32 h 38"/>
                  <a:gd name="T86" fmla="*/ 6 w 43"/>
                  <a:gd name="T87" fmla="*/ 3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3" h="38">
                    <a:moveTo>
                      <a:pt x="6" y="32"/>
                    </a:moveTo>
                    <a:lnTo>
                      <a:pt x="4" y="36"/>
                    </a:lnTo>
                    <a:lnTo>
                      <a:pt x="4" y="38"/>
                    </a:lnTo>
                    <a:lnTo>
                      <a:pt x="12" y="38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22" y="27"/>
                    </a:lnTo>
                    <a:lnTo>
                      <a:pt x="25" y="30"/>
                    </a:lnTo>
                    <a:lnTo>
                      <a:pt x="29" y="25"/>
                    </a:lnTo>
                    <a:lnTo>
                      <a:pt x="31" y="19"/>
                    </a:lnTo>
                    <a:lnTo>
                      <a:pt x="31" y="15"/>
                    </a:lnTo>
                    <a:lnTo>
                      <a:pt x="35" y="15"/>
                    </a:lnTo>
                    <a:lnTo>
                      <a:pt x="37" y="15"/>
                    </a:lnTo>
                    <a:lnTo>
                      <a:pt x="39" y="13"/>
                    </a:lnTo>
                    <a:lnTo>
                      <a:pt x="41" y="9"/>
                    </a:lnTo>
                    <a:lnTo>
                      <a:pt x="43" y="9"/>
                    </a:lnTo>
                    <a:lnTo>
                      <a:pt x="43" y="7"/>
                    </a:lnTo>
                    <a:lnTo>
                      <a:pt x="43" y="4"/>
                    </a:lnTo>
                    <a:lnTo>
                      <a:pt x="43" y="2"/>
                    </a:lnTo>
                    <a:lnTo>
                      <a:pt x="41" y="0"/>
                    </a:lnTo>
                    <a:lnTo>
                      <a:pt x="39" y="0"/>
                    </a:lnTo>
                    <a:lnTo>
                      <a:pt x="37" y="2"/>
                    </a:lnTo>
                    <a:lnTo>
                      <a:pt x="31" y="2"/>
                    </a:lnTo>
                    <a:lnTo>
                      <a:pt x="27" y="2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18" y="7"/>
                    </a:lnTo>
                    <a:lnTo>
                      <a:pt x="12" y="7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8" y="7"/>
                    </a:lnTo>
                    <a:lnTo>
                      <a:pt x="8" y="9"/>
                    </a:lnTo>
                    <a:lnTo>
                      <a:pt x="6" y="11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4" y="29"/>
                    </a:lnTo>
                    <a:lnTo>
                      <a:pt x="4" y="32"/>
                    </a:lnTo>
                    <a:lnTo>
                      <a:pt x="6" y="3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4" name="Freeform 52"/>
              <p:cNvSpPr>
                <a:spLocks/>
              </p:cNvSpPr>
              <p:nvPr/>
            </p:nvSpPr>
            <p:spPr bwMode="gray">
              <a:xfrm>
                <a:off x="4662371" y="3154364"/>
                <a:ext cx="139684" cy="57150"/>
              </a:xfrm>
              <a:custGeom>
                <a:avLst/>
                <a:gdLst>
                  <a:gd name="T0" fmla="*/ 88 w 88"/>
                  <a:gd name="T1" fmla="*/ 21 h 36"/>
                  <a:gd name="T2" fmla="*/ 84 w 88"/>
                  <a:gd name="T3" fmla="*/ 23 h 36"/>
                  <a:gd name="T4" fmla="*/ 82 w 88"/>
                  <a:gd name="T5" fmla="*/ 29 h 36"/>
                  <a:gd name="T6" fmla="*/ 80 w 88"/>
                  <a:gd name="T7" fmla="*/ 29 h 36"/>
                  <a:gd name="T8" fmla="*/ 76 w 88"/>
                  <a:gd name="T9" fmla="*/ 27 h 36"/>
                  <a:gd name="T10" fmla="*/ 72 w 88"/>
                  <a:gd name="T11" fmla="*/ 25 h 36"/>
                  <a:gd name="T12" fmla="*/ 67 w 88"/>
                  <a:gd name="T13" fmla="*/ 25 h 36"/>
                  <a:gd name="T14" fmla="*/ 61 w 88"/>
                  <a:gd name="T15" fmla="*/ 25 h 36"/>
                  <a:gd name="T16" fmla="*/ 55 w 88"/>
                  <a:gd name="T17" fmla="*/ 27 h 36"/>
                  <a:gd name="T18" fmla="*/ 51 w 88"/>
                  <a:gd name="T19" fmla="*/ 29 h 36"/>
                  <a:gd name="T20" fmla="*/ 51 w 88"/>
                  <a:gd name="T21" fmla="*/ 31 h 36"/>
                  <a:gd name="T22" fmla="*/ 49 w 88"/>
                  <a:gd name="T23" fmla="*/ 31 h 36"/>
                  <a:gd name="T24" fmla="*/ 46 w 88"/>
                  <a:gd name="T25" fmla="*/ 29 h 36"/>
                  <a:gd name="T26" fmla="*/ 42 w 88"/>
                  <a:gd name="T27" fmla="*/ 29 h 36"/>
                  <a:gd name="T28" fmla="*/ 36 w 88"/>
                  <a:gd name="T29" fmla="*/ 31 h 36"/>
                  <a:gd name="T30" fmla="*/ 30 w 88"/>
                  <a:gd name="T31" fmla="*/ 31 h 36"/>
                  <a:gd name="T32" fmla="*/ 28 w 88"/>
                  <a:gd name="T33" fmla="*/ 31 h 36"/>
                  <a:gd name="T34" fmla="*/ 30 w 88"/>
                  <a:gd name="T35" fmla="*/ 36 h 36"/>
                  <a:gd name="T36" fmla="*/ 30 w 88"/>
                  <a:gd name="T37" fmla="*/ 36 h 36"/>
                  <a:gd name="T38" fmla="*/ 24 w 88"/>
                  <a:gd name="T39" fmla="*/ 36 h 36"/>
                  <a:gd name="T40" fmla="*/ 17 w 88"/>
                  <a:gd name="T41" fmla="*/ 34 h 36"/>
                  <a:gd name="T42" fmla="*/ 13 w 88"/>
                  <a:gd name="T43" fmla="*/ 34 h 36"/>
                  <a:gd name="T44" fmla="*/ 7 w 88"/>
                  <a:gd name="T45" fmla="*/ 32 h 36"/>
                  <a:gd name="T46" fmla="*/ 3 w 88"/>
                  <a:gd name="T47" fmla="*/ 31 h 36"/>
                  <a:gd name="T48" fmla="*/ 1 w 88"/>
                  <a:gd name="T49" fmla="*/ 25 h 36"/>
                  <a:gd name="T50" fmla="*/ 0 w 88"/>
                  <a:gd name="T51" fmla="*/ 23 h 36"/>
                  <a:gd name="T52" fmla="*/ 0 w 88"/>
                  <a:gd name="T53" fmla="*/ 21 h 36"/>
                  <a:gd name="T54" fmla="*/ 0 w 88"/>
                  <a:gd name="T55" fmla="*/ 19 h 36"/>
                  <a:gd name="T56" fmla="*/ 1 w 88"/>
                  <a:gd name="T57" fmla="*/ 17 h 36"/>
                  <a:gd name="T58" fmla="*/ 3 w 88"/>
                  <a:gd name="T59" fmla="*/ 15 h 36"/>
                  <a:gd name="T60" fmla="*/ 7 w 88"/>
                  <a:gd name="T61" fmla="*/ 11 h 36"/>
                  <a:gd name="T62" fmla="*/ 9 w 88"/>
                  <a:gd name="T63" fmla="*/ 9 h 36"/>
                  <a:gd name="T64" fmla="*/ 9 w 88"/>
                  <a:gd name="T65" fmla="*/ 6 h 36"/>
                  <a:gd name="T66" fmla="*/ 15 w 88"/>
                  <a:gd name="T67" fmla="*/ 4 h 36"/>
                  <a:gd name="T68" fmla="*/ 17 w 88"/>
                  <a:gd name="T69" fmla="*/ 4 h 36"/>
                  <a:gd name="T70" fmla="*/ 17 w 88"/>
                  <a:gd name="T71" fmla="*/ 4 h 36"/>
                  <a:gd name="T72" fmla="*/ 23 w 88"/>
                  <a:gd name="T73" fmla="*/ 4 h 36"/>
                  <a:gd name="T74" fmla="*/ 26 w 88"/>
                  <a:gd name="T75" fmla="*/ 4 h 36"/>
                  <a:gd name="T76" fmla="*/ 28 w 88"/>
                  <a:gd name="T77" fmla="*/ 4 h 36"/>
                  <a:gd name="T78" fmla="*/ 32 w 88"/>
                  <a:gd name="T79" fmla="*/ 6 h 36"/>
                  <a:gd name="T80" fmla="*/ 36 w 88"/>
                  <a:gd name="T81" fmla="*/ 7 h 36"/>
                  <a:gd name="T82" fmla="*/ 40 w 88"/>
                  <a:gd name="T83" fmla="*/ 9 h 36"/>
                  <a:gd name="T84" fmla="*/ 42 w 88"/>
                  <a:gd name="T85" fmla="*/ 9 h 36"/>
                  <a:gd name="T86" fmla="*/ 44 w 88"/>
                  <a:gd name="T87" fmla="*/ 9 h 36"/>
                  <a:gd name="T88" fmla="*/ 46 w 88"/>
                  <a:gd name="T89" fmla="*/ 7 h 36"/>
                  <a:gd name="T90" fmla="*/ 48 w 88"/>
                  <a:gd name="T91" fmla="*/ 6 h 36"/>
                  <a:gd name="T92" fmla="*/ 53 w 88"/>
                  <a:gd name="T93" fmla="*/ 4 h 36"/>
                  <a:gd name="T94" fmla="*/ 59 w 88"/>
                  <a:gd name="T95" fmla="*/ 0 h 36"/>
                  <a:gd name="T96" fmla="*/ 65 w 88"/>
                  <a:gd name="T97" fmla="*/ 0 h 36"/>
                  <a:gd name="T98" fmla="*/ 69 w 88"/>
                  <a:gd name="T99" fmla="*/ 2 h 36"/>
                  <a:gd name="T100" fmla="*/ 72 w 88"/>
                  <a:gd name="T101" fmla="*/ 4 h 36"/>
                  <a:gd name="T102" fmla="*/ 76 w 88"/>
                  <a:gd name="T103" fmla="*/ 6 h 36"/>
                  <a:gd name="T104" fmla="*/ 80 w 88"/>
                  <a:gd name="T105" fmla="*/ 9 h 36"/>
                  <a:gd name="T106" fmla="*/ 82 w 88"/>
                  <a:gd name="T107" fmla="*/ 11 h 36"/>
                  <a:gd name="T108" fmla="*/ 82 w 88"/>
                  <a:gd name="T109" fmla="*/ 15 h 36"/>
                  <a:gd name="T110" fmla="*/ 86 w 88"/>
                  <a:gd name="T111" fmla="*/ 19 h 36"/>
                  <a:gd name="T112" fmla="*/ 88 w 88"/>
                  <a:gd name="T113" fmla="*/ 2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8" h="36">
                    <a:moveTo>
                      <a:pt x="88" y="21"/>
                    </a:moveTo>
                    <a:lnTo>
                      <a:pt x="84" y="23"/>
                    </a:lnTo>
                    <a:lnTo>
                      <a:pt x="82" y="29"/>
                    </a:lnTo>
                    <a:lnTo>
                      <a:pt x="80" y="29"/>
                    </a:lnTo>
                    <a:lnTo>
                      <a:pt x="76" y="27"/>
                    </a:lnTo>
                    <a:lnTo>
                      <a:pt x="72" y="25"/>
                    </a:lnTo>
                    <a:lnTo>
                      <a:pt x="67" y="25"/>
                    </a:lnTo>
                    <a:lnTo>
                      <a:pt x="61" y="25"/>
                    </a:lnTo>
                    <a:lnTo>
                      <a:pt x="55" y="27"/>
                    </a:lnTo>
                    <a:lnTo>
                      <a:pt x="51" y="29"/>
                    </a:lnTo>
                    <a:lnTo>
                      <a:pt x="51" y="31"/>
                    </a:lnTo>
                    <a:lnTo>
                      <a:pt x="49" y="31"/>
                    </a:lnTo>
                    <a:lnTo>
                      <a:pt x="46" y="29"/>
                    </a:lnTo>
                    <a:lnTo>
                      <a:pt x="42" y="29"/>
                    </a:lnTo>
                    <a:lnTo>
                      <a:pt x="36" y="31"/>
                    </a:lnTo>
                    <a:lnTo>
                      <a:pt x="30" y="31"/>
                    </a:lnTo>
                    <a:lnTo>
                      <a:pt x="28" y="31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4" y="36"/>
                    </a:lnTo>
                    <a:lnTo>
                      <a:pt x="17" y="34"/>
                    </a:lnTo>
                    <a:lnTo>
                      <a:pt x="13" y="34"/>
                    </a:lnTo>
                    <a:lnTo>
                      <a:pt x="7" y="32"/>
                    </a:lnTo>
                    <a:lnTo>
                      <a:pt x="3" y="31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1" y="17"/>
                    </a:lnTo>
                    <a:lnTo>
                      <a:pt x="3" y="15"/>
                    </a:lnTo>
                    <a:lnTo>
                      <a:pt x="7" y="11"/>
                    </a:lnTo>
                    <a:lnTo>
                      <a:pt x="9" y="9"/>
                    </a:lnTo>
                    <a:lnTo>
                      <a:pt x="9" y="6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23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6"/>
                    </a:lnTo>
                    <a:lnTo>
                      <a:pt x="36" y="7"/>
                    </a:lnTo>
                    <a:lnTo>
                      <a:pt x="40" y="9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6" y="7"/>
                    </a:lnTo>
                    <a:lnTo>
                      <a:pt x="48" y="6"/>
                    </a:lnTo>
                    <a:lnTo>
                      <a:pt x="53" y="4"/>
                    </a:lnTo>
                    <a:lnTo>
                      <a:pt x="59" y="0"/>
                    </a:lnTo>
                    <a:lnTo>
                      <a:pt x="65" y="0"/>
                    </a:lnTo>
                    <a:lnTo>
                      <a:pt x="69" y="2"/>
                    </a:lnTo>
                    <a:lnTo>
                      <a:pt x="72" y="4"/>
                    </a:lnTo>
                    <a:lnTo>
                      <a:pt x="76" y="6"/>
                    </a:lnTo>
                    <a:lnTo>
                      <a:pt x="80" y="9"/>
                    </a:lnTo>
                    <a:lnTo>
                      <a:pt x="82" y="11"/>
                    </a:lnTo>
                    <a:lnTo>
                      <a:pt x="82" y="15"/>
                    </a:lnTo>
                    <a:lnTo>
                      <a:pt x="86" y="19"/>
                    </a:lnTo>
                    <a:lnTo>
                      <a:pt x="88" y="2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5" name="Freeform 53"/>
              <p:cNvSpPr>
                <a:spLocks/>
              </p:cNvSpPr>
              <p:nvPr/>
            </p:nvSpPr>
            <p:spPr bwMode="gray">
              <a:xfrm>
                <a:off x="6367157" y="4411664"/>
                <a:ext cx="22223" cy="6350"/>
              </a:xfrm>
              <a:custGeom>
                <a:avLst/>
                <a:gdLst>
                  <a:gd name="T0" fmla="*/ 0 w 14"/>
                  <a:gd name="T1" fmla="*/ 4 h 4"/>
                  <a:gd name="T2" fmla="*/ 6 w 14"/>
                  <a:gd name="T3" fmla="*/ 0 h 4"/>
                  <a:gd name="T4" fmla="*/ 14 w 14"/>
                  <a:gd name="T5" fmla="*/ 2 h 4"/>
                  <a:gd name="T6" fmla="*/ 10 w 14"/>
                  <a:gd name="T7" fmla="*/ 2 h 4"/>
                  <a:gd name="T8" fmla="*/ 6 w 14"/>
                  <a:gd name="T9" fmla="*/ 4 h 4"/>
                  <a:gd name="T10" fmla="*/ 2 w 14"/>
                  <a:gd name="T11" fmla="*/ 4 h 4"/>
                  <a:gd name="T12" fmla="*/ 0 w 14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4">
                    <a:moveTo>
                      <a:pt x="0" y="4"/>
                    </a:moveTo>
                    <a:lnTo>
                      <a:pt x="6" y="0"/>
                    </a:lnTo>
                    <a:lnTo>
                      <a:pt x="14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6" name="Freeform 54"/>
              <p:cNvSpPr>
                <a:spLocks/>
              </p:cNvSpPr>
              <p:nvPr/>
            </p:nvSpPr>
            <p:spPr bwMode="gray">
              <a:xfrm>
                <a:off x="4059188" y="4202114"/>
                <a:ext cx="66668" cy="88900"/>
              </a:xfrm>
              <a:custGeom>
                <a:avLst/>
                <a:gdLst>
                  <a:gd name="T0" fmla="*/ 0 w 42"/>
                  <a:gd name="T1" fmla="*/ 21 h 56"/>
                  <a:gd name="T2" fmla="*/ 1 w 42"/>
                  <a:gd name="T3" fmla="*/ 27 h 56"/>
                  <a:gd name="T4" fmla="*/ 1 w 42"/>
                  <a:gd name="T5" fmla="*/ 33 h 56"/>
                  <a:gd name="T6" fmla="*/ 3 w 42"/>
                  <a:gd name="T7" fmla="*/ 38 h 56"/>
                  <a:gd name="T8" fmla="*/ 7 w 42"/>
                  <a:gd name="T9" fmla="*/ 42 h 56"/>
                  <a:gd name="T10" fmla="*/ 7 w 42"/>
                  <a:gd name="T11" fmla="*/ 44 h 56"/>
                  <a:gd name="T12" fmla="*/ 5 w 42"/>
                  <a:gd name="T13" fmla="*/ 46 h 56"/>
                  <a:gd name="T14" fmla="*/ 7 w 42"/>
                  <a:gd name="T15" fmla="*/ 46 h 56"/>
                  <a:gd name="T16" fmla="*/ 7 w 42"/>
                  <a:gd name="T17" fmla="*/ 44 h 56"/>
                  <a:gd name="T18" fmla="*/ 11 w 42"/>
                  <a:gd name="T19" fmla="*/ 50 h 56"/>
                  <a:gd name="T20" fmla="*/ 17 w 42"/>
                  <a:gd name="T21" fmla="*/ 56 h 56"/>
                  <a:gd name="T22" fmla="*/ 19 w 42"/>
                  <a:gd name="T23" fmla="*/ 56 h 56"/>
                  <a:gd name="T24" fmla="*/ 23 w 42"/>
                  <a:gd name="T25" fmla="*/ 56 h 56"/>
                  <a:gd name="T26" fmla="*/ 23 w 42"/>
                  <a:gd name="T27" fmla="*/ 56 h 56"/>
                  <a:gd name="T28" fmla="*/ 25 w 42"/>
                  <a:gd name="T29" fmla="*/ 52 h 56"/>
                  <a:gd name="T30" fmla="*/ 28 w 42"/>
                  <a:gd name="T31" fmla="*/ 46 h 56"/>
                  <a:gd name="T32" fmla="*/ 32 w 42"/>
                  <a:gd name="T33" fmla="*/ 40 h 56"/>
                  <a:gd name="T34" fmla="*/ 34 w 42"/>
                  <a:gd name="T35" fmla="*/ 36 h 56"/>
                  <a:gd name="T36" fmla="*/ 36 w 42"/>
                  <a:gd name="T37" fmla="*/ 34 h 56"/>
                  <a:gd name="T38" fmla="*/ 40 w 42"/>
                  <a:gd name="T39" fmla="*/ 33 h 56"/>
                  <a:gd name="T40" fmla="*/ 42 w 42"/>
                  <a:gd name="T41" fmla="*/ 29 h 56"/>
                  <a:gd name="T42" fmla="*/ 42 w 42"/>
                  <a:gd name="T43" fmla="*/ 27 h 56"/>
                  <a:gd name="T44" fmla="*/ 36 w 42"/>
                  <a:gd name="T45" fmla="*/ 29 h 56"/>
                  <a:gd name="T46" fmla="*/ 38 w 42"/>
                  <a:gd name="T47" fmla="*/ 25 h 56"/>
                  <a:gd name="T48" fmla="*/ 38 w 42"/>
                  <a:gd name="T49" fmla="*/ 21 h 56"/>
                  <a:gd name="T50" fmla="*/ 38 w 42"/>
                  <a:gd name="T51" fmla="*/ 17 h 56"/>
                  <a:gd name="T52" fmla="*/ 36 w 42"/>
                  <a:gd name="T53" fmla="*/ 15 h 56"/>
                  <a:gd name="T54" fmla="*/ 34 w 42"/>
                  <a:gd name="T55" fmla="*/ 11 h 56"/>
                  <a:gd name="T56" fmla="*/ 32 w 42"/>
                  <a:gd name="T57" fmla="*/ 10 h 56"/>
                  <a:gd name="T58" fmla="*/ 30 w 42"/>
                  <a:gd name="T59" fmla="*/ 4 h 56"/>
                  <a:gd name="T60" fmla="*/ 28 w 42"/>
                  <a:gd name="T61" fmla="*/ 2 h 56"/>
                  <a:gd name="T62" fmla="*/ 25 w 42"/>
                  <a:gd name="T63" fmla="*/ 2 h 56"/>
                  <a:gd name="T64" fmla="*/ 21 w 42"/>
                  <a:gd name="T65" fmla="*/ 2 h 56"/>
                  <a:gd name="T66" fmla="*/ 17 w 42"/>
                  <a:gd name="T67" fmla="*/ 0 h 56"/>
                  <a:gd name="T68" fmla="*/ 15 w 42"/>
                  <a:gd name="T69" fmla="*/ 0 h 56"/>
                  <a:gd name="T70" fmla="*/ 13 w 42"/>
                  <a:gd name="T71" fmla="*/ 0 h 56"/>
                  <a:gd name="T72" fmla="*/ 11 w 42"/>
                  <a:gd name="T73" fmla="*/ 4 h 56"/>
                  <a:gd name="T74" fmla="*/ 11 w 42"/>
                  <a:gd name="T75" fmla="*/ 10 h 56"/>
                  <a:gd name="T76" fmla="*/ 7 w 42"/>
                  <a:gd name="T77" fmla="*/ 13 h 56"/>
                  <a:gd name="T78" fmla="*/ 5 w 42"/>
                  <a:gd name="T79" fmla="*/ 15 h 56"/>
                  <a:gd name="T80" fmla="*/ 3 w 42"/>
                  <a:gd name="T81" fmla="*/ 17 h 56"/>
                  <a:gd name="T82" fmla="*/ 1 w 42"/>
                  <a:gd name="T83" fmla="*/ 19 h 56"/>
                  <a:gd name="T84" fmla="*/ 0 w 42"/>
                  <a:gd name="T85" fmla="*/ 2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6">
                    <a:moveTo>
                      <a:pt x="0" y="21"/>
                    </a:moveTo>
                    <a:lnTo>
                      <a:pt x="1" y="27"/>
                    </a:lnTo>
                    <a:lnTo>
                      <a:pt x="1" y="33"/>
                    </a:lnTo>
                    <a:lnTo>
                      <a:pt x="3" y="38"/>
                    </a:lnTo>
                    <a:lnTo>
                      <a:pt x="7" y="42"/>
                    </a:lnTo>
                    <a:lnTo>
                      <a:pt x="7" y="44"/>
                    </a:lnTo>
                    <a:lnTo>
                      <a:pt x="5" y="46"/>
                    </a:lnTo>
                    <a:lnTo>
                      <a:pt x="7" y="46"/>
                    </a:lnTo>
                    <a:lnTo>
                      <a:pt x="7" y="44"/>
                    </a:lnTo>
                    <a:lnTo>
                      <a:pt x="11" y="50"/>
                    </a:lnTo>
                    <a:lnTo>
                      <a:pt x="17" y="56"/>
                    </a:lnTo>
                    <a:lnTo>
                      <a:pt x="19" y="56"/>
                    </a:lnTo>
                    <a:lnTo>
                      <a:pt x="23" y="56"/>
                    </a:lnTo>
                    <a:lnTo>
                      <a:pt x="23" y="56"/>
                    </a:lnTo>
                    <a:lnTo>
                      <a:pt x="25" y="52"/>
                    </a:lnTo>
                    <a:lnTo>
                      <a:pt x="28" y="46"/>
                    </a:lnTo>
                    <a:lnTo>
                      <a:pt x="32" y="40"/>
                    </a:lnTo>
                    <a:lnTo>
                      <a:pt x="34" y="36"/>
                    </a:lnTo>
                    <a:lnTo>
                      <a:pt x="36" y="34"/>
                    </a:lnTo>
                    <a:lnTo>
                      <a:pt x="40" y="33"/>
                    </a:lnTo>
                    <a:lnTo>
                      <a:pt x="42" y="29"/>
                    </a:lnTo>
                    <a:lnTo>
                      <a:pt x="42" y="27"/>
                    </a:lnTo>
                    <a:lnTo>
                      <a:pt x="36" y="29"/>
                    </a:lnTo>
                    <a:lnTo>
                      <a:pt x="38" y="25"/>
                    </a:lnTo>
                    <a:lnTo>
                      <a:pt x="38" y="21"/>
                    </a:lnTo>
                    <a:lnTo>
                      <a:pt x="38" y="17"/>
                    </a:lnTo>
                    <a:lnTo>
                      <a:pt x="36" y="15"/>
                    </a:lnTo>
                    <a:lnTo>
                      <a:pt x="34" y="11"/>
                    </a:lnTo>
                    <a:lnTo>
                      <a:pt x="32" y="10"/>
                    </a:lnTo>
                    <a:lnTo>
                      <a:pt x="30" y="4"/>
                    </a:lnTo>
                    <a:lnTo>
                      <a:pt x="28" y="2"/>
                    </a:lnTo>
                    <a:lnTo>
                      <a:pt x="25" y="2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4"/>
                    </a:lnTo>
                    <a:lnTo>
                      <a:pt x="11" y="10"/>
                    </a:lnTo>
                    <a:lnTo>
                      <a:pt x="7" y="13"/>
                    </a:lnTo>
                    <a:lnTo>
                      <a:pt x="5" y="15"/>
                    </a:lnTo>
                    <a:lnTo>
                      <a:pt x="3" y="17"/>
                    </a:lnTo>
                    <a:lnTo>
                      <a:pt x="1" y="19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7" name="Freeform 55"/>
              <p:cNvSpPr>
                <a:spLocks/>
              </p:cNvSpPr>
              <p:nvPr/>
            </p:nvSpPr>
            <p:spPr bwMode="gray">
              <a:xfrm>
                <a:off x="3982997" y="4033839"/>
                <a:ext cx="115875" cy="115888"/>
              </a:xfrm>
              <a:custGeom>
                <a:avLst/>
                <a:gdLst>
                  <a:gd name="T0" fmla="*/ 19 w 73"/>
                  <a:gd name="T1" fmla="*/ 71 h 73"/>
                  <a:gd name="T2" fmla="*/ 32 w 73"/>
                  <a:gd name="T3" fmla="*/ 68 h 73"/>
                  <a:gd name="T4" fmla="*/ 48 w 73"/>
                  <a:gd name="T5" fmla="*/ 69 h 73"/>
                  <a:gd name="T6" fmla="*/ 57 w 73"/>
                  <a:gd name="T7" fmla="*/ 68 h 73"/>
                  <a:gd name="T8" fmla="*/ 67 w 73"/>
                  <a:gd name="T9" fmla="*/ 69 h 73"/>
                  <a:gd name="T10" fmla="*/ 71 w 73"/>
                  <a:gd name="T11" fmla="*/ 66 h 73"/>
                  <a:gd name="T12" fmla="*/ 69 w 73"/>
                  <a:gd name="T13" fmla="*/ 58 h 73"/>
                  <a:gd name="T14" fmla="*/ 65 w 73"/>
                  <a:gd name="T15" fmla="*/ 52 h 73"/>
                  <a:gd name="T16" fmla="*/ 67 w 73"/>
                  <a:gd name="T17" fmla="*/ 45 h 73"/>
                  <a:gd name="T18" fmla="*/ 65 w 73"/>
                  <a:gd name="T19" fmla="*/ 35 h 73"/>
                  <a:gd name="T20" fmla="*/ 65 w 73"/>
                  <a:gd name="T21" fmla="*/ 29 h 73"/>
                  <a:gd name="T22" fmla="*/ 59 w 73"/>
                  <a:gd name="T23" fmla="*/ 25 h 73"/>
                  <a:gd name="T24" fmla="*/ 55 w 73"/>
                  <a:gd name="T25" fmla="*/ 18 h 73"/>
                  <a:gd name="T26" fmla="*/ 49 w 73"/>
                  <a:gd name="T27" fmla="*/ 16 h 73"/>
                  <a:gd name="T28" fmla="*/ 48 w 73"/>
                  <a:gd name="T29" fmla="*/ 8 h 73"/>
                  <a:gd name="T30" fmla="*/ 42 w 73"/>
                  <a:gd name="T31" fmla="*/ 2 h 73"/>
                  <a:gd name="T32" fmla="*/ 32 w 73"/>
                  <a:gd name="T33" fmla="*/ 2 h 73"/>
                  <a:gd name="T34" fmla="*/ 25 w 73"/>
                  <a:gd name="T35" fmla="*/ 0 h 73"/>
                  <a:gd name="T36" fmla="*/ 17 w 73"/>
                  <a:gd name="T37" fmla="*/ 4 h 73"/>
                  <a:gd name="T38" fmla="*/ 13 w 73"/>
                  <a:gd name="T39" fmla="*/ 10 h 73"/>
                  <a:gd name="T40" fmla="*/ 9 w 73"/>
                  <a:gd name="T41" fmla="*/ 12 h 73"/>
                  <a:gd name="T42" fmla="*/ 7 w 73"/>
                  <a:gd name="T43" fmla="*/ 31 h 73"/>
                  <a:gd name="T44" fmla="*/ 0 w 73"/>
                  <a:gd name="T45" fmla="*/ 39 h 73"/>
                  <a:gd name="T46" fmla="*/ 5 w 73"/>
                  <a:gd name="T47" fmla="*/ 54 h 73"/>
                  <a:gd name="T48" fmla="*/ 15 w 73"/>
                  <a:gd name="T49" fmla="*/ 52 h 73"/>
                  <a:gd name="T50" fmla="*/ 21 w 73"/>
                  <a:gd name="T51" fmla="*/ 50 h 73"/>
                  <a:gd name="T52" fmla="*/ 25 w 73"/>
                  <a:gd name="T53" fmla="*/ 50 h 73"/>
                  <a:gd name="T54" fmla="*/ 36 w 73"/>
                  <a:gd name="T55" fmla="*/ 50 h 73"/>
                  <a:gd name="T56" fmla="*/ 44 w 73"/>
                  <a:gd name="T57" fmla="*/ 50 h 73"/>
                  <a:gd name="T58" fmla="*/ 49 w 73"/>
                  <a:gd name="T59" fmla="*/ 52 h 73"/>
                  <a:gd name="T60" fmla="*/ 48 w 73"/>
                  <a:gd name="T61" fmla="*/ 56 h 73"/>
                  <a:gd name="T62" fmla="*/ 44 w 73"/>
                  <a:gd name="T63" fmla="*/ 58 h 73"/>
                  <a:gd name="T64" fmla="*/ 25 w 73"/>
                  <a:gd name="T65" fmla="*/ 58 h 73"/>
                  <a:gd name="T66" fmla="*/ 19 w 73"/>
                  <a:gd name="T67" fmla="*/ 62 h 73"/>
                  <a:gd name="T68" fmla="*/ 7 w 73"/>
                  <a:gd name="T69" fmla="*/ 68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73">
                    <a:moveTo>
                      <a:pt x="9" y="73"/>
                    </a:moveTo>
                    <a:lnTo>
                      <a:pt x="19" y="71"/>
                    </a:lnTo>
                    <a:lnTo>
                      <a:pt x="25" y="68"/>
                    </a:lnTo>
                    <a:lnTo>
                      <a:pt x="32" y="68"/>
                    </a:lnTo>
                    <a:lnTo>
                      <a:pt x="44" y="68"/>
                    </a:lnTo>
                    <a:lnTo>
                      <a:pt x="48" y="69"/>
                    </a:lnTo>
                    <a:lnTo>
                      <a:pt x="53" y="69"/>
                    </a:lnTo>
                    <a:lnTo>
                      <a:pt x="57" y="68"/>
                    </a:lnTo>
                    <a:lnTo>
                      <a:pt x="59" y="69"/>
                    </a:lnTo>
                    <a:lnTo>
                      <a:pt x="67" y="69"/>
                    </a:lnTo>
                    <a:lnTo>
                      <a:pt x="73" y="69"/>
                    </a:lnTo>
                    <a:lnTo>
                      <a:pt x="71" y="66"/>
                    </a:lnTo>
                    <a:lnTo>
                      <a:pt x="71" y="60"/>
                    </a:lnTo>
                    <a:lnTo>
                      <a:pt x="69" y="58"/>
                    </a:lnTo>
                    <a:lnTo>
                      <a:pt x="67" y="54"/>
                    </a:lnTo>
                    <a:lnTo>
                      <a:pt x="65" y="52"/>
                    </a:lnTo>
                    <a:lnTo>
                      <a:pt x="65" y="50"/>
                    </a:lnTo>
                    <a:lnTo>
                      <a:pt x="67" y="45"/>
                    </a:lnTo>
                    <a:lnTo>
                      <a:pt x="67" y="39"/>
                    </a:lnTo>
                    <a:lnTo>
                      <a:pt x="65" y="35"/>
                    </a:lnTo>
                    <a:lnTo>
                      <a:pt x="67" y="31"/>
                    </a:lnTo>
                    <a:lnTo>
                      <a:pt x="65" y="29"/>
                    </a:lnTo>
                    <a:lnTo>
                      <a:pt x="63" y="27"/>
                    </a:lnTo>
                    <a:lnTo>
                      <a:pt x="59" y="25"/>
                    </a:lnTo>
                    <a:lnTo>
                      <a:pt x="55" y="23"/>
                    </a:lnTo>
                    <a:lnTo>
                      <a:pt x="55" y="18"/>
                    </a:lnTo>
                    <a:lnTo>
                      <a:pt x="53" y="16"/>
                    </a:lnTo>
                    <a:lnTo>
                      <a:pt x="49" y="16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44" y="4"/>
                    </a:lnTo>
                    <a:lnTo>
                      <a:pt x="42" y="2"/>
                    </a:lnTo>
                    <a:lnTo>
                      <a:pt x="36" y="0"/>
                    </a:lnTo>
                    <a:lnTo>
                      <a:pt x="32" y="2"/>
                    </a:lnTo>
                    <a:lnTo>
                      <a:pt x="28" y="2"/>
                    </a:lnTo>
                    <a:lnTo>
                      <a:pt x="25" y="0"/>
                    </a:lnTo>
                    <a:lnTo>
                      <a:pt x="21" y="2"/>
                    </a:lnTo>
                    <a:lnTo>
                      <a:pt x="17" y="4"/>
                    </a:lnTo>
                    <a:lnTo>
                      <a:pt x="13" y="6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9" y="12"/>
                    </a:lnTo>
                    <a:lnTo>
                      <a:pt x="9" y="22"/>
                    </a:lnTo>
                    <a:lnTo>
                      <a:pt x="7" y="31"/>
                    </a:lnTo>
                    <a:lnTo>
                      <a:pt x="3" y="35"/>
                    </a:lnTo>
                    <a:lnTo>
                      <a:pt x="0" y="39"/>
                    </a:lnTo>
                    <a:lnTo>
                      <a:pt x="1" y="46"/>
                    </a:lnTo>
                    <a:lnTo>
                      <a:pt x="5" y="54"/>
                    </a:lnTo>
                    <a:lnTo>
                      <a:pt x="9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21" y="50"/>
                    </a:lnTo>
                    <a:lnTo>
                      <a:pt x="23" y="50"/>
                    </a:lnTo>
                    <a:lnTo>
                      <a:pt x="25" y="50"/>
                    </a:lnTo>
                    <a:lnTo>
                      <a:pt x="30" y="52"/>
                    </a:lnTo>
                    <a:lnTo>
                      <a:pt x="36" y="50"/>
                    </a:lnTo>
                    <a:lnTo>
                      <a:pt x="40" y="50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9" y="52"/>
                    </a:lnTo>
                    <a:lnTo>
                      <a:pt x="49" y="56"/>
                    </a:lnTo>
                    <a:lnTo>
                      <a:pt x="48" y="56"/>
                    </a:lnTo>
                    <a:lnTo>
                      <a:pt x="46" y="58"/>
                    </a:lnTo>
                    <a:lnTo>
                      <a:pt x="44" y="58"/>
                    </a:lnTo>
                    <a:lnTo>
                      <a:pt x="34" y="58"/>
                    </a:lnTo>
                    <a:lnTo>
                      <a:pt x="25" y="58"/>
                    </a:lnTo>
                    <a:lnTo>
                      <a:pt x="21" y="60"/>
                    </a:lnTo>
                    <a:lnTo>
                      <a:pt x="19" y="62"/>
                    </a:lnTo>
                    <a:lnTo>
                      <a:pt x="7" y="64"/>
                    </a:lnTo>
                    <a:lnTo>
                      <a:pt x="7" y="68"/>
                    </a:lnTo>
                    <a:lnTo>
                      <a:pt x="9" y="7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8" name="Freeform 56"/>
              <p:cNvSpPr>
                <a:spLocks/>
              </p:cNvSpPr>
              <p:nvPr/>
            </p:nvSpPr>
            <p:spPr bwMode="gray">
              <a:xfrm>
                <a:off x="5014757" y="3656014"/>
                <a:ext cx="417466" cy="403225"/>
              </a:xfrm>
              <a:custGeom>
                <a:avLst/>
                <a:gdLst>
                  <a:gd name="T0" fmla="*/ 104 w 263"/>
                  <a:gd name="T1" fmla="*/ 240 h 254"/>
                  <a:gd name="T2" fmla="*/ 106 w 263"/>
                  <a:gd name="T3" fmla="*/ 236 h 254"/>
                  <a:gd name="T4" fmla="*/ 108 w 263"/>
                  <a:gd name="T5" fmla="*/ 233 h 254"/>
                  <a:gd name="T6" fmla="*/ 110 w 263"/>
                  <a:gd name="T7" fmla="*/ 229 h 254"/>
                  <a:gd name="T8" fmla="*/ 115 w 263"/>
                  <a:gd name="T9" fmla="*/ 229 h 254"/>
                  <a:gd name="T10" fmla="*/ 119 w 263"/>
                  <a:gd name="T11" fmla="*/ 233 h 254"/>
                  <a:gd name="T12" fmla="*/ 136 w 263"/>
                  <a:gd name="T13" fmla="*/ 235 h 254"/>
                  <a:gd name="T14" fmla="*/ 148 w 263"/>
                  <a:gd name="T15" fmla="*/ 254 h 254"/>
                  <a:gd name="T16" fmla="*/ 154 w 263"/>
                  <a:gd name="T17" fmla="*/ 246 h 254"/>
                  <a:gd name="T18" fmla="*/ 215 w 263"/>
                  <a:gd name="T19" fmla="*/ 210 h 254"/>
                  <a:gd name="T20" fmla="*/ 255 w 263"/>
                  <a:gd name="T21" fmla="*/ 192 h 254"/>
                  <a:gd name="T22" fmla="*/ 263 w 263"/>
                  <a:gd name="T23" fmla="*/ 154 h 254"/>
                  <a:gd name="T24" fmla="*/ 255 w 263"/>
                  <a:gd name="T25" fmla="*/ 144 h 254"/>
                  <a:gd name="T26" fmla="*/ 230 w 263"/>
                  <a:gd name="T27" fmla="*/ 141 h 254"/>
                  <a:gd name="T28" fmla="*/ 209 w 263"/>
                  <a:gd name="T29" fmla="*/ 125 h 254"/>
                  <a:gd name="T30" fmla="*/ 204 w 263"/>
                  <a:gd name="T31" fmla="*/ 112 h 254"/>
                  <a:gd name="T32" fmla="*/ 196 w 263"/>
                  <a:gd name="T33" fmla="*/ 108 h 254"/>
                  <a:gd name="T34" fmla="*/ 192 w 263"/>
                  <a:gd name="T35" fmla="*/ 96 h 254"/>
                  <a:gd name="T36" fmla="*/ 194 w 263"/>
                  <a:gd name="T37" fmla="*/ 87 h 254"/>
                  <a:gd name="T38" fmla="*/ 184 w 263"/>
                  <a:gd name="T39" fmla="*/ 79 h 254"/>
                  <a:gd name="T40" fmla="*/ 181 w 263"/>
                  <a:gd name="T41" fmla="*/ 68 h 254"/>
                  <a:gd name="T42" fmla="*/ 173 w 263"/>
                  <a:gd name="T43" fmla="*/ 62 h 254"/>
                  <a:gd name="T44" fmla="*/ 171 w 263"/>
                  <a:gd name="T45" fmla="*/ 48 h 254"/>
                  <a:gd name="T46" fmla="*/ 158 w 263"/>
                  <a:gd name="T47" fmla="*/ 45 h 254"/>
                  <a:gd name="T48" fmla="*/ 117 w 263"/>
                  <a:gd name="T49" fmla="*/ 39 h 254"/>
                  <a:gd name="T50" fmla="*/ 106 w 263"/>
                  <a:gd name="T51" fmla="*/ 25 h 254"/>
                  <a:gd name="T52" fmla="*/ 96 w 263"/>
                  <a:gd name="T53" fmla="*/ 22 h 254"/>
                  <a:gd name="T54" fmla="*/ 62 w 263"/>
                  <a:gd name="T55" fmla="*/ 4 h 254"/>
                  <a:gd name="T56" fmla="*/ 44 w 263"/>
                  <a:gd name="T57" fmla="*/ 23 h 254"/>
                  <a:gd name="T58" fmla="*/ 37 w 263"/>
                  <a:gd name="T59" fmla="*/ 29 h 254"/>
                  <a:gd name="T60" fmla="*/ 33 w 263"/>
                  <a:gd name="T61" fmla="*/ 35 h 254"/>
                  <a:gd name="T62" fmla="*/ 27 w 263"/>
                  <a:gd name="T63" fmla="*/ 39 h 254"/>
                  <a:gd name="T64" fmla="*/ 2 w 263"/>
                  <a:gd name="T65" fmla="*/ 43 h 254"/>
                  <a:gd name="T66" fmla="*/ 0 w 263"/>
                  <a:gd name="T67" fmla="*/ 50 h 254"/>
                  <a:gd name="T68" fmla="*/ 16 w 263"/>
                  <a:gd name="T69" fmla="*/ 64 h 254"/>
                  <a:gd name="T70" fmla="*/ 23 w 263"/>
                  <a:gd name="T71" fmla="*/ 81 h 254"/>
                  <a:gd name="T72" fmla="*/ 33 w 263"/>
                  <a:gd name="T73" fmla="*/ 89 h 254"/>
                  <a:gd name="T74" fmla="*/ 37 w 263"/>
                  <a:gd name="T75" fmla="*/ 110 h 254"/>
                  <a:gd name="T76" fmla="*/ 54 w 263"/>
                  <a:gd name="T77" fmla="*/ 129 h 254"/>
                  <a:gd name="T78" fmla="*/ 52 w 263"/>
                  <a:gd name="T79" fmla="*/ 139 h 254"/>
                  <a:gd name="T80" fmla="*/ 56 w 263"/>
                  <a:gd name="T81" fmla="*/ 156 h 254"/>
                  <a:gd name="T82" fmla="*/ 58 w 263"/>
                  <a:gd name="T83" fmla="*/ 177 h 254"/>
                  <a:gd name="T84" fmla="*/ 79 w 263"/>
                  <a:gd name="T85" fmla="*/ 194 h 254"/>
                  <a:gd name="T86" fmla="*/ 85 w 263"/>
                  <a:gd name="T87" fmla="*/ 217 h 254"/>
                  <a:gd name="T88" fmla="*/ 92 w 263"/>
                  <a:gd name="T89" fmla="*/ 221 h 254"/>
                  <a:gd name="T90" fmla="*/ 102 w 263"/>
                  <a:gd name="T91" fmla="*/ 238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63" h="254">
                    <a:moveTo>
                      <a:pt x="102" y="242"/>
                    </a:moveTo>
                    <a:lnTo>
                      <a:pt x="104" y="240"/>
                    </a:lnTo>
                    <a:lnTo>
                      <a:pt x="104" y="238"/>
                    </a:lnTo>
                    <a:lnTo>
                      <a:pt x="106" y="236"/>
                    </a:lnTo>
                    <a:lnTo>
                      <a:pt x="108" y="235"/>
                    </a:lnTo>
                    <a:lnTo>
                      <a:pt x="108" y="233"/>
                    </a:lnTo>
                    <a:lnTo>
                      <a:pt x="108" y="231"/>
                    </a:lnTo>
                    <a:lnTo>
                      <a:pt x="110" y="229"/>
                    </a:lnTo>
                    <a:lnTo>
                      <a:pt x="111" y="229"/>
                    </a:lnTo>
                    <a:lnTo>
                      <a:pt x="115" y="229"/>
                    </a:lnTo>
                    <a:lnTo>
                      <a:pt x="115" y="233"/>
                    </a:lnTo>
                    <a:lnTo>
                      <a:pt x="119" y="233"/>
                    </a:lnTo>
                    <a:lnTo>
                      <a:pt x="123" y="233"/>
                    </a:lnTo>
                    <a:lnTo>
                      <a:pt x="136" y="235"/>
                    </a:lnTo>
                    <a:lnTo>
                      <a:pt x="146" y="238"/>
                    </a:lnTo>
                    <a:lnTo>
                      <a:pt x="148" y="254"/>
                    </a:lnTo>
                    <a:lnTo>
                      <a:pt x="152" y="250"/>
                    </a:lnTo>
                    <a:lnTo>
                      <a:pt x="154" y="246"/>
                    </a:lnTo>
                    <a:lnTo>
                      <a:pt x="171" y="225"/>
                    </a:lnTo>
                    <a:lnTo>
                      <a:pt x="215" y="210"/>
                    </a:lnTo>
                    <a:lnTo>
                      <a:pt x="232" y="202"/>
                    </a:lnTo>
                    <a:lnTo>
                      <a:pt x="255" y="192"/>
                    </a:lnTo>
                    <a:lnTo>
                      <a:pt x="261" y="173"/>
                    </a:lnTo>
                    <a:lnTo>
                      <a:pt x="263" y="154"/>
                    </a:lnTo>
                    <a:lnTo>
                      <a:pt x="255" y="144"/>
                    </a:lnTo>
                    <a:lnTo>
                      <a:pt x="255" y="144"/>
                    </a:lnTo>
                    <a:lnTo>
                      <a:pt x="252" y="144"/>
                    </a:lnTo>
                    <a:lnTo>
                      <a:pt x="230" y="141"/>
                    </a:lnTo>
                    <a:lnTo>
                      <a:pt x="211" y="137"/>
                    </a:lnTo>
                    <a:lnTo>
                      <a:pt x="209" y="125"/>
                    </a:lnTo>
                    <a:lnTo>
                      <a:pt x="204" y="118"/>
                    </a:lnTo>
                    <a:lnTo>
                      <a:pt x="204" y="112"/>
                    </a:lnTo>
                    <a:lnTo>
                      <a:pt x="198" y="108"/>
                    </a:lnTo>
                    <a:lnTo>
                      <a:pt x="196" y="108"/>
                    </a:lnTo>
                    <a:lnTo>
                      <a:pt x="194" y="102"/>
                    </a:lnTo>
                    <a:lnTo>
                      <a:pt x="192" y="96"/>
                    </a:lnTo>
                    <a:lnTo>
                      <a:pt x="194" y="93"/>
                    </a:lnTo>
                    <a:lnTo>
                      <a:pt x="194" y="87"/>
                    </a:lnTo>
                    <a:lnTo>
                      <a:pt x="190" y="83"/>
                    </a:lnTo>
                    <a:lnTo>
                      <a:pt x="184" y="79"/>
                    </a:lnTo>
                    <a:lnTo>
                      <a:pt x="182" y="73"/>
                    </a:lnTo>
                    <a:lnTo>
                      <a:pt x="181" y="68"/>
                    </a:lnTo>
                    <a:lnTo>
                      <a:pt x="177" y="66"/>
                    </a:lnTo>
                    <a:lnTo>
                      <a:pt x="173" y="62"/>
                    </a:lnTo>
                    <a:lnTo>
                      <a:pt x="171" y="56"/>
                    </a:lnTo>
                    <a:lnTo>
                      <a:pt x="171" y="48"/>
                    </a:lnTo>
                    <a:lnTo>
                      <a:pt x="159" y="50"/>
                    </a:lnTo>
                    <a:lnTo>
                      <a:pt x="158" y="45"/>
                    </a:lnTo>
                    <a:lnTo>
                      <a:pt x="140" y="41"/>
                    </a:lnTo>
                    <a:lnTo>
                      <a:pt x="117" y="39"/>
                    </a:lnTo>
                    <a:lnTo>
                      <a:pt x="108" y="33"/>
                    </a:lnTo>
                    <a:lnTo>
                      <a:pt x="106" y="25"/>
                    </a:lnTo>
                    <a:lnTo>
                      <a:pt x="98" y="25"/>
                    </a:lnTo>
                    <a:lnTo>
                      <a:pt x="96" y="22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37" y="10"/>
                    </a:lnTo>
                    <a:lnTo>
                      <a:pt x="44" y="23"/>
                    </a:lnTo>
                    <a:lnTo>
                      <a:pt x="40" y="25"/>
                    </a:lnTo>
                    <a:lnTo>
                      <a:pt x="37" y="29"/>
                    </a:lnTo>
                    <a:lnTo>
                      <a:pt x="35" y="31"/>
                    </a:lnTo>
                    <a:lnTo>
                      <a:pt x="33" y="35"/>
                    </a:lnTo>
                    <a:lnTo>
                      <a:pt x="29" y="37"/>
                    </a:lnTo>
                    <a:lnTo>
                      <a:pt x="27" y="39"/>
                    </a:lnTo>
                    <a:lnTo>
                      <a:pt x="16" y="45"/>
                    </a:lnTo>
                    <a:lnTo>
                      <a:pt x="2" y="43"/>
                    </a:lnTo>
                    <a:lnTo>
                      <a:pt x="2" y="47"/>
                    </a:lnTo>
                    <a:lnTo>
                      <a:pt x="0" y="50"/>
                    </a:lnTo>
                    <a:lnTo>
                      <a:pt x="10" y="58"/>
                    </a:lnTo>
                    <a:lnTo>
                      <a:pt x="16" y="64"/>
                    </a:lnTo>
                    <a:lnTo>
                      <a:pt x="17" y="71"/>
                    </a:lnTo>
                    <a:lnTo>
                      <a:pt x="23" y="81"/>
                    </a:lnTo>
                    <a:lnTo>
                      <a:pt x="29" y="85"/>
                    </a:lnTo>
                    <a:lnTo>
                      <a:pt x="33" y="89"/>
                    </a:lnTo>
                    <a:lnTo>
                      <a:pt x="35" y="100"/>
                    </a:lnTo>
                    <a:lnTo>
                      <a:pt x="37" y="110"/>
                    </a:lnTo>
                    <a:lnTo>
                      <a:pt x="46" y="118"/>
                    </a:lnTo>
                    <a:lnTo>
                      <a:pt x="54" y="129"/>
                    </a:lnTo>
                    <a:lnTo>
                      <a:pt x="54" y="133"/>
                    </a:lnTo>
                    <a:lnTo>
                      <a:pt x="52" y="139"/>
                    </a:lnTo>
                    <a:lnTo>
                      <a:pt x="52" y="148"/>
                    </a:lnTo>
                    <a:lnTo>
                      <a:pt x="56" y="156"/>
                    </a:lnTo>
                    <a:lnTo>
                      <a:pt x="56" y="167"/>
                    </a:lnTo>
                    <a:lnTo>
                      <a:pt x="58" y="177"/>
                    </a:lnTo>
                    <a:lnTo>
                      <a:pt x="67" y="187"/>
                    </a:lnTo>
                    <a:lnTo>
                      <a:pt x="79" y="194"/>
                    </a:lnTo>
                    <a:lnTo>
                      <a:pt x="83" y="206"/>
                    </a:lnTo>
                    <a:lnTo>
                      <a:pt x="85" y="217"/>
                    </a:lnTo>
                    <a:lnTo>
                      <a:pt x="88" y="219"/>
                    </a:lnTo>
                    <a:lnTo>
                      <a:pt x="92" y="221"/>
                    </a:lnTo>
                    <a:lnTo>
                      <a:pt x="102" y="236"/>
                    </a:lnTo>
                    <a:lnTo>
                      <a:pt x="102" y="238"/>
                    </a:lnTo>
                    <a:lnTo>
                      <a:pt x="102" y="24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59" name="Freeform 57"/>
              <p:cNvSpPr>
                <a:spLocks/>
              </p:cNvSpPr>
              <p:nvPr/>
            </p:nvSpPr>
            <p:spPr bwMode="gray">
              <a:xfrm>
                <a:off x="4895708" y="4500564"/>
                <a:ext cx="49207" cy="39688"/>
              </a:xfrm>
              <a:custGeom>
                <a:avLst/>
                <a:gdLst>
                  <a:gd name="T0" fmla="*/ 4 w 31"/>
                  <a:gd name="T1" fmla="*/ 10 h 25"/>
                  <a:gd name="T2" fmla="*/ 4 w 31"/>
                  <a:gd name="T3" fmla="*/ 12 h 25"/>
                  <a:gd name="T4" fmla="*/ 4 w 31"/>
                  <a:gd name="T5" fmla="*/ 12 h 25"/>
                  <a:gd name="T6" fmla="*/ 2 w 31"/>
                  <a:gd name="T7" fmla="*/ 12 h 25"/>
                  <a:gd name="T8" fmla="*/ 2 w 31"/>
                  <a:gd name="T9" fmla="*/ 12 h 25"/>
                  <a:gd name="T10" fmla="*/ 0 w 31"/>
                  <a:gd name="T11" fmla="*/ 13 h 25"/>
                  <a:gd name="T12" fmla="*/ 0 w 31"/>
                  <a:gd name="T13" fmla="*/ 15 h 25"/>
                  <a:gd name="T14" fmla="*/ 2 w 31"/>
                  <a:gd name="T15" fmla="*/ 19 h 25"/>
                  <a:gd name="T16" fmla="*/ 6 w 31"/>
                  <a:gd name="T17" fmla="*/ 19 h 25"/>
                  <a:gd name="T18" fmla="*/ 8 w 31"/>
                  <a:gd name="T19" fmla="*/ 19 h 25"/>
                  <a:gd name="T20" fmla="*/ 12 w 31"/>
                  <a:gd name="T21" fmla="*/ 19 h 25"/>
                  <a:gd name="T22" fmla="*/ 12 w 31"/>
                  <a:gd name="T23" fmla="*/ 21 h 25"/>
                  <a:gd name="T24" fmla="*/ 14 w 31"/>
                  <a:gd name="T25" fmla="*/ 25 h 25"/>
                  <a:gd name="T26" fmla="*/ 14 w 31"/>
                  <a:gd name="T27" fmla="*/ 25 h 25"/>
                  <a:gd name="T28" fmla="*/ 16 w 31"/>
                  <a:gd name="T29" fmla="*/ 23 h 25"/>
                  <a:gd name="T30" fmla="*/ 20 w 31"/>
                  <a:gd name="T31" fmla="*/ 19 h 25"/>
                  <a:gd name="T32" fmla="*/ 21 w 31"/>
                  <a:gd name="T33" fmla="*/ 17 h 25"/>
                  <a:gd name="T34" fmla="*/ 25 w 31"/>
                  <a:gd name="T35" fmla="*/ 19 h 25"/>
                  <a:gd name="T36" fmla="*/ 29 w 31"/>
                  <a:gd name="T37" fmla="*/ 19 h 25"/>
                  <a:gd name="T38" fmla="*/ 29 w 31"/>
                  <a:gd name="T39" fmla="*/ 19 h 25"/>
                  <a:gd name="T40" fmla="*/ 29 w 31"/>
                  <a:gd name="T41" fmla="*/ 15 h 25"/>
                  <a:gd name="T42" fmla="*/ 29 w 31"/>
                  <a:gd name="T43" fmla="*/ 10 h 25"/>
                  <a:gd name="T44" fmla="*/ 31 w 31"/>
                  <a:gd name="T45" fmla="*/ 8 h 25"/>
                  <a:gd name="T46" fmla="*/ 27 w 31"/>
                  <a:gd name="T47" fmla="*/ 0 h 25"/>
                  <a:gd name="T48" fmla="*/ 23 w 31"/>
                  <a:gd name="T49" fmla="*/ 2 h 25"/>
                  <a:gd name="T50" fmla="*/ 20 w 31"/>
                  <a:gd name="T51" fmla="*/ 4 h 25"/>
                  <a:gd name="T52" fmla="*/ 18 w 31"/>
                  <a:gd name="T53" fmla="*/ 6 h 25"/>
                  <a:gd name="T54" fmla="*/ 14 w 31"/>
                  <a:gd name="T55" fmla="*/ 4 h 25"/>
                  <a:gd name="T56" fmla="*/ 10 w 31"/>
                  <a:gd name="T57" fmla="*/ 0 h 25"/>
                  <a:gd name="T58" fmla="*/ 6 w 31"/>
                  <a:gd name="T59" fmla="*/ 0 h 25"/>
                  <a:gd name="T60" fmla="*/ 6 w 31"/>
                  <a:gd name="T61" fmla="*/ 2 h 25"/>
                  <a:gd name="T62" fmla="*/ 6 w 31"/>
                  <a:gd name="T63" fmla="*/ 6 h 25"/>
                  <a:gd name="T64" fmla="*/ 6 w 31"/>
                  <a:gd name="T65" fmla="*/ 8 h 25"/>
                  <a:gd name="T66" fmla="*/ 6 w 31"/>
                  <a:gd name="T67" fmla="*/ 8 h 25"/>
                  <a:gd name="T68" fmla="*/ 4 w 31"/>
                  <a:gd name="T69" fmla="*/ 10 h 25"/>
                  <a:gd name="T70" fmla="*/ 4 w 31"/>
                  <a:gd name="T71" fmla="*/ 1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1" h="25">
                    <a:moveTo>
                      <a:pt x="4" y="10"/>
                    </a:moveTo>
                    <a:lnTo>
                      <a:pt x="4" y="12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6" y="19"/>
                    </a:lnTo>
                    <a:lnTo>
                      <a:pt x="8" y="19"/>
                    </a:lnTo>
                    <a:lnTo>
                      <a:pt x="12" y="19"/>
                    </a:lnTo>
                    <a:lnTo>
                      <a:pt x="12" y="21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6" y="23"/>
                    </a:lnTo>
                    <a:lnTo>
                      <a:pt x="20" y="19"/>
                    </a:lnTo>
                    <a:lnTo>
                      <a:pt x="21" y="17"/>
                    </a:lnTo>
                    <a:lnTo>
                      <a:pt x="25" y="19"/>
                    </a:lnTo>
                    <a:lnTo>
                      <a:pt x="29" y="19"/>
                    </a:lnTo>
                    <a:lnTo>
                      <a:pt x="29" y="19"/>
                    </a:lnTo>
                    <a:lnTo>
                      <a:pt x="29" y="15"/>
                    </a:lnTo>
                    <a:lnTo>
                      <a:pt x="29" y="10"/>
                    </a:lnTo>
                    <a:lnTo>
                      <a:pt x="31" y="8"/>
                    </a:lnTo>
                    <a:lnTo>
                      <a:pt x="27" y="0"/>
                    </a:lnTo>
                    <a:lnTo>
                      <a:pt x="23" y="2"/>
                    </a:lnTo>
                    <a:lnTo>
                      <a:pt x="20" y="4"/>
                    </a:lnTo>
                    <a:lnTo>
                      <a:pt x="18" y="6"/>
                    </a:lnTo>
                    <a:lnTo>
                      <a:pt x="14" y="4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10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0" name="Freeform 58"/>
              <p:cNvSpPr>
                <a:spLocks/>
              </p:cNvSpPr>
              <p:nvPr/>
            </p:nvSpPr>
            <p:spPr bwMode="gray">
              <a:xfrm>
                <a:off x="4719515" y="2989264"/>
                <a:ext cx="66668" cy="46038"/>
              </a:xfrm>
              <a:custGeom>
                <a:avLst/>
                <a:gdLst>
                  <a:gd name="T0" fmla="*/ 15 w 42"/>
                  <a:gd name="T1" fmla="*/ 2 h 29"/>
                  <a:gd name="T2" fmla="*/ 13 w 42"/>
                  <a:gd name="T3" fmla="*/ 4 h 29"/>
                  <a:gd name="T4" fmla="*/ 10 w 42"/>
                  <a:gd name="T5" fmla="*/ 6 h 29"/>
                  <a:gd name="T6" fmla="*/ 12 w 42"/>
                  <a:gd name="T7" fmla="*/ 0 h 29"/>
                  <a:gd name="T8" fmla="*/ 8 w 42"/>
                  <a:gd name="T9" fmla="*/ 0 h 29"/>
                  <a:gd name="T10" fmla="*/ 4 w 42"/>
                  <a:gd name="T11" fmla="*/ 4 h 29"/>
                  <a:gd name="T12" fmla="*/ 2 w 42"/>
                  <a:gd name="T13" fmla="*/ 6 h 29"/>
                  <a:gd name="T14" fmla="*/ 2 w 42"/>
                  <a:gd name="T15" fmla="*/ 10 h 29"/>
                  <a:gd name="T16" fmla="*/ 2 w 42"/>
                  <a:gd name="T17" fmla="*/ 16 h 29"/>
                  <a:gd name="T18" fmla="*/ 0 w 42"/>
                  <a:gd name="T19" fmla="*/ 17 h 29"/>
                  <a:gd name="T20" fmla="*/ 0 w 42"/>
                  <a:gd name="T21" fmla="*/ 19 h 29"/>
                  <a:gd name="T22" fmla="*/ 2 w 42"/>
                  <a:gd name="T23" fmla="*/ 21 h 29"/>
                  <a:gd name="T24" fmla="*/ 13 w 42"/>
                  <a:gd name="T25" fmla="*/ 25 h 29"/>
                  <a:gd name="T26" fmla="*/ 23 w 42"/>
                  <a:gd name="T27" fmla="*/ 27 h 29"/>
                  <a:gd name="T28" fmla="*/ 31 w 42"/>
                  <a:gd name="T29" fmla="*/ 29 h 29"/>
                  <a:gd name="T30" fmla="*/ 35 w 42"/>
                  <a:gd name="T31" fmla="*/ 29 h 29"/>
                  <a:gd name="T32" fmla="*/ 36 w 42"/>
                  <a:gd name="T33" fmla="*/ 29 h 29"/>
                  <a:gd name="T34" fmla="*/ 42 w 42"/>
                  <a:gd name="T35" fmla="*/ 27 h 29"/>
                  <a:gd name="T36" fmla="*/ 40 w 42"/>
                  <a:gd name="T37" fmla="*/ 14 h 29"/>
                  <a:gd name="T38" fmla="*/ 33 w 42"/>
                  <a:gd name="T39" fmla="*/ 14 h 29"/>
                  <a:gd name="T40" fmla="*/ 25 w 42"/>
                  <a:gd name="T41" fmla="*/ 12 h 29"/>
                  <a:gd name="T42" fmla="*/ 19 w 42"/>
                  <a:gd name="T43" fmla="*/ 6 h 29"/>
                  <a:gd name="T44" fmla="*/ 15 w 42"/>
                  <a:gd name="T45" fmla="*/ 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2" h="29">
                    <a:moveTo>
                      <a:pt x="15" y="2"/>
                    </a:moveTo>
                    <a:lnTo>
                      <a:pt x="13" y="4"/>
                    </a:lnTo>
                    <a:lnTo>
                      <a:pt x="10" y="6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2" y="16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13" y="25"/>
                    </a:lnTo>
                    <a:lnTo>
                      <a:pt x="23" y="27"/>
                    </a:lnTo>
                    <a:lnTo>
                      <a:pt x="31" y="29"/>
                    </a:lnTo>
                    <a:lnTo>
                      <a:pt x="35" y="29"/>
                    </a:lnTo>
                    <a:lnTo>
                      <a:pt x="36" y="29"/>
                    </a:lnTo>
                    <a:lnTo>
                      <a:pt x="42" y="27"/>
                    </a:lnTo>
                    <a:lnTo>
                      <a:pt x="40" y="14"/>
                    </a:lnTo>
                    <a:lnTo>
                      <a:pt x="33" y="14"/>
                    </a:lnTo>
                    <a:lnTo>
                      <a:pt x="25" y="12"/>
                    </a:lnTo>
                    <a:lnTo>
                      <a:pt x="19" y="6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1" name="Freeform 59"/>
              <p:cNvSpPr>
                <a:spLocks/>
              </p:cNvSpPr>
              <p:nvPr/>
            </p:nvSpPr>
            <p:spPr bwMode="gray">
              <a:xfrm>
                <a:off x="5067139" y="2867026"/>
                <a:ext cx="36508" cy="28575"/>
              </a:xfrm>
              <a:custGeom>
                <a:avLst/>
                <a:gdLst>
                  <a:gd name="T0" fmla="*/ 13 w 23"/>
                  <a:gd name="T1" fmla="*/ 0 h 18"/>
                  <a:gd name="T2" fmla="*/ 15 w 23"/>
                  <a:gd name="T3" fmla="*/ 2 h 18"/>
                  <a:gd name="T4" fmla="*/ 19 w 23"/>
                  <a:gd name="T5" fmla="*/ 6 h 18"/>
                  <a:gd name="T6" fmla="*/ 19 w 23"/>
                  <a:gd name="T7" fmla="*/ 6 h 18"/>
                  <a:gd name="T8" fmla="*/ 21 w 23"/>
                  <a:gd name="T9" fmla="*/ 6 h 18"/>
                  <a:gd name="T10" fmla="*/ 23 w 23"/>
                  <a:gd name="T11" fmla="*/ 8 h 18"/>
                  <a:gd name="T12" fmla="*/ 21 w 23"/>
                  <a:gd name="T13" fmla="*/ 14 h 18"/>
                  <a:gd name="T14" fmla="*/ 17 w 23"/>
                  <a:gd name="T15" fmla="*/ 16 h 18"/>
                  <a:gd name="T16" fmla="*/ 11 w 23"/>
                  <a:gd name="T17" fmla="*/ 18 h 18"/>
                  <a:gd name="T18" fmla="*/ 6 w 23"/>
                  <a:gd name="T19" fmla="*/ 12 h 18"/>
                  <a:gd name="T20" fmla="*/ 0 w 23"/>
                  <a:gd name="T21" fmla="*/ 4 h 18"/>
                  <a:gd name="T22" fmla="*/ 4 w 23"/>
                  <a:gd name="T23" fmla="*/ 4 h 18"/>
                  <a:gd name="T24" fmla="*/ 11 w 23"/>
                  <a:gd name="T25" fmla="*/ 6 h 18"/>
                  <a:gd name="T26" fmla="*/ 11 w 23"/>
                  <a:gd name="T27" fmla="*/ 2 h 18"/>
                  <a:gd name="T28" fmla="*/ 13 w 23"/>
                  <a:gd name="T2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" h="18">
                    <a:moveTo>
                      <a:pt x="13" y="0"/>
                    </a:moveTo>
                    <a:lnTo>
                      <a:pt x="15" y="2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3" y="8"/>
                    </a:lnTo>
                    <a:lnTo>
                      <a:pt x="21" y="14"/>
                    </a:lnTo>
                    <a:lnTo>
                      <a:pt x="17" y="16"/>
                    </a:lnTo>
                    <a:lnTo>
                      <a:pt x="11" y="18"/>
                    </a:lnTo>
                    <a:lnTo>
                      <a:pt x="6" y="1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1" y="6"/>
                    </a:lnTo>
                    <a:lnTo>
                      <a:pt x="11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2" name="Freeform 60"/>
              <p:cNvSpPr>
                <a:spLocks/>
              </p:cNvSpPr>
              <p:nvPr/>
            </p:nvSpPr>
            <p:spPr bwMode="gray">
              <a:xfrm>
                <a:off x="5076663" y="2855914"/>
                <a:ext cx="4762" cy="7938"/>
              </a:xfrm>
              <a:custGeom>
                <a:avLst/>
                <a:gdLst>
                  <a:gd name="T0" fmla="*/ 1 w 3"/>
                  <a:gd name="T1" fmla="*/ 0 h 5"/>
                  <a:gd name="T2" fmla="*/ 3 w 3"/>
                  <a:gd name="T3" fmla="*/ 4 h 5"/>
                  <a:gd name="T4" fmla="*/ 1 w 3"/>
                  <a:gd name="T5" fmla="*/ 5 h 5"/>
                  <a:gd name="T6" fmla="*/ 0 w 3"/>
                  <a:gd name="T7" fmla="*/ 2 h 5"/>
                  <a:gd name="T8" fmla="*/ 1 w 3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1" y="0"/>
                    </a:moveTo>
                    <a:lnTo>
                      <a:pt x="3" y="4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3" name="Freeform 61"/>
              <p:cNvSpPr>
                <a:spLocks/>
              </p:cNvSpPr>
              <p:nvPr/>
            </p:nvSpPr>
            <p:spPr bwMode="gray">
              <a:xfrm>
                <a:off x="5063964" y="2819401"/>
                <a:ext cx="14286" cy="6350"/>
              </a:xfrm>
              <a:custGeom>
                <a:avLst/>
                <a:gdLst>
                  <a:gd name="T0" fmla="*/ 2 w 9"/>
                  <a:gd name="T1" fmla="*/ 0 h 4"/>
                  <a:gd name="T2" fmla="*/ 8 w 9"/>
                  <a:gd name="T3" fmla="*/ 0 h 4"/>
                  <a:gd name="T4" fmla="*/ 9 w 9"/>
                  <a:gd name="T5" fmla="*/ 2 h 4"/>
                  <a:gd name="T6" fmla="*/ 6 w 9"/>
                  <a:gd name="T7" fmla="*/ 4 h 4"/>
                  <a:gd name="T8" fmla="*/ 2 w 9"/>
                  <a:gd name="T9" fmla="*/ 4 h 4"/>
                  <a:gd name="T10" fmla="*/ 0 w 9"/>
                  <a:gd name="T11" fmla="*/ 2 h 4"/>
                  <a:gd name="T12" fmla="*/ 2 w 9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4">
                    <a:moveTo>
                      <a:pt x="2" y="0"/>
                    </a:moveTo>
                    <a:lnTo>
                      <a:pt x="8" y="0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4" name="Freeform 62"/>
              <p:cNvSpPr>
                <a:spLocks/>
              </p:cNvSpPr>
              <p:nvPr/>
            </p:nvSpPr>
            <p:spPr bwMode="gray">
              <a:xfrm>
                <a:off x="4927454" y="2773364"/>
                <a:ext cx="57144" cy="57150"/>
              </a:xfrm>
              <a:custGeom>
                <a:avLst/>
                <a:gdLst>
                  <a:gd name="T0" fmla="*/ 11 w 36"/>
                  <a:gd name="T1" fmla="*/ 0 h 36"/>
                  <a:gd name="T2" fmla="*/ 17 w 36"/>
                  <a:gd name="T3" fmla="*/ 6 h 36"/>
                  <a:gd name="T4" fmla="*/ 24 w 36"/>
                  <a:gd name="T5" fmla="*/ 11 h 36"/>
                  <a:gd name="T6" fmla="*/ 26 w 36"/>
                  <a:gd name="T7" fmla="*/ 11 h 36"/>
                  <a:gd name="T8" fmla="*/ 30 w 36"/>
                  <a:gd name="T9" fmla="*/ 11 h 36"/>
                  <a:gd name="T10" fmla="*/ 32 w 36"/>
                  <a:gd name="T11" fmla="*/ 15 h 36"/>
                  <a:gd name="T12" fmla="*/ 34 w 36"/>
                  <a:gd name="T13" fmla="*/ 19 h 36"/>
                  <a:gd name="T14" fmla="*/ 36 w 36"/>
                  <a:gd name="T15" fmla="*/ 23 h 36"/>
                  <a:gd name="T16" fmla="*/ 36 w 36"/>
                  <a:gd name="T17" fmla="*/ 29 h 36"/>
                  <a:gd name="T18" fmla="*/ 34 w 36"/>
                  <a:gd name="T19" fmla="*/ 27 h 36"/>
                  <a:gd name="T20" fmla="*/ 32 w 36"/>
                  <a:gd name="T21" fmla="*/ 27 h 36"/>
                  <a:gd name="T22" fmla="*/ 32 w 36"/>
                  <a:gd name="T23" fmla="*/ 29 h 36"/>
                  <a:gd name="T24" fmla="*/ 32 w 36"/>
                  <a:gd name="T25" fmla="*/ 33 h 36"/>
                  <a:gd name="T26" fmla="*/ 23 w 36"/>
                  <a:gd name="T27" fmla="*/ 34 h 36"/>
                  <a:gd name="T28" fmla="*/ 15 w 36"/>
                  <a:gd name="T29" fmla="*/ 36 h 36"/>
                  <a:gd name="T30" fmla="*/ 15 w 36"/>
                  <a:gd name="T31" fmla="*/ 33 h 36"/>
                  <a:gd name="T32" fmla="*/ 15 w 36"/>
                  <a:gd name="T33" fmla="*/ 31 h 36"/>
                  <a:gd name="T34" fmla="*/ 11 w 36"/>
                  <a:gd name="T35" fmla="*/ 27 h 36"/>
                  <a:gd name="T36" fmla="*/ 7 w 36"/>
                  <a:gd name="T37" fmla="*/ 23 h 36"/>
                  <a:gd name="T38" fmla="*/ 7 w 36"/>
                  <a:gd name="T39" fmla="*/ 19 h 36"/>
                  <a:gd name="T40" fmla="*/ 7 w 36"/>
                  <a:gd name="T41" fmla="*/ 17 h 36"/>
                  <a:gd name="T42" fmla="*/ 3 w 36"/>
                  <a:gd name="T43" fmla="*/ 11 h 36"/>
                  <a:gd name="T44" fmla="*/ 0 w 36"/>
                  <a:gd name="T45" fmla="*/ 8 h 36"/>
                  <a:gd name="T46" fmla="*/ 5 w 36"/>
                  <a:gd name="T47" fmla="*/ 4 h 36"/>
                  <a:gd name="T48" fmla="*/ 11 w 36"/>
                  <a:gd name="T4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6" h="36">
                    <a:moveTo>
                      <a:pt x="11" y="0"/>
                    </a:moveTo>
                    <a:lnTo>
                      <a:pt x="17" y="6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30" y="11"/>
                    </a:lnTo>
                    <a:lnTo>
                      <a:pt x="32" y="15"/>
                    </a:lnTo>
                    <a:lnTo>
                      <a:pt x="34" y="19"/>
                    </a:lnTo>
                    <a:lnTo>
                      <a:pt x="36" y="23"/>
                    </a:lnTo>
                    <a:lnTo>
                      <a:pt x="36" y="29"/>
                    </a:lnTo>
                    <a:lnTo>
                      <a:pt x="34" y="27"/>
                    </a:lnTo>
                    <a:lnTo>
                      <a:pt x="32" y="27"/>
                    </a:lnTo>
                    <a:lnTo>
                      <a:pt x="32" y="29"/>
                    </a:lnTo>
                    <a:lnTo>
                      <a:pt x="32" y="33"/>
                    </a:lnTo>
                    <a:lnTo>
                      <a:pt x="23" y="34"/>
                    </a:lnTo>
                    <a:lnTo>
                      <a:pt x="15" y="36"/>
                    </a:lnTo>
                    <a:lnTo>
                      <a:pt x="15" y="33"/>
                    </a:lnTo>
                    <a:lnTo>
                      <a:pt x="15" y="31"/>
                    </a:lnTo>
                    <a:lnTo>
                      <a:pt x="11" y="27"/>
                    </a:lnTo>
                    <a:lnTo>
                      <a:pt x="7" y="23"/>
                    </a:lnTo>
                    <a:lnTo>
                      <a:pt x="7" y="19"/>
                    </a:lnTo>
                    <a:lnTo>
                      <a:pt x="7" y="17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5" name="Freeform 63"/>
              <p:cNvSpPr>
                <a:spLocks/>
              </p:cNvSpPr>
              <p:nvPr/>
            </p:nvSpPr>
            <p:spPr bwMode="gray">
              <a:xfrm>
                <a:off x="5017932" y="2746376"/>
                <a:ext cx="36508" cy="60325"/>
              </a:xfrm>
              <a:custGeom>
                <a:avLst/>
                <a:gdLst>
                  <a:gd name="T0" fmla="*/ 4 w 23"/>
                  <a:gd name="T1" fmla="*/ 0 h 38"/>
                  <a:gd name="T2" fmla="*/ 10 w 23"/>
                  <a:gd name="T3" fmla="*/ 2 h 38"/>
                  <a:gd name="T4" fmla="*/ 15 w 23"/>
                  <a:gd name="T5" fmla="*/ 3 h 38"/>
                  <a:gd name="T6" fmla="*/ 15 w 23"/>
                  <a:gd name="T7" fmla="*/ 11 h 38"/>
                  <a:gd name="T8" fmla="*/ 17 w 23"/>
                  <a:gd name="T9" fmla="*/ 19 h 38"/>
                  <a:gd name="T10" fmla="*/ 21 w 23"/>
                  <a:gd name="T11" fmla="*/ 23 h 38"/>
                  <a:gd name="T12" fmla="*/ 23 w 23"/>
                  <a:gd name="T13" fmla="*/ 32 h 38"/>
                  <a:gd name="T14" fmla="*/ 19 w 23"/>
                  <a:gd name="T15" fmla="*/ 34 h 38"/>
                  <a:gd name="T16" fmla="*/ 17 w 23"/>
                  <a:gd name="T17" fmla="*/ 38 h 38"/>
                  <a:gd name="T18" fmla="*/ 10 w 23"/>
                  <a:gd name="T19" fmla="*/ 28 h 38"/>
                  <a:gd name="T20" fmla="*/ 0 w 23"/>
                  <a:gd name="T21" fmla="*/ 21 h 38"/>
                  <a:gd name="T22" fmla="*/ 0 w 23"/>
                  <a:gd name="T23" fmla="*/ 17 h 38"/>
                  <a:gd name="T24" fmla="*/ 4 w 23"/>
                  <a:gd name="T25" fmla="*/ 19 h 38"/>
                  <a:gd name="T26" fmla="*/ 6 w 23"/>
                  <a:gd name="T27" fmla="*/ 19 h 38"/>
                  <a:gd name="T28" fmla="*/ 4 w 23"/>
                  <a:gd name="T29" fmla="*/ 15 h 38"/>
                  <a:gd name="T30" fmla="*/ 6 w 23"/>
                  <a:gd name="T31" fmla="*/ 13 h 38"/>
                  <a:gd name="T32" fmla="*/ 6 w 23"/>
                  <a:gd name="T33" fmla="*/ 13 h 38"/>
                  <a:gd name="T34" fmla="*/ 10 w 23"/>
                  <a:gd name="T35" fmla="*/ 15 h 38"/>
                  <a:gd name="T36" fmla="*/ 10 w 23"/>
                  <a:gd name="T37" fmla="*/ 13 h 38"/>
                  <a:gd name="T38" fmla="*/ 12 w 23"/>
                  <a:gd name="T39" fmla="*/ 9 h 38"/>
                  <a:gd name="T40" fmla="*/ 12 w 23"/>
                  <a:gd name="T41" fmla="*/ 7 h 38"/>
                  <a:gd name="T42" fmla="*/ 10 w 23"/>
                  <a:gd name="T43" fmla="*/ 5 h 38"/>
                  <a:gd name="T44" fmla="*/ 10 w 23"/>
                  <a:gd name="T45" fmla="*/ 3 h 38"/>
                  <a:gd name="T46" fmla="*/ 8 w 23"/>
                  <a:gd name="T47" fmla="*/ 5 h 38"/>
                  <a:gd name="T48" fmla="*/ 8 w 23"/>
                  <a:gd name="T49" fmla="*/ 7 h 38"/>
                  <a:gd name="T50" fmla="*/ 4 w 23"/>
                  <a:gd name="T51" fmla="*/ 7 h 38"/>
                  <a:gd name="T52" fmla="*/ 2 w 23"/>
                  <a:gd name="T53" fmla="*/ 5 h 38"/>
                  <a:gd name="T54" fmla="*/ 2 w 23"/>
                  <a:gd name="T55" fmla="*/ 3 h 38"/>
                  <a:gd name="T56" fmla="*/ 2 w 23"/>
                  <a:gd name="T57" fmla="*/ 0 h 38"/>
                  <a:gd name="T58" fmla="*/ 4 w 23"/>
                  <a:gd name="T5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" h="38">
                    <a:moveTo>
                      <a:pt x="4" y="0"/>
                    </a:moveTo>
                    <a:lnTo>
                      <a:pt x="10" y="2"/>
                    </a:lnTo>
                    <a:lnTo>
                      <a:pt x="15" y="3"/>
                    </a:lnTo>
                    <a:lnTo>
                      <a:pt x="15" y="11"/>
                    </a:lnTo>
                    <a:lnTo>
                      <a:pt x="17" y="19"/>
                    </a:lnTo>
                    <a:lnTo>
                      <a:pt x="21" y="23"/>
                    </a:lnTo>
                    <a:lnTo>
                      <a:pt x="23" y="32"/>
                    </a:lnTo>
                    <a:lnTo>
                      <a:pt x="19" y="34"/>
                    </a:lnTo>
                    <a:lnTo>
                      <a:pt x="17" y="38"/>
                    </a:lnTo>
                    <a:lnTo>
                      <a:pt x="10" y="28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4" y="15"/>
                    </a:lnTo>
                    <a:lnTo>
                      <a:pt x="6" y="13"/>
                    </a:lnTo>
                    <a:lnTo>
                      <a:pt x="6" y="13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8" y="5"/>
                    </a:lnTo>
                    <a:lnTo>
                      <a:pt x="8" y="7"/>
                    </a:lnTo>
                    <a:lnTo>
                      <a:pt x="4" y="7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6" name="Freeform 64"/>
              <p:cNvSpPr>
                <a:spLocks/>
              </p:cNvSpPr>
              <p:nvPr/>
            </p:nvSpPr>
            <p:spPr bwMode="gray">
              <a:xfrm>
                <a:off x="5011583" y="2709864"/>
                <a:ext cx="19048" cy="17463"/>
              </a:xfrm>
              <a:custGeom>
                <a:avLst/>
                <a:gdLst>
                  <a:gd name="T0" fmla="*/ 0 w 12"/>
                  <a:gd name="T1" fmla="*/ 0 h 11"/>
                  <a:gd name="T2" fmla="*/ 6 w 12"/>
                  <a:gd name="T3" fmla="*/ 2 h 11"/>
                  <a:gd name="T4" fmla="*/ 8 w 12"/>
                  <a:gd name="T5" fmla="*/ 3 h 11"/>
                  <a:gd name="T6" fmla="*/ 8 w 12"/>
                  <a:gd name="T7" fmla="*/ 5 h 11"/>
                  <a:gd name="T8" fmla="*/ 10 w 12"/>
                  <a:gd name="T9" fmla="*/ 7 h 11"/>
                  <a:gd name="T10" fmla="*/ 12 w 12"/>
                  <a:gd name="T11" fmla="*/ 9 h 11"/>
                  <a:gd name="T12" fmla="*/ 12 w 12"/>
                  <a:gd name="T13" fmla="*/ 11 h 11"/>
                  <a:gd name="T14" fmla="*/ 8 w 12"/>
                  <a:gd name="T15" fmla="*/ 11 h 11"/>
                  <a:gd name="T16" fmla="*/ 2 w 12"/>
                  <a:gd name="T17" fmla="*/ 11 h 11"/>
                  <a:gd name="T18" fmla="*/ 0 w 12"/>
                  <a:gd name="T19" fmla="*/ 3 h 11"/>
                  <a:gd name="T20" fmla="*/ 0 w 12"/>
                  <a:gd name="T2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1">
                    <a:moveTo>
                      <a:pt x="0" y="0"/>
                    </a:moveTo>
                    <a:lnTo>
                      <a:pt x="6" y="2"/>
                    </a:lnTo>
                    <a:lnTo>
                      <a:pt x="8" y="3"/>
                    </a:lnTo>
                    <a:lnTo>
                      <a:pt x="8" y="5"/>
                    </a:lnTo>
                    <a:lnTo>
                      <a:pt x="10" y="7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8" y="11"/>
                    </a:lnTo>
                    <a:lnTo>
                      <a:pt x="2" y="11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7" name="Freeform 65"/>
              <p:cNvSpPr>
                <a:spLocks/>
              </p:cNvSpPr>
              <p:nvPr/>
            </p:nvSpPr>
            <p:spPr bwMode="gray">
              <a:xfrm>
                <a:off x="5097298" y="2670176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0 w 2"/>
                  <a:gd name="T7" fmla="*/ 0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8" name="Freeform 66"/>
              <p:cNvSpPr>
                <a:spLocks/>
              </p:cNvSpPr>
              <p:nvPr/>
            </p:nvSpPr>
            <p:spPr bwMode="gray">
              <a:xfrm>
                <a:off x="5298888" y="2498726"/>
                <a:ext cx="23810" cy="26988"/>
              </a:xfrm>
              <a:custGeom>
                <a:avLst/>
                <a:gdLst>
                  <a:gd name="T0" fmla="*/ 5 w 15"/>
                  <a:gd name="T1" fmla="*/ 0 h 17"/>
                  <a:gd name="T2" fmla="*/ 3 w 15"/>
                  <a:gd name="T3" fmla="*/ 2 h 17"/>
                  <a:gd name="T4" fmla="*/ 0 w 15"/>
                  <a:gd name="T5" fmla="*/ 4 h 17"/>
                  <a:gd name="T6" fmla="*/ 0 w 15"/>
                  <a:gd name="T7" fmla="*/ 8 h 17"/>
                  <a:gd name="T8" fmla="*/ 0 w 15"/>
                  <a:gd name="T9" fmla="*/ 14 h 17"/>
                  <a:gd name="T10" fmla="*/ 2 w 15"/>
                  <a:gd name="T11" fmla="*/ 16 h 17"/>
                  <a:gd name="T12" fmla="*/ 3 w 15"/>
                  <a:gd name="T13" fmla="*/ 17 h 17"/>
                  <a:gd name="T14" fmla="*/ 7 w 15"/>
                  <a:gd name="T15" fmla="*/ 17 h 17"/>
                  <a:gd name="T16" fmla="*/ 9 w 15"/>
                  <a:gd name="T17" fmla="*/ 16 h 17"/>
                  <a:gd name="T18" fmla="*/ 11 w 15"/>
                  <a:gd name="T19" fmla="*/ 14 h 17"/>
                  <a:gd name="T20" fmla="*/ 15 w 15"/>
                  <a:gd name="T21" fmla="*/ 12 h 17"/>
                  <a:gd name="T22" fmla="*/ 15 w 15"/>
                  <a:gd name="T23" fmla="*/ 8 h 17"/>
                  <a:gd name="T24" fmla="*/ 15 w 15"/>
                  <a:gd name="T25" fmla="*/ 4 h 17"/>
                  <a:gd name="T26" fmla="*/ 9 w 15"/>
                  <a:gd name="T27" fmla="*/ 2 h 17"/>
                  <a:gd name="T28" fmla="*/ 5 w 15"/>
                  <a:gd name="T2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7">
                    <a:moveTo>
                      <a:pt x="5" y="0"/>
                    </a:moveTo>
                    <a:lnTo>
                      <a:pt x="3" y="2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3" y="17"/>
                    </a:lnTo>
                    <a:lnTo>
                      <a:pt x="7" y="17"/>
                    </a:lnTo>
                    <a:lnTo>
                      <a:pt x="9" y="16"/>
                    </a:lnTo>
                    <a:lnTo>
                      <a:pt x="11" y="14"/>
                    </a:lnTo>
                    <a:lnTo>
                      <a:pt x="15" y="12"/>
                    </a:lnTo>
                    <a:lnTo>
                      <a:pt x="15" y="8"/>
                    </a:lnTo>
                    <a:lnTo>
                      <a:pt x="15" y="4"/>
                    </a:lnTo>
                    <a:lnTo>
                      <a:pt x="9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69" name="Freeform 67"/>
              <p:cNvSpPr>
                <a:spLocks/>
              </p:cNvSpPr>
              <p:nvPr/>
            </p:nvSpPr>
            <p:spPr bwMode="gray">
              <a:xfrm>
                <a:off x="5492542" y="2471739"/>
                <a:ext cx="34921" cy="26988"/>
              </a:xfrm>
              <a:custGeom>
                <a:avLst/>
                <a:gdLst>
                  <a:gd name="T0" fmla="*/ 0 w 22"/>
                  <a:gd name="T1" fmla="*/ 0 h 17"/>
                  <a:gd name="T2" fmla="*/ 0 w 22"/>
                  <a:gd name="T3" fmla="*/ 6 h 17"/>
                  <a:gd name="T4" fmla="*/ 0 w 22"/>
                  <a:gd name="T5" fmla="*/ 11 h 17"/>
                  <a:gd name="T6" fmla="*/ 6 w 22"/>
                  <a:gd name="T7" fmla="*/ 13 h 17"/>
                  <a:gd name="T8" fmla="*/ 12 w 22"/>
                  <a:gd name="T9" fmla="*/ 13 h 17"/>
                  <a:gd name="T10" fmla="*/ 12 w 22"/>
                  <a:gd name="T11" fmla="*/ 17 h 17"/>
                  <a:gd name="T12" fmla="*/ 16 w 22"/>
                  <a:gd name="T13" fmla="*/ 17 h 17"/>
                  <a:gd name="T14" fmla="*/ 22 w 22"/>
                  <a:gd name="T15" fmla="*/ 17 h 17"/>
                  <a:gd name="T16" fmla="*/ 22 w 22"/>
                  <a:gd name="T17" fmla="*/ 13 h 17"/>
                  <a:gd name="T18" fmla="*/ 22 w 22"/>
                  <a:gd name="T19" fmla="*/ 10 h 17"/>
                  <a:gd name="T20" fmla="*/ 14 w 22"/>
                  <a:gd name="T21" fmla="*/ 4 h 17"/>
                  <a:gd name="T22" fmla="*/ 8 w 22"/>
                  <a:gd name="T23" fmla="*/ 0 h 17"/>
                  <a:gd name="T24" fmla="*/ 4 w 22"/>
                  <a:gd name="T25" fmla="*/ 0 h 17"/>
                  <a:gd name="T26" fmla="*/ 0 w 22"/>
                  <a:gd name="T2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17">
                    <a:moveTo>
                      <a:pt x="0" y="0"/>
                    </a:moveTo>
                    <a:lnTo>
                      <a:pt x="0" y="6"/>
                    </a:lnTo>
                    <a:lnTo>
                      <a:pt x="0" y="11"/>
                    </a:lnTo>
                    <a:lnTo>
                      <a:pt x="6" y="13"/>
                    </a:lnTo>
                    <a:lnTo>
                      <a:pt x="12" y="13"/>
                    </a:lnTo>
                    <a:lnTo>
                      <a:pt x="12" y="17"/>
                    </a:lnTo>
                    <a:lnTo>
                      <a:pt x="16" y="17"/>
                    </a:lnTo>
                    <a:lnTo>
                      <a:pt x="22" y="17"/>
                    </a:lnTo>
                    <a:lnTo>
                      <a:pt x="22" y="13"/>
                    </a:lnTo>
                    <a:lnTo>
                      <a:pt x="22" y="10"/>
                    </a:lnTo>
                    <a:lnTo>
                      <a:pt x="14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0" name="Freeform 68"/>
              <p:cNvSpPr>
                <a:spLocks/>
              </p:cNvSpPr>
              <p:nvPr/>
            </p:nvSpPr>
            <p:spPr bwMode="gray">
              <a:xfrm>
                <a:off x="5876674" y="2459039"/>
                <a:ext cx="6349" cy="6350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0 h 4"/>
                  <a:gd name="T4" fmla="*/ 4 w 4"/>
                  <a:gd name="T5" fmla="*/ 2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0 h 4"/>
                  <a:gd name="T12" fmla="*/ 2 w 4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1" name="Freeform 69"/>
              <p:cNvSpPr>
                <a:spLocks/>
              </p:cNvSpPr>
              <p:nvPr/>
            </p:nvSpPr>
            <p:spPr bwMode="gray">
              <a:xfrm>
                <a:off x="5865562" y="2379664"/>
                <a:ext cx="26984" cy="15875"/>
              </a:xfrm>
              <a:custGeom>
                <a:avLst/>
                <a:gdLst>
                  <a:gd name="T0" fmla="*/ 7 w 17"/>
                  <a:gd name="T1" fmla="*/ 0 h 10"/>
                  <a:gd name="T2" fmla="*/ 3 w 17"/>
                  <a:gd name="T3" fmla="*/ 6 h 10"/>
                  <a:gd name="T4" fmla="*/ 0 w 17"/>
                  <a:gd name="T5" fmla="*/ 10 h 10"/>
                  <a:gd name="T6" fmla="*/ 5 w 17"/>
                  <a:gd name="T7" fmla="*/ 10 h 10"/>
                  <a:gd name="T8" fmla="*/ 17 w 17"/>
                  <a:gd name="T9" fmla="*/ 8 h 10"/>
                  <a:gd name="T10" fmla="*/ 17 w 17"/>
                  <a:gd name="T11" fmla="*/ 4 h 10"/>
                  <a:gd name="T12" fmla="*/ 17 w 17"/>
                  <a:gd name="T13" fmla="*/ 2 h 10"/>
                  <a:gd name="T14" fmla="*/ 11 w 17"/>
                  <a:gd name="T15" fmla="*/ 2 h 10"/>
                  <a:gd name="T16" fmla="*/ 7 w 17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0">
                    <a:moveTo>
                      <a:pt x="7" y="0"/>
                    </a:moveTo>
                    <a:lnTo>
                      <a:pt x="3" y="6"/>
                    </a:lnTo>
                    <a:lnTo>
                      <a:pt x="0" y="10"/>
                    </a:lnTo>
                    <a:lnTo>
                      <a:pt x="5" y="10"/>
                    </a:lnTo>
                    <a:lnTo>
                      <a:pt x="17" y="8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1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2" name="Freeform 70"/>
              <p:cNvSpPr>
                <a:spLocks/>
              </p:cNvSpPr>
              <p:nvPr/>
            </p:nvSpPr>
            <p:spPr bwMode="gray">
              <a:xfrm>
                <a:off x="5892547" y="2355851"/>
                <a:ext cx="17461" cy="19050"/>
              </a:xfrm>
              <a:custGeom>
                <a:avLst/>
                <a:gdLst>
                  <a:gd name="T0" fmla="*/ 6 w 11"/>
                  <a:gd name="T1" fmla="*/ 0 h 12"/>
                  <a:gd name="T2" fmla="*/ 4 w 11"/>
                  <a:gd name="T3" fmla="*/ 2 h 12"/>
                  <a:gd name="T4" fmla="*/ 0 w 11"/>
                  <a:gd name="T5" fmla="*/ 6 h 12"/>
                  <a:gd name="T6" fmla="*/ 2 w 11"/>
                  <a:gd name="T7" fmla="*/ 8 h 12"/>
                  <a:gd name="T8" fmla="*/ 4 w 11"/>
                  <a:gd name="T9" fmla="*/ 12 h 12"/>
                  <a:gd name="T10" fmla="*/ 8 w 11"/>
                  <a:gd name="T11" fmla="*/ 12 h 12"/>
                  <a:gd name="T12" fmla="*/ 9 w 11"/>
                  <a:gd name="T13" fmla="*/ 12 h 12"/>
                  <a:gd name="T14" fmla="*/ 11 w 11"/>
                  <a:gd name="T15" fmla="*/ 4 h 12"/>
                  <a:gd name="T16" fmla="*/ 6 w 11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2">
                    <a:moveTo>
                      <a:pt x="6" y="0"/>
                    </a:moveTo>
                    <a:lnTo>
                      <a:pt x="4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9" y="12"/>
                    </a:lnTo>
                    <a:lnTo>
                      <a:pt x="11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3" name="Freeform 71"/>
              <p:cNvSpPr>
                <a:spLocks/>
              </p:cNvSpPr>
              <p:nvPr/>
            </p:nvSpPr>
            <p:spPr bwMode="gray">
              <a:xfrm>
                <a:off x="6025882" y="2352676"/>
                <a:ext cx="12699" cy="15875"/>
              </a:xfrm>
              <a:custGeom>
                <a:avLst/>
                <a:gdLst>
                  <a:gd name="T0" fmla="*/ 8 w 8"/>
                  <a:gd name="T1" fmla="*/ 0 h 10"/>
                  <a:gd name="T2" fmla="*/ 6 w 8"/>
                  <a:gd name="T3" fmla="*/ 4 h 10"/>
                  <a:gd name="T4" fmla="*/ 4 w 8"/>
                  <a:gd name="T5" fmla="*/ 10 h 10"/>
                  <a:gd name="T6" fmla="*/ 0 w 8"/>
                  <a:gd name="T7" fmla="*/ 10 h 10"/>
                  <a:gd name="T8" fmla="*/ 0 w 8"/>
                  <a:gd name="T9" fmla="*/ 8 h 10"/>
                  <a:gd name="T10" fmla="*/ 4 w 8"/>
                  <a:gd name="T11" fmla="*/ 4 h 10"/>
                  <a:gd name="T12" fmla="*/ 8 w 8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6" y="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4" name="Freeform 72"/>
              <p:cNvSpPr>
                <a:spLocks/>
              </p:cNvSpPr>
              <p:nvPr/>
            </p:nvSpPr>
            <p:spPr bwMode="gray">
              <a:xfrm>
                <a:off x="5425874" y="2352676"/>
                <a:ext cx="9524" cy="6350"/>
              </a:xfrm>
              <a:custGeom>
                <a:avLst/>
                <a:gdLst>
                  <a:gd name="T0" fmla="*/ 2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0 w 6"/>
                  <a:gd name="T9" fmla="*/ 2 h 4"/>
                  <a:gd name="T10" fmla="*/ 0 w 6"/>
                  <a:gd name="T11" fmla="*/ 0 h 4"/>
                  <a:gd name="T12" fmla="*/ 2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5" name="Freeform 73"/>
              <p:cNvSpPr>
                <a:spLocks/>
              </p:cNvSpPr>
              <p:nvPr/>
            </p:nvSpPr>
            <p:spPr bwMode="gray">
              <a:xfrm>
                <a:off x="5411588" y="2349501"/>
                <a:ext cx="4762" cy="6350"/>
              </a:xfrm>
              <a:custGeom>
                <a:avLst/>
                <a:gdLst>
                  <a:gd name="T0" fmla="*/ 2 w 3"/>
                  <a:gd name="T1" fmla="*/ 0 h 4"/>
                  <a:gd name="T2" fmla="*/ 3 w 3"/>
                  <a:gd name="T3" fmla="*/ 0 h 4"/>
                  <a:gd name="T4" fmla="*/ 3 w 3"/>
                  <a:gd name="T5" fmla="*/ 2 h 4"/>
                  <a:gd name="T6" fmla="*/ 2 w 3"/>
                  <a:gd name="T7" fmla="*/ 2 h 4"/>
                  <a:gd name="T8" fmla="*/ 0 w 3"/>
                  <a:gd name="T9" fmla="*/ 4 h 4"/>
                  <a:gd name="T10" fmla="*/ 0 w 3"/>
                  <a:gd name="T11" fmla="*/ 0 h 4"/>
                  <a:gd name="T12" fmla="*/ 2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6" name="Freeform 74"/>
              <p:cNvSpPr>
                <a:spLocks/>
              </p:cNvSpPr>
              <p:nvPr/>
            </p:nvSpPr>
            <p:spPr bwMode="gray">
              <a:xfrm>
                <a:off x="5724291" y="2339976"/>
                <a:ext cx="15873" cy="19050"/>
              </a:xfrm>
              <a:custGeom>
                <a:avLst/>
                <a:gdLst>
                  <a:gd name="T0" fmla="*/ 2 w 10"/>
                  <a:gd name="T1" fmla="*/ 0 h 12"/>
                  <a:gd name="T2" fmla="*/ 0 w 10"/>
                  <a:gd name="T3" fmla="*/ 6 h 12"/>
                  <a:gd name="T4" fmla="*/ 0 w 10"/>
                  <a:gd name="T5" fmla="*/ 10 h 12"/>
                  <a:gd name="T6" fmla="*/ 0 w 10"/>
                  <a:gd name="T7" fmla="*/ 12 h 12"/>
                  <a:gd name="T8" fmla="*/ 2 w 10"/>
                  <a:gd name="T9" fmla="*/ 12 h 12"/>
                  <a:gd name="T10" fmla="*/ 6 w 10"/>
                  <a:gd name="T11" fmla="*/ 12 h 12"/>
                  <a:gd name="T12" fmla="*/ 10 w 10"/>
                  <a:gd name="T13" fmla="*/ 12 h 12"/>
                  <a:gd name="T14" fmla="*/ 10 w 10"/>
                  <a:gd name="T15" fmla="*/ 8 h 12"/>
                  <a:gd name="T16" fmla="*/ 10 w 10"/>
                  <a:gd name="T17" fmla="*/ 2 h 12"/>
                  <a:gd name="T18" fmla="*/ 6 w 10"/>
                  <a:gd name="T19" fmla="*/ 0 h 12"/>
                  <a:gd name="T20" fmla="*/ 2 w 10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2">
                    <a:moveTo>
                      <a:pt x="2" y="0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7" name="Freeform 75"/>
              <p:cNvSpPr>
                <a:spLocks/>
              </p:cNvSpPr>
              <p:nvPr/>
            </p:nvSpPr>
            <p:spPr bwMode="gray">
              <a:xfrm>
                <a:off x="6333823" y="2255839"/>
                <a:ext cx="55556" cy="39688"/>
              </a:xfrm>
              <a:custGeom>
                <a:avLst/>
                <a:gdLst>
                  <a:gd name="T0" fmla="*/ 31 w 35"/>
                  <a:gd name="T1" fmla="*/ 0 h 25"/>
                  <a:gd name="T2" fmla="*/ 35 w 35"/>
                  <a:gd name="T3" fmla="*/ 2 h 25"/>
                  <a:gd name="T4" fmla="*/ 35 w 35"/>
                  <a:gd name="T5" fmla="*/ 4 h 25"/>
                  <a:gd name="T6" fmla="*/ 35 w 35"/>
                  <a:gd name="T7" fmla="*/ 5 h 25"/>
                  <a:gd name="T8" fmla="*/ 33 w 35"/>
                  <a:gd name="T9" fmla="*/ 7 h 25"/>
                  <a:gd name="T10" fmla="*/ 27 w 35"/>
                  <a:gd name="T11" fmla="*/ 9 h 25"/>
                  <a:gd name="T12" fmla="*/ 21 w 35"/>
                  <a:gd name="T13" fmla="*/ 13 h 25"/>
                  <a:gd name="T14" fmla="*/ 14 w 35"/>
                  <a:gd name="T15" fmla="*/ 19 h 25"/>
                  <a:gd name="T16" fmla="*/ 8 w 35"/>
                  <a:gd name="T17" fmla="*/ 25 h 25"/>
                  <a:gd name="T18" fmla="*/ 8 w 35"/>
                  <a:gd name="T19" fmla="*/ 21 h 25"/>
                  <a:gd name="T20" fmla="*/ 4 w 35"/>
                  <a:gd name="T21" fmla="*/ 19 h 25"/>
                  <a:gd name="T22" fmla="*/ 0 w 35"/>
                  <a:gd name="T23" fmla="*/ 19 h 25"/>
                  <a:gd name="T24" fmla="*/ 2 w 35"/>
                  <a:gd name="T25" fmla="*/ 13 h 25"/>
                  <a:gd name="T26" fmla="*/ 2 w 35"/>
                  <a:gd name="T27" fmla="*/ 7 h 25"/>
                  <a:gd name="T28" fmla="*/ 6 w 35"/>
                  <a:gd name="T29" fmla="*/ 9 h 25"/>
                  <a:gd name="T30" fmla="*/ 6 w 35"/>
                  <a:gd name="T31" fmla="*/ 11 h 25"/>
                  <a:gd name="T32" fmla="*/ 14 w 35"/>
                  <a:gd name="T33" fmla="*/ 11 h 25"/>
                  <a:gd name="T34" fmla="*/ 19 w 35"/>
                  <a:gd name="T35" fmla="*/ 9 h 25"/>
                  <a:gd name="T36" fmla="*/ 25 w 35"/>
                  <a:gd name="T37" fmla="*/ 7 h 25"/>
                  <a:gd name="T38" fmla="*/ 31 w 35"/>
                  <a:gd name="T39" fmla="*/ 5 h 25"/>
                  <a:gd name="T40" fmla="*/ 29 w 35"/>
                  <a:gd name="T41" fmla="*/ 2 h 25"/>
                  <a:gd name="T42" fmla="*/ 31 w 35"/>
                  <a:gd name="T43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25">
                    <a:moveTo>
                      <a:pt x="31" y="0"/>
                    </a:moveTo>
                    <a:lnTo>
                      <a:pt x="35" y="2"/>
                    </a:lnTo>
                    <a:lnTo>
                      <a:pt x="35" y="4"/>
                    </a:lnTo>
                    <a:lnTo>
                      <a:pt x="35" y="5"/>
                    </a:lnTo>
                    <a:lnTo>
                      <a:pt x="33" y="7"/>
                    </a:lnTo>
                    <a:lnTo>
                      <a:pt x="27" y="9"/>
                    </a:lnTo>
                    <a:lnTo>
                      <a:pt x="21" y="13"/>
                    </a:lnTo>
                    <a:lnTo>
                      <a:pt x="14" y="19"/>
                    </a:lnTo>
                    <a:lnTo>
                      <a:pt x="8" y="25"/>
                    </a:lnTo>
                    <a:lnTo>
                      <a:pt x="8" y="21"/>
                    </a:lnTo>
                    <a:lnTo>
                      <a:pt x="4" y="19"/>
                    </a:lnTo>
                    <a:lnTo>
                      <a:pt x="0" y="19"/>
                    </a:lnTo>
                    <a:lnTo>
                      <a:pt x="2" y="13"/>
                    </a:lnTo>
                    <a:lnTo>
                      <a:pt x="2" y="7"/>
                    </a:lnTo>
                    <a:lnTo>
                      <a:pt x="6" y="9"/>
                    </a:lnTo>
                    <a:lnTo>
                      <a:pt x="6" y="11"/>
                    </a:lnTo>
                    <a:lnTo>
                      <a:pt x="14" y="11"/>
                    </a:lnTo>
                    <a:lnTo>
                      <a:pt x="19" y="9"/>
                    </a:lnTo>
                    <a:lnTo>
                      <a:pt x="25" y="7"/>
                    </a:lnTo>
                    <a:lnTo>
                      <a:pt x="31" y="5"/>
                    </a:lnTo>
                    <a:lnTo>
                      <a:pt x="29" y="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8" name="Freeform 76"/>
              <p:cNvSpPr>
                <a:spLocks/>
              </p:cNvSpPr>
              <p:nvPr/>
            </p:nvSpPr>
            <p:spPr bwMode="gray">
              <a:xfrm>
                <a:off x="6294140" y="2246314"/>
                <a:ext cx="9524" cy="15875"/>
              </a:xfrm>
              <a:custGeom>
                <a:avLst/>
                <a:gdLst>
                  <a:gd name="T0" fmla="*/ 4 w 6"/>
                  <a:gd name="T1" fmla="*/ 0 h 10"/>
                  <a:gd name="T2" fmla="*/ 4 w 6"/>
                  <a:gd name="T3" fmla="*/ 4 h 10"/>
                  <a:gd name="T4" fmla="*/ 6 w 6"/>
                  <a:gd name="T5" fmla="*/ 10 h 10"/>
                  <a:gd name="T6" fmla="*/ 2 w 6"/>
                  <a:gd name="T7" fmla="*/ 10 h 10"/>
                  <a:gd name="T8" fmla="*/ 0 w 6"/>
                  <a:gd name="T9" fmla="*/ 10 h 10"/>
                  <a:gd name="T10" fmla="*/ 2 w 6"/>
                  <a:gd name="T11" fmla="*/ 4 h 10"/>
                  <a:gd name="T12" fmla="*/ 4 w 6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0">
                    <a:moveTo>
                      <a:pt x="4" y="0"/>
                    </a:moveTo>
                    <a:lnTo>
                      <a:pt x="4" y="4"/>
                    </a:lnTo>
                    <a:lnTo>
                      <a:pt x="6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79" name="Freeform 77"/>
              <p:cNvSpPr>
                <a:spLocks/>
              </p:cNvSpPr>
              <p:nvPr/>
            </p:nvSpPr>
            <p:spPr bwMode="gray">
              <a:xfrm>
                <a:off x="5349682" y="2222501"/>
                <a:ext cx="317465" cy="252413"/>
              </a:xfrm>
              <a:custGeom>
                <a:avLst/>
                <a:gdLst>
                  <a:gd name="T0" fmla="*/ 177 w 200"/>
                  <a:gd name="T1" fmla="*/ 9 h 159"/>
                  <a:gd name="T2" fmla="*/ 161 w 200"/>
                  <a:gd name="T3" fmla="*/ 11 h 159"/>
                  <a:gd name="T4" fmla="*/ 142 w 200"/>
                  <a:gd name="T5" fmla="*/ 17 h 159"/>
                  <a:gd name="T6" fmla="*/ 137 w 200"/>
                  <a:gd name="T7" fmla="*/ 17 h 159"/>
                  <a:gd name="T8" fmla="*/ 127 w 200"/>
                  <a:gd name="T9" fmla="*/ 17 h 159"/>
                  <a:gd name="T10" fmla="*/ 119 w 200"/>
                  <a:gd name="T11" fmla="*/ 21 h 159"/>
                  <a:gd name="T12" fmla="*/ 96 w 200"/>
                  <a:gd name="T13" fmla="*/ 25 h 159"/>
                  <a:gd name="T14" fmla="*/ 89 w 200"/>
                  <a:gd name="T15" fmla="*/ 26 h 159"/>
                  <a:gd name="T16" fmla="*/ 71 w 200"/>
                  <a:gd name="T17" fmla="*/ 34 h 159"/>
                  <a:gd name="T18" fmla="*/ 62 w 200"/>
                  <a:gd name="T19" fmla="*/ 40 h 159"/>
                  <a:gd name="T20" fmla="*/ 50 w 200"/>
                  <a:gd name="T21" fmla="*/ 40 h 159"/>
                  <a:gd name="T22" fmla="*/ 54 w 200"/>
                  <a:gd name="T23" fmla="*/ 44 h 159"/>
                  <a:gd name="T24" fmla="*/ 50 w 200"/>
                  <a:gd name="T25" fmla="*/ 48 h 159"/>
                  <a:gd name="T26" fmla="*/ 44 w 200"/>
                  <a:gd name="T27" fmla="*/ 48 h 159"/>
                  <a:gd name="T28" fmla="*/ 41 w 200"/>
                  <a:gd name="T29" fmla="*/ 53 h 159"/>
                  <a:gd name="T30" fmla="*/ 39 w 200"/>
                  <a:gd name="T31" fmla="*/ 59 h 159"/>
                  <a:gd name="T32" fmla="*/ 27 w 200"/>
                  <a:gd name="T33" fmla="*/ 63 h 159"/>
                  <a:gd name="T34" fmla="*/ 18 w 200"/>
                  <a:gd name="T35" fmla="*/ 67 h 159"/>
                  <a:gd name="T36" fmla="*/ 27 w 200"/>
                  <a:gd name="T37" fmla="*/ 74 h 159"/>
                  <a:gd name="T38" fmla="*/ 27 w 200"/>
                  <a:gd name="T39" fmla="*/ 82 h 159"/>
                  <a:gd name="T40" fmla="*/ 25 w 200"/>
                  <a:gd name="T41" fmla="*/ 86 h 159"/>
                  <a:gd name="T42" fmla="*/ 12 w 200"/>
                  <a:gd name="T43" fmla="*/ 92 h 159"/>
                  <a:gd name="T44" fmla="*/ 14 w 200"/>
                  <a:gd name="T45" fmla="*/ 103 h 159"/>
                  <a:gd name="T46" fmla="*/ 12 w 200"/>
                  <a:gd name="T47" fmla="*/ 105 h 159"/>
                  <a:gd name="T48" fmla="*/ 14 w 200"/>
                  <a:gd name="T49" fmla="*/ 107 h 159"/>
                  <a:gd name="T50" fmla="*/ 10 w 200"/>
                  <a:gd name="T51" fmla="*/ 111 h 159"/>
                  <a:gd name="T52" fmla="*/ 0 w 200"/>
                  <a:gd name="T53" fmla="*/ 119 h 159"/>
                  <a:gd name="T54" fmla="*/ 4 w 200"/>
                  <a:gd name="T55" fmla="*/ 134 h 159"/>
                  <a:gd name="T56" fmla="*/ 14 w 200"/>
                  <a:gd name="T57" fmla="*/ 130 h 159"/>
                  <a:gd name="T58" fmla="*/ 18 w 200"/>
                  <a:gd name="T59" fmla="*/ 128 h 159"/>
                  <a:gd name="T60" fmla="*/ 25 w 200"/>
                  <a:gd name="T61" fmla="*/ 132 h 159"/>
                  <a:gd name="T62" fmla="*/ 35 w 200"/>
                  <a:gd name="T63" fmla="*/ 136 h 159"/>
                  <a:gd name="T64" fmla="*/ 29 w 200"/>
                  <a:gd name="T65" fmla="*/ 142 h 159"/>
                  <a:gd name="T66" fmla="*/ 27 w 200"/>
                  <a:gd name="T67" fmla="*/ 145 h 159"/>
                  <a:gd name="T68" fmla="*/ 29 w 200"/>
                  <a:gd name="T69" fmla="*/ 147 h 159"/>
                  <a:gd name="T70" fmla="*/ 31 w 200"/>
                  <a:gd name="T71" fmla="*/ 153 h 159"/>
                  <a:gd name="T72" fmla="*/ 44 w 200"/>
                  <a:gd name="T73" fmla="*/ 159 h 159"/>
                  <a:gd name="T74" fmla="*/ 50 w 200"/>
                  <a:gd name="T75" fmla="*/ 153 h 159"/>
                  <a:gd name="T76" fmla="*/ 66 w 200"/>
                  <a:gd name="T77" fmla="*/ 155 h 159"/>
                  <a:gd name="T78" fmla="*/ 62 w 200"/>
                  <a:gd name="T79" fmla="*/ 147 h 159"/>
                  <a:gd name="T80" fmla="*/ 69 w 200"/>
                  <a:gd name="T81" fmla="*/ 151 h 159"/>
                  <a:gd name="T82" fmla="*/ 81 w 200"/>
                  <a:gd name="T83" fmla="*/ 149 h 159"/>
                  <a:gd name="T84" fmla="*/ 71 w 200"/>
                  <a:gd name="T85" fmla="*/ 145 h 159"/>
                  <a:gd name="T86" fmla="*/ 60 w 200"/>
                  <a:gd name="T87" fmla="*/ 136 h 159"/>
                  <a:gd name="T88" fmla="*/ 50 w 200"/>
                  <a:gd name="T89" fmla="*/ 115 h 159"/>
                  <a:gd name="T90" fmla="*/ 54 w 200"/>
                  <a:gd name="T91" fmla="*/ 107 h 159"/>
                  <a:gd name="T92" fmla="*/ 60 w 200"/>
                  <a:gd name="T93" fmla="*/ 88 h 159"/>
                  <a:gd name="T94" fmla="*/ 58 w 200"/>
                  <a:gd name="T95" fmla="*/ 84 h 159"/>
                  <a:gd name="T96" fmla="*/ 64 w 200"/>
                  <a:gd name="T97" fmla="*/ 74 h 159"/>
                  <a:gd name="T98" fmla="*/ 69 w 200"/>
                  <a:gd name="T99" fmla="*/ 76 h 159"/>
                  <a:gd name="T100" fmla="*/ 69 w 200"/>
                  <a:gd name="T101" fmla="*/ 71 h 159"/>
                  <a:gd name="T102" fmla="*/ 73 w 200"/>
                  <a:gd name="T103" fmla="*/ 65 h 159"/>
                  <a:gd name="T104" fmla="*/ 83 w 200"/>
                  <a:gd name="T105" fmla="*/ 61 h 159"/>
                  <a:gd name="T106" fmla="*/ 89 w 200"/>
                  <a:gd name="T107" fmla="*/ 53 h 159"/>
                  <a:gd name="T108" fmla="*/ 112 w 200"/>
                  <a:gd name="T109" fmla="*/ 42 h 159"/>
                  <a:gd name="T110" fmla="*/ 137 w 200"/>
                  <a:gd name="T111" fmla="*/ 36 h 159"/>
                  <a:gd name="T112" fmla="*/ 148 w 200"/>
                  <a:gd name="T113" fmla="*/ 32 h 159"/>
                  <a:gd name="T114" fmla="*/ 158 w 200"/>
                  <a:gd name="T115" fmla="*/ 28 h 159"/>
                  <a:gd name="T116" fmla="*/ 198 w 200"/>
                  <a:gd name="T117" fmla="*/ 5 h 159"/>
                  <a:gd name="T118" fmla="*/ 188 w 200"/>
                  <a:gd name="T119" fmla="*/ 0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0" h="159">
                    <a:moveTo>
                      <a:pt x="188" y="0"/>
                    </a:moveTo>
                    <a:lnTo>
                      <a:pt x="183" y="3"/>
                    </a:lnTo>
                    <a:lnTo>
                      <a:pt x="177" y="9"/>
                    </a:lnTo>
                    <a:lnTo>
                      <a:pt x="175" y="7"/>
                    </a:lnTo>
                    <a:lnTo>
                      <a:pt x="171" y="7"/>
                    </a:lnTo>
                    <a:lnTo>
                      <a:pt x="161" y="11"/>
                    </a:lnTo>
                    <a:lnTo>
                      <a:pt x="154" y="17"/>
                    </a:lnTo>
                    <a:lnTo>
                      <a:pt x="148" y="17"/>
                    </a:lnTo>
                    <a:lnTo>
                      <a:pt x="142" y="17"/>
                    </a:lnTo>
                    <a:lnTo>
                      <a:pt x="140" y="19"/>
                    </a:lnTo>
                    <a:lnTo>
                      <a:pt x="137" y="21"/>
                    </a:lnTo>
                    <a:lnTo>
                      <a:pt x="137" y="17"/>
                    </a:lnTo>
                    <a:lnTo>
                      <a:pt x="135" y="17"/>
                    </a:lnTo>
                    <a:lnTo>
                      <a:pt x="131" y="19"/>
                    </a:lnTo>
                    <a:lnTo>
                      <a:pt x="127" y="17"/>
                    </a:lnTo>
                    <a:lnTo>
                      <a:pt x="119" y="15"/>
                    </a:lnTo>
                    <a:lnTo>
                      <a:pt x="119" y="17"/>
                    </a:lnTo>
                    <a:lnTo>
                      <a:pt x="119" y="21"/>
                    </a:lnTo>
                    <a:lnTo>
                      <a:pt x="110" y="21"/>
                    </a:lnTo>
                    <a:lnTo>
                      <a:pt x="98" y="23"/>
                    </a:lnTo>
                    <a:lnTo>
                      <a:pt x="96" y="25"/>
                    </a:lnTo>
                    <a:lnTo>
                      <a:pt x="96" y="26"/>
                    </a:lnTo>
                    <a:lnTo>
                      <a:pt x="92" y="26"/>
                    </a:lnTo>
                    <a:lnTo>
                      <a:pt x="89" y="26"/>
                    </a:lnTo>
                    <a:lnTo>
                      <a:pt x="85" y="30"/>
                    </a:lnTo>
                    <a:lnTo>
                      <a:pt x="81" y="34"/>
                    </a:lnTo>
                    <a:lnTo>
                      <a:pt x="71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2" y="40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0" y="40"/>
                    </a:lnTo>
                    <a:lnTo>
                      <a:pt x="50" y="42"/>
                    </a:lnTo>
                    <a:lnTo>
                      <a:pt x="52" y="42"/>
                    </a:lnTo>
                    <a:lnTo>
                      <a:pt x="54" y="44"/>
                    </a:lnTo>
                    <a:lnTo>
                      <a:pt x="50" y="46"/>
                    </a:lnTo>
                    <a:lnTo>
                      <a:pt x="50" y="48"/>
                    </a:lnTo>
                    <a:lnTo>
                      <a:pt x="50" y="48"/>
                    </a:lnTo>
                    <a:lnTo>
                      <a:pt x="52" y="49"/>
                    </a:lnTo>
                    <a:lnTo>
                      <a:pt x="48" y="49"/>
                    </a:lnTo>
                    <a:lnTo>
                      <a:pt x="44" y="48"/>
                    </a:lnTo>
                    <a:lnTo>
                      <a:pt x="42" y="51"/>
                    </a:lnTo>
                    <a:lnTo>
                      <a:pt x="41" y="55"/>
                    </a:lnTo>
                    <a:lnTo>
                      <a:pt x="41" y="53"/>
                    </a:lnTo>
                    <a:lnTo>
                      <a:pt x="39" y="53"/>
                    </a:lnTo>
                    <a:lnTo>
                      <a:pt x="39" y="55"/>
                    </a:lnTo>
                    <a:lnTo>
                      <a:pt x="39" y="59"/>
                    </a:lnTo>
                    <a:lnTo>
                      <a:pt x="35" y="59"/>
                    </a:lnTo>
                    <a:lnTo>
                      <a:pt x="29" y="61"/>
                    </a:lnTo>
                    <a:lnTo>
                      <a:pt x="27" y="63"/>
                    </a:lnTo>
                    <a:lnTo>
                      <a:pt x="25" y="67"/>
                    </a:lnTo>
                    <a:lnTo>
                      <a:pt x="21" y="67"/>
                    </a:lnTo>
                    <a:lnTo>
                      <a:pt x="18" y="67"/>
                    </a:lnTo>
                    <a:lnTo>
                      <a:pt x="18" y="71"/>
                    </a:lnTo>
                    <a:lnTo>
                      <a:pt x="23" y="73"/>
                    </a:lnTo>
                    <a:lnTo>
                      <a:pt x="27" y="74"/>
                    </a:lnTo>
                    <a:lnTo>
                      <a:pt x="27" y="76"/>
                    </a:lnTo>
                    <a:lnTo>
                      <a:pt x="23" y="80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4"/>
                    </a:lnTo>
                    <a:lnTo>
                      <a:pt x="25" y="86"/>
                    </a:lnTo>
                    <a:lnTo>
                      <a:pt x="23" y="88"/>
                    </a:lnTo>
                    <a:lnTo>
                      <a:pt x="16" y="90"/>
                    </a:lnTo>
                    <a:lnTo>
                      <a:pt x="12" y="92"/>
                    </a:lnTo>
                    <a:lnTo>
                      <a:pt x="14" y="97"/>
                    </a:lnTo>
                    <a:lnTo>
                      <a:pt x="14" y="101"/>
                    </a:lnTo>
                    <a:lnTo>
                      <a:pt x="14" y="103"/>
                    </a:lnTo>
                    <a:lnTo>
                      <a:pt x="12" y="103"/>
                    </a:lnTo>
                    <a:lnTo>
                      <a:pt x="12" y="105"/>
                    </a:lnTo>
                    <a:lnTo>
                      <a:pt x="12" y="105"/>
                    </a:lnTo>
                    <a:lnTo>
                      <a:pt x="12" y="105"/>
                    </a:lnTo>
                    <a:lnTo>
                      <a:pt x="14" y="105"/>
                    </a:lnTo>
                    <a:lnTo>
                      <a:pt x="14" y="107"/>
                    </a:lnTo>
                    <a:lnTo>
                      <a:pt x="12" y="107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12" y="115"/>
                    </a:lnTo>
                    <a:lnTo>
                      <a:pt x="4" y="117"/>
                    </a:lnTo>
                    <a:lnTo>
                      <a:pt x="0" y="119"/>
                    </a:lnTo>
                    <a:lnTo>
                      <a:pt x="0" y="124"/>
                    </a:lnTo>
                    <a:lnTo>
                      <a:pt x="2" y="134"/>
                    </a:lnTo>
                    <a:lnTo>
                      <a:pt x="4" y="134"/>
                    </a:lnTo>
                    <a:lnTo>
                      <a:pt x="8" y="134"/>
                    </a:lnTo>
                    <a:lnTo>
                      <a:pt x="10" y="128"/>
                    </a:lnTo>
                    <a:lnTo>
                      <a:pt x="14" y="130"/>
                    </a:lnTo>
                    <a:lnTo>
                      <a:pt x="16" y="132"/>
                    </a:lnTo>
                    <a:lnTo>
                      <a:pt x="18" y="130"/>
                    </a:lnTo>
                    <a:lnTo>
                      <a:pt x="18" y="128"/>
                    </a:lnTo>
                    <a:lnTo>
                      <a:pt x="21" y="128"/>
                    </a:lnTo>
                    <a:lnTo>
                      <a:pt x="25" y="128"/>
                    </a:lnTo>
                    <a:lnTo>
                      <a:pt x="25" y="132"/>
                    </a:lnTo>
                    <a:lnTo>
                      <a:pt x="25" y="138"/>
                    </a:lnTo>
                    <a:lnTo>
                      <a:pt x="31" y="138"/>
                    </a:lnTo>
                    <a:lnTo>
                      <a:pt x="35" y="136"/>
                    </a:lnTo>
                    <a:lnTo>
                      <a:pt x="35" y="138"/>
                    </a:lnTo>
                    <a:lnTo>
                      <a:pt x="35" y="142"/>
                    </a:lnTo>
                    <a:lnTo>
                      <a:pt x="29" y="142"/>
                    </a:lnTo>
                    <a:lnTo>
                      <a:pt x="25" y="144"/>
                    </a:lnTo>
                    <a:lnTo>
                      <a:pt x="25" y="147"/>
                    </a:lnTo>
                    <a:lnTo>
                      <a:pt x="27" y="145"/>
                    </a:lnTo>
                    <a:lnTo>
                      <a:pt x="29" y="145"/>
                    </a:lnTo>
                    <a:lnTo>
                      <a:pt x="29" y="147"/>
                    </a:lnTo>
                    <a:lnTo>
                      <a:pt x="29" y="147"/>
                    </a:lnTo>
                    <a:lnTo>
                      <a:pt x="25" y="151"/>
                    </a:lnTo>
                    <a:lnTo>
                      <a:pt x="23" y="153"/>
                    </a:lnTo>
                    <a:lnTo>
                      <a:pt x="31" y="153"/>
                    </a:lnTo>
                    <a:lnTo>
                      <a:pt x="39" y="153"/>
                    </a:lnTo>
                    <a:lnTo>
                      <a:pt x="41" y="155"/>
                    </a:lnTo>
                    <a:lnTo>
                      <a:pt x="44" y="159"/>
                    </a:lnTo>
                    <a:lnTo>
                      <a:pt x="46" y="155"/>
                    </a:lnTo>
                    <a:lnTo>
                      <a:pt x="48" y="151"/>
                    </a:lnTo>
                    <a:lnTo>
                      <a:pt x="50" y="153"/>
                    </a:lnTo>
                    <a:lnTo>
                      <a:pt x="52" y="155"/>
                    </a:lnTo>
                    <a:lnTo>
                      <a:pt x="60" y="155"/>
                    </a:lnTo>
                    <a:lnTo>
                      <a:pt x="66" y="155"/>
                    </a:lnTo>
                    <a:lnTo>
                      <a:pt x="64" y="153"/>
                    </a:lnTo>
                    <a:lnTo>
                      <a:pt x="64" y="151"/>
                    </a:lnTo>
                    <a:lnTo>
                      <a:pt x="62" y="147"/>
                    </a:lnTo>
                    <a:lnTo>
                      <a:pt x="64" y="147"/>
                    </a:lnTo>
                    <a:lnTo>
                      <a:pt x="67" y="147"/>
                    </a:lnTo>
                    <a:lnTo>
                      <a:pt x="69" y="151"/>
                    </a:lnTo>
                    <a:lnTo>
                      <a:pt x="73" y="151"/>
                    </a:lnTo>
                    <a:lnTo>
                      <a:pt x="77" y="149"/>
                    </a:lnTo>
                    <a:lnTo>
                      <a:pt x="81" y="149"/>
                    </a:lnTo>
                    <a:lnTo>
                      <a:pt x="81" y="145"/>
                    </a:lnTo>
                    <a:lnTo>
                      <a:pt x="75" y="145"/>
                    </a:lnTo>
                    <a:lnTo>
                      <a:pt x="71" y="145"/>
                    </a:lnTo>
                    <a:lnTo>
                      <a:pt x="67" y="144"/>
                    </a:lnTo>
                    <a:lnTo>
                      <a:pt x="64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2" y="122"/>
                    </a:lnTo>
                    <a:lnTo>
                      <a:pt x="50" y="115"/>
                    </a:lnTo>
                    <a:lnTo>
                      <a:pt x="52" y="113"/>
                    </a:lnTo>
                    <a:lnTo>
                      <a:pt x="56" y="111"/>
                    </a:lnTo>
                    <a:lnTo>
                      <a:pt x="54" y="107"/>
                    </a:lnTo>
                    <a:lnTo>
                      <a:pt x="52" y="105"/>
                    </a:lnTo>
                    <a:lnTo>
                      <a:pt x="60" y="92"/>
                    </a:lnTo>
                    <a:lnTo>
                      <a:pt x="60" y="88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8" y="84"/>
                    </a:lnTo>
                    <a:lnTo>
                      <a:pt x="64" y="84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6"/>
                    </a:lnTo>
                    <a:lnTo>
                      <a:pt x="69" y="76"/>
                    </a:lnTo>
                    <a:lnTo>
                      <a:pt x="71" y="74"/>
                    </a:lnTo>
                    <a:lnTo>
                      <a:pt x="69" y="73"/>
                    </a:lnTo>
                    <a:lnTo>
                      <a:pt x="69" y="71"/>
                    </a:lnTo>
                    <a:lnTo>
                      <a:pt x="71" y="71"/>
                    </a:lnTo>
                    <a:lnTo>
                      <a:pt x="75" y="71"/>
                    </a:lnTo>
                    <a:lnTo>
                      <a:pt x="73" y="65"/>
                    </a:lnTo>
                    <a:lnTo>
                      <a:pt x="75" y="61"/>
                    </a:lnTo>
                    <a:lnTo>
                      <a:pt x="81" y="65"/>
                    </a:lnTo>
                    <a:lnTo>
                      <a:pt x="83" y="61"/>
                    </a:lnTo>
                    <a:lnTo>
                      <a:pt x="85" y="57"/>
                    </a:lnTo>
                    <a:lnTo>
                      <a:pt x="89" y="57"/>
                    </a:lnTo>
                    <a:lnTo>
                      <a:pt x="89" y="53"/>
                    </a:lnTo>
                    <a:lnTo>
                      <a:pt x="92" y="48"/>
                    </a:lnTo>
                    <a:lnTo>
                      <a:pt x="108" y="48"/>
                    </a:lnTo>
                    <a:lnTo>
                      <a:pt x="112" y="42"/>
                    </a:lnTo>
                    <a:lnTo>
                      <a:pt x="115" y="38"/>
                    </a:lnTo>
                    <a:lnTo>
                      <a:pt x="125" y="36"/>
                    </a:lnTo>
                    <a:lnTo>
                      <a:pt x="137" y="36"/>
                    </a:lnTo>
                    <a:lnTo>
                      <a:pt x="140" y="32"/>
                    </a:lnTo>
                    <a:lnTo>
                      <a:pt x="146" y="30"/>
                    </a:lnTo>
                    <a:lnTo>
                      <a:pt x="148" y="32"/>
                    </a:lnTo>
                    <a:lnTo>
                      <a:pt x="150" y="34"/>
                    </a:lnTo>
                    <a:lnTo>
                      <a:pt x="154" y="30"/>
                    </a:lnTo>
                    <a:lnTo>
                      <a:pt x="158" y="28"/>
                    </a:lnTo>
                    <a:lnTo>
                      <a:pt x="181" y="23"/>
                    </a:lnTo>
                    <a:lnTo>
                      <a:pt x="200" y="15"/>
                    </a:lnTo>
                    <a:lnTo>
                      <a:pt x="198" y="5"/>
                    </a:lnTo>
                    <a:lnTo>
                      <a:pt x="196" y="0"/>
                    </a:lnTo>
                    <a:lnTo>
                      <a:pt x="192" y="0"/>
                    </a:lnTo>
                    <a:lnTo>
                      <a:pt x="188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0" name="Freeform 78"/>
              <p:cNvSpPr>
                <a:spLocks/>
              </p:cNvSpPr>
              <p:nvPr/>
            </p:nvSpPr>
            <p:spPr bwMode="gray">
              <a:xfrm>
                <a:off x="6300489" y="2109789"/>
                <a:ext cx="96827" cy="63500"/>
              </a:xfrm>
              <a:custGeom>
                <a:avLst/>
                <a:gdLst>
                  <a:gd name="T0" fmla="*/ 27 w 61"/>
                  <a:gd name="T1" fmla="*/ 0 h 40"/>
                  <a:gd name="T2" fmla="*/ 27 w 61"/>
                  <a:gd name="T3" fmla="*/ 3 h 40"/>
                  <a:gd name="T4" fmla="*/ 25 w 61"/>
                  <a:gd name="T5" fmla="*/ 3 h 40"/>
                  <a:gd name="T6" fmla="*/ 25 w 61"/>
                  <a:gd name="T7" fmla="*/ 1 h 40"/>
                  <a:gd name="T8" fmla="*/ 21 w 61"/>
                  <a:gd name="T9" fmla="*/ 1 h 40"/>
                  <a:gd name="T10" fmla="*/ 23 w 61"/>
                  <a:gd name="T11" fmla="*/ 3 h 40"/>
                  <a:gd name="T12" fmla="*/ 23 w 61"/>
                  <a:gd name="T13" fmla="*/ 5 h 40"/>
                  <a:gd name="T14" fmla="*/ 12 w 61"/>
                  <a:gd name="T15" fmla="*/ 23 h 40"/>
                  <a:gd name="T16" fmla="*/ 12 w 61"/>
                  <a:gd name="T17" fmla="*/ 26 h 40"/>
                  <a:gd name="T18" fmla="*/ 12 w 61"/>
                  <a:gd name="T19" fmla="*/ 30 h 40"/>
                  <a:gd name="T20" fmla="*/ 6 w 61"/>
                  <a:gd name="T21" fmla="*/ 34 h 40"/>
                  <a:gd name="T22" fmla="*/ 0 w 61"/>
                  <a:gd name="T23" fmla="*/ 40 h 40"/>
                  <a:gd name="T24" fmla="*/ 8 w 61"/>
                  <a:gd name="T25" fmla="*/ 40 h 40"/>
                  <a:gd name="T26" fmla="*/ 15 w 61"/>
                  <a:gd name="T27" fmla="*/ 38 h 40"/>
                  <a:gd name="T28" fmla="*/ 17 w 61"/>
                  <a:gd name="T29" fmla="*/ 34 h 40"/>
                  <a:gd name="T30" fmla="*/ 21 w 61"/>
                  <a:gd name="T31" fmla="*/ 30 h 40"/>
                  <a:gd name="T32" fmla="*/ 27 w 61"/>
                  <a:gd name="T33" fmla="*/ 32 h 40"/>
                  <a:gd name="T34" fmla="*/ 31 w 61"/>
                  <a:gd name="T35" fmla="*/ 34 h 40"/>
                  <a:gd name="T36" fmla="*/ 42 w 61"/>
                  <a:gd name="T37" fmla="*/ 32 h 40"/>
                  <a:gd name="T38" fmla="*/ 52 w 61"/>
                  <a:gd name="T39" fmla="*/ 28 h 40"/>
                  <a:gd name="T40" fmla="*/ 56 w 61"/>
                  <a:gd name="T41" fmla="*/ 28 h 40"/>
                  <a:gd name="T42" fmla="*/ 60 w 61"/>
                  <a:gd name="T43" fmla="*/ 28 h 40"/>
                  <a:gd name="T44" fmla="*/ 61 w 61"/>
                  <a:gd name="T45" fmla="*/ 25 h 40"/>
                  <a:gd name="T46" fmla="*/ 61 w 61"/>
                  <a:gd name="T47" fmla="*/ 21 h 40"/>
                  <a:gd name="T48" fmla="*/ 50 w 61"/>
                  <a:gd name="T49" fmla="*/ 13 h 40"/>
                  <a:gd name="T50" fmla="*/ 37 w 61"/>
                  <a:gd name="T51" fmla="*/ 5 h 40"/>
                  <a:gd name="T52" fmla="*/ 35 w 61"/>
                  <a:gd name="T53" fmla="*/ 7 h 40"/>
                  <a:gd name="T54" fmla="*/ 31 w 61"/>
                  <a:gd name="T55" fmla="*/ 9 h 40"/>
                  <a:gd name="T56" fmla="*/ 31 w 61"/>
                  <a:gd name="T57" fmla="*/ 5 h 40"/>
                  <a:gd name="T58" fmla="*/ 33 w 61"/>
                  <a:gd name="T59" fmla="*/ 1 h 40"/>
                  <a:gd name="T60" fmla="*/ 29 w 61"/>
                  <a:gd name="T61" fmla="*/ 0 h 40"/>
                  <a:gd name="T62" fmla="*/ 27 w 61"/>
                  <a:gd name="T6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1" h="40">
                    <a:moveTo>
                      <a:pt x="27" y="0"/>
                    </a:moveTo>
                    <a:lnTo>
                      <a:pt x="27" y="3"/>
                    </a:lnTo>
                    <a:lnTo>
                      <a:pt x="25" y="3"/>
                    </a:lnTo>
                    <a:lnTo>
                      <a:pt x="25" y="1"/>
                    </a:lnTo>
                    <a:lnTo>
                      <a:pt x="21" y="1"/>
                    </a:lnTo>
                    <a:lnTo>
                      <a:pt x="23" y="3"/>
                    </a:lnTo>
                    <a:lnTo>
                      <a:pt x="23" y="5"/>
                    </a:lnTo>
                    <a:lnTo>
                      <a:pt x="12" y="23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6" y="34"/>
                    </a:lnTo>
                    <a:lnTo>
                      <a:pt x="0" y="40"/>
                    </a:lnTo>
                    <a:lnTo>
                      <a:pt x="8" y="40"/>
                    </a:lnTo>
                    <a:lnTo>
                      <a:pt x="15" y="38"/>
                    </a:lnTo>
                    <a:lnTo>
                      <a:pt x="17" y="34"/>
                    </a:lnTo>
                    <a:lnTo>
                      <a:pt x="21" y="30"/>
                    </a:lnTo>
                    <a:lnTo>
                      <a:pt x="27" y="32"/>
                    </a:lnTo>
                    <a:lnTo>
                      <a:pt x="31" y="34"/>
                    </a:lnTo>
                    <a:lnTo>
                      <a:pt x="42" y="32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60" y="28"/>
                    </a:lnTo>
                    <a:lnTo>
                      <a:pt x="61" y="25"/>
                    </a:lnTo>
                    <a:lnTo>
                      <a:pt x="61" y="21"/>
                    </a:lnTo>
                    <a:lnTo>
                      <a:pt x="50" y="13"/>
                    </a:lnTo>
                    <a:lnTo>
                      <a:pt x="37" y="5"/>
                    </a:lnTo>
                    <a:lnTo>
                      <a:pt x="35" y="7"/>
                    </a:lnTo>
                    <a:lnTo>
                      <a:pt x="31" y="9"/>
                    </a:lnTo>
                    <a:lnTo>
                      <a:pt x="31" y="5"/>
                    </a:lnTo>
                    <a:lnTo>
                      <a:pt x="33" y="1"/>
                    </a:lnTo>
                    <a:lnTo>
                      <a:pt x="29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1" name="Freeform 79"/>
              <p:cNvSpPr>
                <a:spLocks/>
              </p:cNvSpPr>
              <p:nvPr/>
            </p:nvSpPr>
            <p:spPr bwMode="gray">
              <a:xfrm>
                <a:off x="6151281" y="2097089"/>
                <a:ext cx="39683" cy="26988"/>
              </a:xfrm>
              <a:custGeom>
                <a:avLst/>
                <a:gdLst>
                  <a:gd name="T0" fmla="*/ 2 w 25"/>
                  <a:gd name="T1" fmla="*/ 0 h 17"/>
                  <a:gd name="T2" fmla="*/ 0 w 25"/>
                  <a:gd name="T3" fmla="*/ 9 h 17"/>
                  <a:gd name="T4" fmla="*/ 0 w 25"/>
                  <a:gd name="T5" fmla="*/ 17 h 17"/>
                  <a:gd name="T6" fmla="*/ 12 w 25"/>
                  <a:gd name="T7" fmla="*/ 15 h 17"/>
                  <a:gd name="T8" fmla="*/ 25 w 25"/>
                  <a:gd name="T9" fmla="*/ 15 h 17"/>
                  <a:gd name="T10" fmla="*/ 25 w 25"/>
                  <a:gd name="T11" fmla="*/ 11 h 17"/>
                  <a:gd name="T12" fmla="*/ 25 w 25"/>
                  <a:gd name="T13" fmla="*/ 8 h 17"/>
                  <a:gd name="T14" fmla="*/ 15 w 25"/>
                  <a:gd name="T15" fmla="*/ 2 h 17"/>
                  <a:gd name="T16" fmla="*/ 2 w 25"/>
                  <a:gd name="T1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17">
                    <a:moveTo>
                      <a:pt x="2" y="0"/>
                    </a:moveTo>
                    <a:lnTo>
                      <a:pt x="0" y="9"/>
                    </a:lnTo>
                    <a:lnTo>
                      <a:pt x="0" y="17"/>
                    </a:lnTo>
                    <a:lnTo>
                      <a:pt x="12" y="15"/>
                    </a:lnTo>
                    <a:lnTo>
                      <a:pt x="25" y="15"/>
                    </a:lnTo>
                    <a:lnTo>
                      <a:pt x="25" y="11"/>
                    </a:lnTo>
                    <a:lnTo>
                      <a:pt x="25" y="8"/>
                    </a:lnTo>
                    <a:lnTo>
                      <a:pt x="15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2" name="Freeform 80"/>
              <p:cNvSpPr>
                <a:spLocks/>
              </p:cNvSpPr>
              <p:nvPr/>
            </p:nvSpPr>
            <p:spPr bwMode="gray">
              <a:xfrm>
                <a:off x="5346508" y="2093914"/>
                <a:ext cx="12699" cy="12700"/>
              </a:xfrm>
              <a:custGeom>
                <a:avLst/>
                <a:gdLst>
                  <a:gd name="T0" fmla="*/ 2 w 8"/>
                  <a:gd name="T1" fmla="*/ 0 h 8"/>
                  <a:gd name="T2" fmla="*/ 0 w 8"/>
                  <a:gd name="T3" fmla="*/ 2 h 8"/>
                  <a:gd name="T4" fmla="*/ 0 w 8"/>
                  <a:gd name="T5" fmla="*/ 6 h 8"/>
                  <a:gd name="T6" fmla="*/ 4 w 8"/>
                  <a:gd name="T7" fmla="*/ 6 h 8"/>
                  <a:gd name="T8" fmla="*/ 8 w 8"/>
                  <a:gd name="T9" fmla="*/ 8 h 8"/>
                  <a:gd name="T10" fmla="*/ 6 w 8"/>
                  <a:gd name="T11" fmla="*/ 4 h 8"/>
                  <a:gd name="T12" fmla="*/ 6 w 8"/>
                  <a:gd name="T13" fmla="*/ 2 h 8"/>
                  <a:gd name="T14" fmla="*/ 4 w 8"/>
                  <a:gd name="T15" fmla="*/ 0 h 8"/>
                  <a:gd name="T16" fmla="*/ 2 w 8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8">
                    <a:moveTo>
                      <a:pt x="2" y="0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3" name="Freeform 81"/>
              <p:cNvSpPr>
                <a:spLocks/>
              </p:cNvSpPr>
              <p:nvPr/>
            </p:nvSpPr>
            <p:spPr bwMode="gray">
              <a:xfrm>
                <a:off x="5502065" y="2090739"/>
                <a:ext cx="15873" cy="19050"/>
              </a:xfrm>
              <a:custGeom>
                <a:avLst/>
                <a:gdLst>
                  <a:gd name="T0" fmla="*/ 4 w 10"/>
                  <a:gd name="T1" fmla="*/ 0 h 12"/>
                  <a:gd name="T2" fmla="*/ 0 w 10"/>
                  <a:gd name="T3" fmla="*/ 4 h 12"/>
                  <a:gd name="T4" fmla="*/ 0 w 10"/>
                  <a:gd name="T5" fmla="*/ 6 h 12"/>
                  <a:gd name="T6" fmla="*/ 2 w 10"/>
                  <a:gd name="T7" fmla="*/ 8 h 12"/>
                  <a:gd name="T8" fmla="*/ 8 w 10"/>
                  <a:gd name="T9" fmla="*/ 12 h 12"/>
                  <a:gd name="T10" fmla="*/ 10 w 10"/>
                  <a:gd name="T11" fmla="*/ 2 h 12"/>
                  <a:gd name="T12" fmla="*/ 4 w 1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4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8" y="12"/>
                    </a:lnTo>
                    <a:lnTo>
                      <a:pt x="1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4" name="Freeform 82"/>
              <p:cNvSpPr>
                <a:spLocks/>
              </p:cNvSpPr>
              <p:nvPr/>
            </p:nvSpPr>
            <p:spPr bwMode="gray">
              <a:xfrm>
                <a:off x="5322698" y="2087564"/>
                <a:ext cx="15873" cy="9525"/>
              </a:xfrm>
              <a:custGeom>
                <a:avLst/>
                <a:gdLst>
                  <a:gd name="T0" fmla="*/ 4 w 10"/>
                  <a:gd name="T1" fmla="*/ 0 h 6"/>
                  <a:gd name="T2" fmla="*/ 4 w 10"/>
                  <a:gd name="T3" fmla="*/ 2 h 6"/>
                  <a:gd name="T4" fmla="*/ 0 w 10"/>
                  <a:gd name="T5" fmla="*/ 2 h 6"/>
                  <a:gd name="T6" fmla="*/ 2 w 10"/>
                  <a:gd name="T7" fmla="*/ 4 h 6"/>
                  <a:gd name="T8" fmla="*/ 2 w 10"/>
                  <a:gd name="T9" fmla="*/ 6 h 6"/>
                  <a:gd name="T10" fmla="*/ 6 w 10"/>
                  <a:gd name="T11" fmla="*/ 6 h 6"/>
                  <a:gd name="T12" fmla="*/ 10 w 10"/>
                  <a:gd name="T13" fmla="*/ 6 h 6"/>
                  <a:gd name="T14" fmla="*/ 8 w 10"/>
                  <a:gd name="T15" fmla="*/ 2 h 6"/>
                  <a:gd name="T16" fmla="*/ 6 w 10"/>
                  <a:gd name="T17" fmla="*/ 0 h 6"/>
                  <a:gd name="T18" fmla="*/ 4 w 10"/>
                  <a:gd name="T1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6">
                    <a:moveTo>
                      <a:pt x="4" y="0"/>
                    </a:moveTo>
                    <a:lnTo>
                      <a:pt x="4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5" name="Freeform 83"/>
              <p:cNvSpPr>
                <a:spLocks/>
              </p:cNvSpPr>
              <p:nvPr/>
            </p:nvSpPr>
            <p:spPr bwMode="gray">
              <a:xfrm>
                <a:off x="5422699" y="2078039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6" name="Freeform 84"/>
              <p:cNvSpPr>
                <a:spLocks/>
              </p:cNvSpPr>
              <p:nvPr/>
            </p:nvSpPr>
            <p:spPr bwMode="gray">
              <a:xfrm>
                <a:off x="5451271" y="2074864"/>
                <a:ext cx="20635" cy="19050"/>
              </a:xfrm>
              <a:custGeom>
                <a:avLst/>
                <a:gdLst>
                  <a:gd name="T0" fmla="*/ 7 w 13"/>
                  <a:gd name="T1" fmla="*/ 0 h 12"/>
                  <a:gd name="T2" fmla="*/ 3 w 13"/>
                  <a:gd name="T3" fmla="*/ 0 h 12"/>
                  <a:gd name="T4" fmla="*/ 2 w 13"/>
                  <a:gd name="T5" fmla="*/ 2 h 12"/>
                  <a:gd name="T6" fmla="*/ 0 w 13"/>
                  <a:gd name="T7" fmla="*/ 6 h 12"/>
                  <a:gd name="T8" fmla="*/ 0 w 13"/>
                  <a:gd name="T9" fmla="*/ 8 h 12"/>
                  <a:gd name="T10" fmla="*/ 2 w 13"/>
                  <a:gd name="T11" fmla="*/ 10 h 12"/>
                  <a:gd name="T12" fmla="*/ 3 w 13"/>
                  <a:gd name="T13" fmla="*/ 10 h 12"/>
                  <a:gd name="T14" fmla="*/ 7 w 13"/>
                  <a:gd name="T15" fmla="*/ 12 h 12"/>
                  <a:gd name="T16" fmla="*/ 11 w 13"/>
                  <a:gd name="T17" fmla="*/ 12 h 12"/>
                  <a:gd name="T18" fmla="*/ 13 w 13"/>
                  <a:gd name="T19" fmla="*/ 8 h 12"/>
                  <a:gd name="T20" fmla="*/ 11 w 13"/>
                  <a:gd name="T21" fmla="*/ 6 h 12"/>
                  <a:gd name="T22" fmla="*/ 13 w 13"/>
                  <a:gd name="T23" fmla="*/ 6 h 12"/>
                  <a:gd name="T24" fmla="*/ 13 w 13"/>
                  <a:gd name="T25" fmla="*/ 4 h 12"/>
                  <a:gd name="T26" fmla="*/ 13 w 13"/>
                  <a:gd name="T27" fmla="*/ 2 h 12"/>
                  <a:gd name="T28" fmla="*/ 11 w 13"/>
                  <a:gd name="T29" fmla="*/ 0 h 12"/>
                  <a:gd name="T30" fmla="*/ 7 w 13"/>
                  <a:gd name="T3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" h="12">
                    <a:moveTo>
                      <a:pt x="7" y="0"/>
                    </a:moveTo>
                    <a:lnTo>
                      <a:pt x="3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10"/>
                    </a:lnTo>
                    <a:lnTo>
                      <a:pt x="7" y="12"/>
                    </a:lnTo>
                    <a:lnTo>
                      <a:pt x="11" y="12"/>
                    </a:lnTo>
                    <a:lnTo>
                      <a:pt x="13" y="8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1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7" name="Freeform 85"/>
              <p:cNvSpPr>
                <a:spLocks/>
              </p:cNvSpPr>
              <p:nvPr/>
            </p:nvSpPr>
            <p:spPr bwMode="gray">
              <a:xfrm>
                <a:off x="5371905" y="2073276"/>
                <a:ext cx="26984" cy="14288"/>
              </a:xfrm>
              <a:custGeom>
                <a:avLst/>
                <a:gdLst>
                  <a:gd name="T0" fmla="*/ 7 w 17"/>
                  <a:gd name="T1" fmla="*/ 0 h 9"/>
                  <a:gd name="T2" fmla="*/ 4 w 17"/>
                  <a:gd name="T3" fmla="*/ 1 h 9"/>
                  <a:gd name="T4" fmla="*/ 0 w 17"/>
                  <a:gd name="T5" fmla="*/ 3 h 9"/>
                  <a:gd name="T6" fmla="*/ 0 w 17"/>
                  <a:gd name="T7" fmla="*/ 5 h 9"/>
                  <a:gd name="T8" fmla="*/ 2 w 17"/>
                  <a:gd name="T9" fmla="*/ 5 h 9"/>
                  <a:gd name="T10" fmla="*/ 7 w 17"/>
                  <a:gd name="T11" fmla="*/ 7 h 9"/>
                  <a:gd name="T12" fmla="*/ 15 w 17"/>
                  <a:gd name="T13" fmla="*/ 9 h 9"/>
                  <a:gd name="T14" fmla="*/ 17 w 17"/>
                  <a:gd name="T15" fmla="*/ 3 h 9"/>
                  <a:gd name="T16" fmla="*/ 11 w 17"/>
                  <a:gd name="T17" fmla="*/ 1 h 9"/>
                  <a:gd name="T18" fmla="*/ 7 w 17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9">
                    <a:moveTo>
                      <a:pt x="7" y="0"/>
                    </a:moveTo>
                    <a:lnTo>
                      <a:pt x="4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7" y="7"/>
                    </a:lnTo>
                    <a:lnTo>
                      <a:pt x="15" y="9"/>
                    </a:lnTo>
                    <a:lnTo>
                      <a:pt x="17" y="3"/>
                    </a:lnTo>
                    <a:lnTo>
                      <a:pt x="11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8" name="Freeform 86"/>
              <p:cNvSpPr>
                <a:spLocks/>
              </p:cNvSpPr>
              <p:nvPr/>
            </p:nvSpPr>
            <p:spPr bwMode="gray">
              <a:xfrm>
                <a:off x="5478256" y="2066926"/>
                <a:ext cx="23810" cy="20638"/>
              </a:xfrm>
              <a:custGeom>
                <a:avLst/>
                <a:gdLst>
                  <a:gd name="T0" fmla="*/ 0 w 15"/>
                  <a:gd name="T1" fmla="*/ 0 h 13"/>
                  <a:gd name="T2" fmla="*/ 0 w 15"/>
                  <a:gd name="T3" fmla="*/ 5 h 13"/>
                  <a:gd name="T4" fmla="*/ 0 w 15"/>
                  <a:gd name="T5" fmla="*/ 13 h 13"/>
                  <a:gd name="T6" fmla="*/ 4 w 15"/>
                  <a:gd name="T7" fmla="*/ 13 h 13"/>
                  <a:gd name="T8" fmla="*/ 8 w 15"/>
                  <a:gd name="T9" fmla="*/ 13 h 13"/>
                  <a:gd name="T10" fmla="*/ 9 w 15"/>
                  <a:gd name="T11" fmla="*/ 11 h 13"/>
                  <a:gd name="T12" fmla="*/ 9 w 15"/>
                  <a:gd name="T13" fmla="*/ 7 h 13"/>
                  <a:gd name="T14" fmla="*/ 13 w 15"/>
                  <a:gd name="T15" fmla="*/ 5 h 13"/>
                  <a:gd name="T16" fmla="*/ 15 w 15"/>
                  <a:gd name="T17" fmla="*/ 5 h 13"/>
                  <a:gd name="T18" fmla="*/ 15 w 15"/>
                  <a:gd name="T19" fmla="*/ 4 h 13"/>
                  <a:gd name="T20" fmla="*/ 13 w 15"/>
                  <a:gd name="T21" fmla="*/ 4 h 13"/>
                  <a:gd name="T22" fmla="*/ 6 w 15"/>
                  <a:gd name="T23" fmla="*/ 2 h 13"/>
                  <a:gd name="T24" fmla="*/ 0 w 15"/>
                  <a:gd name="T2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13">
                    <a:moveTo>
                      <a:pt x="0" y="0"/>
                    </a:moveTo>
                    <a:lnTo>
                      <a:pt x="0" y="5"/>
                    </a:lnTo>
                    <a:lnTo>
                      <a:pt x="0" y="13"/>
                    </a:lnTo>
                    <a:lnTo>
                      <a:pt x="4" y="13"/>
                    </a:lnTo>
                    <a:lnTo>
                      <a:pt x="8" y="13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3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89" name="Freeform 87"/>
              <p:cNvSpPr>
                <a:spLocks/>
              </p:cNvSpPr>
              <p:nvPr/>
            </p:nvSpPr>
            <p:spPr bwMode="gray">
              <a:xfrm>
                <a:off x="5402064" y="2066926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0" name="Freeform 88"/>
              <p:cNvSpPr>
                <a:spLocks/>
              </p:cNvSpPr>
              <p:nvPr/>
            </p:nvSpPr>
            <p:spPr bwMode="gray">
              <a:xfrm>
                <a:off x="5173490" y="2054226"/>
                <a:ext cx="179368" cy="42863"/>
              </a:xfrm>
              <a:custGeom>
                <a:avLst/>
                <a:gdLst>
                  <a:gd name="T0" fmla="*/ 61 w 113"/>
                  <a:gd name="T1" fmla="*/ 0 h 27"/>
                  <a:gd name="T2" fmla="*/ 58 w 113"/>
                  <a:gd name="T3" fmla="*/ 4 h 27"/>
                  <a:gd name="T4" fmla="*/ 44 w 113"/>
                  <a:gd name="T5" fmla="*/ 4 h 27"/>
                  <a:gd name="T6" fmla="*/ 33 w 113"/>
                  <a:gd name="T7" fmla="*/ 2 h 27"/>
                  <a:gd name="T8" fmla="*/ 23 w 113"/>
                  <a:gd name="T9" fmla="*/ 6 h 27"/>
                  <a:gd name="T10" fmla="*/ 15 w 113"/>
                  <a:gd name="T11" fmla="*/ 10 h 27"/>
                  <a:gd name="T12" fmla="*/ 11 w 113"/>
                  <a:gd name="T13" fmla="*/ 8 h 27"/>
                  <a:gd name="T14" fmla="*/ 8 w 113"/>
                  <a:gd name="T15" fmla="*/ 8 h 27"/>
                  <a:gd name="T16" fmla="*/ 4 w 113"/>
                  <a:gd name="T17" fmla="*/ 12 h 27"/>
                  <a:gd name="T18" fmla="*/ 0 w 113"/>
                  <a:gd name="T19" fmla="*/ 17 h 27"/>
                  <a:gd name="T20" fmla="*/ 6 w 113"/>
                  <a:gd name="T21" fmla="*/ 17 h 27"/>
                  <a:gd name="T22" fmla="*/ 13 w 113"/>
                  <a:gd name="T23" fmla="*/ 17 h 27"/>
                  <a:gd name="T24" fmla="*/ 13 w 113"/>
                  <a:gd name="T25" fmla="*/ 19 h 27"/>
                  <a:gd name="T26" fmla="*/ 23 w 113"/>
                  <a:gd name="T27" fmla="*/ 17 h 27"/>
                  <a:gd name="T28" fmla="*/ 33 w 113"/>
                  <a:gd name="T29" fmla="*/ 15 h 27"/>
                  <a:gd name="T30" fmla="*/ 35 w 113"/>
                  <a:gd name="T31" fmla="*/ 19 h 27"/>
                  <a:gd name="T32" fmla="*/ 40 w 113"/>
                  <a:gd name="T33" fmla="*/ 17 h 27"/>
                  <a:gd name="T34" fmla="*/ 42 w 113"/>
                  <a:gd name="T35" fmla="*/ 15 h 27"/>
                  <a:gd name="T36" fmla="*/ 44 w 113"/>
                  <a:gd name="T37" fmla="*/ 12 h 27"/>
                  <a:gd name="T38" fmla="*/ 48 w 113"/>
                  <a:gd name="T39" fmla="*/ 10 h 27"/>
                  <a:gd name="T40" fmla="*/ 54 w 113"/>
                  <a:gd name="T41" fmla="*/ 12 h 27"/>
                  <a:gd name="T42" fmla="*/ 56 w 113"/>
                  <a:gd name="T43" fmla="*/ 13 h 27"/>
                  <a:gd name="T44" fmla="*/ 59 w 113"/>
                  <a:gd name="T45" fmla="*/ 13 h 27"/>
                  <a:gd name="T46" fmla="*/ 63 w 113"/>
                  <a:gd name="T47" fmla="*/ 15 h 27"/>
                  <a:gd name="T48" fmla="*/ 61 w 113"/>
                  <a:gd name="T49" fmla="*/ 17 h 27"/>
                  <a:gd name="T50" fmla="*/ 59 w 113"/>
                  <a:gd name="T51" fmla="*/ 21 h 27"/>
                  <a:gd name="T52" fmla="*/ 63 w 113"/>
                  <a:gd name="T53" fmla="*/ 21 h 27"/>
                  <a:gd name="T54" fmla="*/ 67 w 113"/>
                  <a:gd name="T55" fmla="*/ 23 h 27"/>
                  <a:gd name="T56" fmla="*/ 69 w 113"/>
                  <a:gd name="T57" fmla="*/ 27 h 27"/>
                  <a:gd name="T58" fmla="*/ 77 w 113"/>
                  <a:gd name="T59" fmla="*/ 23 h 27"/>
                  <a:gd name="T60" fmla="*/ 86 w 113"/>
                  <a:gd name="T61" fmla="*/ 17 h 27"/>
                  <a:gd name="T62" fmla="*/ 90 w 113"/>
                  <a:gd name="T63" fmla="*/ 17 h 27"/>
                  <a:gd name="T64" fmla="*/ 98 w 113"/>
                  <a:gd name="T65" fmla="*/ 19 h 27"/>
                  <a:gd name="T66" fmla="*/ 98 w 113"/>
                  <a:gd name="T67" fmla="*/ 15 h 27"/>
                  <a:gd name="T68" fmla="*/ 106 w 113"/>
                  <a:gd name="T69" fmla="*/ 13 h 27"/>
                  <a:gd name="T70" fmla="*/ 113 w 113"/>
                  <a:gd name="T71" fmla="*/ 13 h 27"/>
                  <a:gd name="T72" fmla="*/ 113 w 113"/>
                  <a:gd name="T73" fmla="*/ 10 h 27"/>
                  <a:gd name="T74" fmla="*/ 113 w 113"/>
                  <a:gd name="T75" fmla="*/ 6 h 27"/>
                  <a:gd name="T76" fmla="*/ 107 w 113"/>
                  <a:gd name="T77" fmla="*/ 8 h 27"/>
                  <a:gd name="T78" fmla="*/ 106 w 113"/>
                  <a:gd name="T79" fmla="*/ 8 h 27"/>
                  <a:gd name="T80" fmla="*/ 106 w 113"/>
                  <a:gd name="T81" fmla="*/ 6 h 27"/>
                  <a:gd name="T82" fmla="*/ 107 w 113"/>
                  <a:gd name="T83" fmla="*/ 4 h 27"/>
                  <a:gd name="T84" fmla="*/ 98 w 113"/>
                  <a:gd name="T85" fmla="*/ 4 h 27"/>
                  <a:gd name="T86" fmla="*/ 94 w 113"/>
                  <a:gd name="T87" fmla="*/ 4 h 27"/>
                  <a:gd name="T88" fmla="*/ 96 w 113"/>
                  <a:gd name="T89" fmla="*/ 4 h 27"/>
                  <a:gd name="T90" fmla="*/ 96 w 113"/>
                  <a:gd name="T91" fmla="*/ 6 h 27"/>
                  <a:gd name="T92" fmla="*/ 96 w 113"/>
                  <a:gd name="T93" fmla="*/ 8 h 27"/>
                  <a:gd name="T94" fmla="*/ 94 w 113"/>
                  <a:gd name="T95" fmla="*/ 10 h 27"/>
                  <a:gd name="T96" fmla="*/ 84 w 113"/>
                  <a:gd name="T97" fmla="*/ 12 h 27"/>
                  <a:gd name="T98" fmla="*/ 77 w 113"/>
                  <a:gd name="T99" fmla="*/ 12 h 27"/>
                  <a:gd name="T100" fmla="*/ 67 w 113"/>
                  <a:gd name="T101" fmla="*/ 10 h 27"/>
                  <a:gd name="T102" fmla="*/ 58 w 113"/>
                  <a:gd name="T103" fmla="*/ 10 h 27"/>
                  <a:gd name="T104" fmla="*/ 77 w 113"/>
                  <a:gd name="T105" fmla="*/ 8 h 27"/>
                  <a:gd name="T106" fmla="*/ 84 w 113"/>
                  <a:gd name="T107" fmla="*/ 8 h 27"/>
                  <a:gd name="T108" fmla="*/ 81 w 113"/>
                  <a:gd name="T109" fmla="*/ 6 h 27"/>
                  <a:gd name="T110" fmla="*/ 77 w 113"/>
                  <a:gd name="T111" fmla="*/ 6 h 27"/>
                  <a:gd name="T112" fmla="*/ 69 w 113"/>
                  <a:gd name="T113" fmla="*/ 2 h 27"/>
                  <a:gd name="T114" fmla="*/ 61 w 113"/>
                  <a:gd name="T1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3" h="27">
                    <a:moveTo>
                      <a:pt x="61" y="0"/>
                    </a:moveTo>
                    <a:lnTo>
                      <a:pt x="58" y="4"/>
                    </a:lnTo>
                    <a:lnTo>
                      <a:pt x="44" y="4"/>
                    </a:lnTo>
                    <a:lnTo>
                      <a:pt x="33" y="2"/>
                    </a:lnTo>
                    <a:lnTo>
                      <a:pt x="23" y="6"/>
                    </a:lnTo>
                    <a:lnTo>
                      <a:pt x="15" y="10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4" y="12"/>
                    </a:lnTo>
                    <a:lnTo>
                      <a:pt x="0" y="17"/>
                    </a:lnTo>
                    <a:lnTo>
                      <a:pt x="6" y="17"/>
                    </a:lnTo>
                    <a:lnTo>
                      <a:pt x="13" y="17"/>
                    </a:lnTo>
                    <a:lnTo>
                      <a:pt x="13" y="19"/>
                    </a:lnTo>
                    <a:lnTo>
                      <a:pt x="23" y="17"/>
                    </a:lnTo>
                    <a:lnTo>
                      <a:pt x="33" y="15"/>
                    </a:lnTo>
                    <a:lnTo>
                      <a:pt x="35" y="19"/>
                    </a:lnTo>
                    <a:lnTo>
                      <a:pt x="40" y="17"/>
                    </a:lnTo>
                    <a:lnTo>
                      <a:pt x="42" y="15"/>
                    </a:lnTo>
                    <a:lnTo>
                      <a:pt x="44" y="12"/>
                    </a:lnTo>
                    <a:lnTo>
                      <a:pt x="48" y="10"/>
                    </a:lnTo>
                    <a:lnTo>
                      <a:pt x="54" y="12"/>
                    </a:lnTo>
                    <a:lnTo>
                      <a:pt x="56" y="13"/>
                    </a:lnTo>
                    <a:lnTo>
                      <a:pt x="59" y="13"/>
                    </a:lnTo>
                    <a:lnTo>
                      <a:pt x="63" y="15"/>
                    </a:lnTo>
                    <a:lnTo>
                      <a:pt x="61" y="17"/>
                    </a:lnTo>
                    <a:lnTo>
                      <a:pt x="59" y="21"/>
                    </a:lnTo>
                    <a:lnTo>
                      <a:pt x="63" y="21"/>
                    </a:lnTo>
                    <a:lnTo>
                      <a:pt x="67" y="23"/>
                    </a:lnTo>
                    <a:lnTo>
                      <a:pt x="69" y="27"/>
                    </a:lnTo>
                    <a:lnTo>
                      <a:pt x="77" y="23"/>
                    </a:lnTo>
                    <a:lnTo>
                      <a:pt x="86" y="17"/>
                    </a:lnTo>
                    <a:lnTo>
                      <a:pt x="90" y="17"/>
                    </a:lnTo>
                    <a:lnTo>
                      <a:pt x="98" y="19"/>
                    </a:lnTo>
                    <a:lnTo>
                      <a:pt x="98" y="15"/>
                    </a:lnTo>
                    <a:lnTo>
                      <a:pt x="106" y="13"/>
                    </a:lnTo>
                    <a:lnTo>
                      <a:pt x="113" y="13"/>
                    </a:lnTo>
                    <a:lnTo>
                      <a:pt x="113" y="10"/>
                    </a:lnTo>
                    <a:lnTo>
                      <a:pt x="113" y="6"/>
                    </a:lnTo>
                    <a:lnTo>
                      <a:pt x="107" y="8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7" y="4"/>
                    </a:lnTo>
                    <a:lnTo>
                      <a:pt x="98" y="4"/>
                    </a:lnTo>
                    <a:lnTo>
                      <a:pt x="94" y="4"/>
                    </a:lnTo>
                    <a:lnTo>
                      <a:pt x="96" y="4"/>
                    </a:lnTo>
                    <a:lnTo>
                      <a:pt x="96" y="6"/>
                    </a:lnTo>
                    <a:lnTo>
                      <a:pt x="96" y="8"/>
                    </a:lnTo>
                    <a:lnTo>
                      <a:pt x="94" y="10"/>
                    </a:lnTo>
                    <a:lnTo>
                      <a:pt x="84" y="12"/>
                    </a:lnTo>
                    <a:lnTo>
                      <a:pt x="77" y="12"/>
                    </a:lnTo>
                    <a:lnTo>
                      <a:pt x="67" y="10"/>
                    </a:lnTo>
                    <a:lnTo>
                      <a:pt x="58" y="10"/>
                    </a:lnTo>
                    <a:lnTo>
                      <a:pt x="77" y="8"/>
                    </a:lnTo>
                    <a:lnTo>
                      <a:pt x="84" y="8"/>
                    </a:lnTo>
                    <a:lnTo>
                      <a:pt x="81" y="6"/>
                    </a:lnTo>
                    <a:lnTo>
                      <a:pt x="77" y="6"/>
                    </a:lnTo>
                    <a:lnTo>
                      <a:pt x="69" y="2"/>
                    </a:lnTo>
                    <a:lnTo>
                      <a:pt x="6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1" name="Freeform 89"/>
              <p:cNvSpPr>
                <a:spLocks/>
              </p:cNvSpPr>
              <p:nvPr/>
            </p:nvSpPr>
            <p:spPr bwMode="gray">
              <a:xfrm>
                <a:off x="5517939" y="2051051"/>
                <a:ext cx="42858" cy="33338"/>
              </a:xfrm>
              <a:custGeom>
                <a:avLst/>
                <a:gdLst>
                  <a:gd name="T0" fmla="*/ 9 w 27"/>
                  <a:gd name="T1" fmla="*/ 0 h 21"/>
                  <a:gd name="T2" fmla="*/ 4 w 27"/>
                  <a:gd name="T3" fmla="*/ 4 h 21"/>
                  <a:gd name="T4" fmla="*/ 2 w 27"/>
                  <a:gd name="T5" fmla="*/ 8 h 21"/>
                  <a:gd name="T6" fmla="*/ 0 w 27"/>
                  <a:gd name="T7" fmla="*/ 12 h 21"/>
                  <a:gd name="T8" fmla="*/ 0 w 27"/>
                  <a:gd name="T9" fmla="*/ 15 h 21"/>
                  <a:gd name="T10" fmla="*/ 2 w 27"/>
                  <a:gd name="T11" fmla="*/ 17 h 21"/>
                  <a:gd name="T12" fmla="*/ 4 w 27"/>
                  <a:gd name="T13" fmla="*/ 19 h 21"/>
                  <a:gd name="T14" fmla="*/ 8 w 27"/>
                  <a:gd name="T15" fmla="*/ 21 h 21"/>
                  <a:gd name="T16" fmla="*/ 13 w 27"/>
                  <a:gd name="T17" fmla="*/ 21 h 21"/>
                  <a:gd name="T18" fmla="*/ 11 w 27"/>
                  <a:gd name="T19" fmla="*/ 17 h 21"/>
                  <a:gd name="T20" fmla="*/ 11 w 27"/>
                  <a:gd name="T21" fmla="*/ 14 h 21"/>
                  <a:gd name="T22" fmla="*/ 17 w 27"/>
                  <a:gd name="T23" fmla="*/ 14 h 21"/>
                  <a:gd name="T24" fmla="*/ 27 w 27"/>
                  <a:gd name="T25" fmla="*/ 14 h 21"/>
                  <a:gd name="T26" fmla="*/ 23 w 27"/>
                  <a:gd name="T27" fmla="*/ 6 h 21"/>
                  <a:gd name="T28" fmla="*/ 21 w 27"/>
                  <a:gd name="T29" fmla="*/ 4 h 21"/>
                  <a:gd name="T30" fmla="*/ 17 w 27"/>
                  <a:gd name="T31" fmla="*/ 4 h 21"/>
                  <a:gd name="T32" fmla="*/ 17 w 27"/>
                  <a:gd name="T33" fmla="*/ 0 h 21"/>
                  <a:gd name="T34" fmla="*/ 13 w 27"/>
                  <a:gd name="T35" fmla="*/ 0 h 21"/>
                  <a:gd name="T36" fmla="*/ 9 w 27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" h="21">
                    <a:moveTo>
                      <a:pt x="9" y="0"/>
                    </a:move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2" y="17"/>
                    </a:lnTo>
                    <a:lnTo>
                      <a:pt x="4" y="19"/>
                    </a:lnTo>
                    <a:lnTo>
                      <a:pt x="8" y="21"/>
                    </a:lnTo>
                    <a:lnTo>
                      <a:pt x="13" y="21"/>
                    </a:lnTo>
                    <a:lnTo>
                      <a:pt x="11" y="17"/>
                    </a:lnTo>
                    <a:lnTo>
                      <a:pt x="11" y="14"/>
                    </a:lnTo>
                    <a:lnTo>
                      <a:pt x="17" y="14"/>
                    </a:lnTo>
                    <a:lnTo>
                      <a:pt x="27" y="14"/>
                    </a:lnTo>
                    <a:lnTo>
                      <a:pt x="23" y="6"/>
                    </a:lnTo>
                    <a:lnTo>
                      <a:pt x="21" y="4"/>
                    </a:lnTo>
                    <a:lnTo>
                      <a:pt x="17" y="4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2" name="Freeform 90"/>
              <p:cNvSpPr>
                <a:spLocks/>
              </p:cNvSpPr>
              <p:nvPr/>
            </p:nvSpPr>
            <p:spPr bwMode="gray">
              <a:xfrm>
                <a:off x="6171916" y="2044701"/>
                <a:ext cx="141272" cy="95250"/>
              </a:xfrm>
              <a:custGeom>
                <a:avLst/>
                <a:gdLst>
                  <a:gd name="T0" fmla="*/ 39 w 89"/>
                  <a:gd name="T1" fmla="*/ 0 h 60"/>
                  <a:gd name="T2" fmla="*/ 35 w 89"/>
                  <a:gd name="T3" fmla="*/ 6 h 60"/>
                  <a:gd name="T4" fmla="*/ 29 w 89"/>
                  <a:gd name="T5" fmla="*/ 10 h 60"/>
                  <a:gd name="T6" fmla="*/ 25 w 89"/>
                  <a:gd name="T7" fmla="*/ 10 h 60"/>
                  <a:gd name="T8" fmla="*/ 22 w 89"/>
                  <a:gd name="T9" fmla="*/ 10 h 60"/>
                  <a:gd name="T10" fmla="*/ 20 w 89"/>
                  <a:gd name="T11" fmla="*/ 16 h 60"/>
                  <a:gd name="T12" fmla="*/ 18 w 89"/>
                  <a:gd name="T13" fmla="*/ 23 h 60"/>
                  <a:gd name="T14" fmla="*/ 12 w 89"/>
                  <a:gd name="T15" fmla="*/ 23 h 60"/>
                  <a:gd name="T16" fmla="*/ 6 w 89"/>
                  <a:gd name="T17" fmla="*/ 23 h 60"/>
                  <a:gd name="T18" fmla="*/ 4 w 89"/>
                  <a:gd name="T19" fmla="*/ 25 h 60"/>
                  <a:gd name="T20" fmla="*/ 0 w 89"/>
                  <a:gd name="T21" fmla="*/ 29 h 60"/>
                  <a:gd name="T22" fmla="*/ 6 w 89"/>
                  <a:gd name="T23" fmla="*/ 29 h 60"/>
                  <a:gd name="T24" fmla="*/ 12 w 89"/>
                  <a:gd name="T25" fmla="*/ 29 h 60"/>
                  <a:gd name="T26" fmla="*/ 14 w 89"/>
                  <a:gd name="T27" fmla="*/ 33 h 60"/>
                  <a:gd name="T28" fmla="*/ 22 w 89"/>
                  <a:gd name="T29" fmla="*/ 35 h 60"/>
                  <a:gd name="T30" fmla="*/ 29 w 89"/>
                  <a:gd name="T31" fmla="*/ 33 h 60"/>
                  <a:gd name="T32" fmla="*/ 37 w 89"/>
                  <a:gd name="T33" fmla="*/ 33 h 60"/>
                  <a:gd name="T34" fmla="*/ 45 w 89"/>
                  <a:gd name="T35" fmla="*/ 31 h 60"/>
                  <a:gd name="T36" fmla="*/ 45 w 89"/>
                  <a:gd name="T37" fmla="*/ 35 h 60"/>
                  <a:gd name="T38" fmla="*/ 37 w 89"/>
                  <a:gd name="T39" fmla="*/ 35 h 60"/>
                  <a:gd name="T40" fmla="*/ 29 w 89"/>
                  <a:gd name="T41" fmla="*/ 39 h 60"/>
                  <a:gd name="T42" fmla="*/ 27 w 89"/>
                  <a:gd name="T43" fmla="*/ 41 h 60"/>
                  <a:gd name="T44" fmla="*/ 27 w 89"/>
                  <a:gd name="T45" fmla="*/ 44 h 60"/>
                  <a:gd name="T46" fmla="*/ 16 w 89"/>
                  <a:gd name="T47" fmla="*/ 48 h 60"/>
                  <a:gd name="T48" fmla="*/ 16 w 89"/>
                  <a:gd name="T49" fmla="*/ 52 h 60"/>
                  <a:gd name="T50" fmla="*/ 27 w 89"/>
                  <a:gd name="T51" fmla="*/ 54 h 60"/>
                  <a:gd name="T52" fmla="*/ 37 w 89"/>
                  <a:gd name="T53" fmla="*/ 54 h 60"/>
                  <a:gd name="T54" fmla="*/ 39 w 89"/>
                  <a:gd name="T55" fmla="*/ 58 h 60"/>
                  <a:gd name="T56" fmla="*/ 52 w 89"/>
                  <a:gd name="T57" fmla="*/ 60 h 60"/>
                  <a:gd name="T58" fmla="*/ 64 w 89"/>
                  <a:gd name="T59" fmla="*/ 60 h 60"/>
                  <a:gd name="T60" fmla="*/ 73 w 89"/>
                  <a:gd name="T61" fmla="*/ 56 h 60"/>
                  <a:gd name="T62" fmla="*/ 77 w 89"/>
                  <a:gd name="T63" fmla="*/ 56 h 60"/>
                  <a:gd name="T64" fmla="*/ 81 w 89"/>
                  <a:gd name="T65" fmla="*/ 56 h 60"/>
                  <a:gd name="T66" fmla="*/ 83 w 89"/>
                  <a:gd name="T67" fmla="*/ 52 h 60"/>
                  <a:gd name="T68" fmla="*/ 83 w 89"/>
                  <a:gd name="T69" fmla="*/ 50 h 60"/>
                  <a:gd name="T70" fmla="*/ 85 w 89"/>
                  <a:gd name="T71" fmla="*/ 48 h 60"/>
                  <a:gd name="T72" fmla="*/ 89 w 89"/>
                  <a:gd name="T73" fmla="*/ 46 h 60"/>
                  <a:gd name="T74" fmla="*/ 87 w 89"/>
                  <a:gd name="T75" fmla="*/ 42 h 60"/>
                  <a:gd name="T76" fmla="*/ 87 w 89"/>
                  <a:gd name="T77" fmla="*/ 39 h 60"/>
                  <a:gd name="T78" fmla="*/ 83 w 89"/>
                  <a:gd name="T79" fmla="*/ 37 h 60"/>
                  <a:gd name="T80" fmla="*/ 81 w 89"/>
                  <a:gd name="T81" fmla="*/ 35 h 60"/>
                  <a:gd name="T82" fmla="*/ 79 w 89"/>
                  <a:gd name="T83" fmla="*/ 39 h 60"/>
                  <a:gd name="T84" fmla="*/ 77 w 89"/>
                  <a:gd name="T85" fmla="*/ 42 h 60"/>
                  <a:gd name="T86" fmla="*/ 73 w 89"/>
                  <a:gd name="T87" fmla="*/ 42 h 60"/>
                  <a:gd name="T88" fmla="*/ 71 w 89"/>
                  <a:gd name="T89" fmla="*/ 42 h 60"/>
                  <a:gd name="T90" fmla="*/ 71 w 89"/>
                  <a:gd name="T91" fmla="*/ 39 h 60"/>
                  <a:gd name="T92" fmla="*/ 73 w 89"/>
                  <a:gd name="T93" fmla="*/ 33 h 60"/>
                  <a:gd name="T94" fmla="*/ 70 w 89"/>
                  <a:gd name="T95" fmla="*/ 31 h 60"/>
                  <a:gd name="T96" fmla="*/ 68 w 89"/>
                  <a:gd name="T97" fmla="*/ 29 h 60"/>
                  <a:gd name="T98" fmla="*/ 68 w 89"/>
                  <a:gd name="T99" fmla="*/ 33 h 60"/>
                  <a:gd name="T100" fmla="*/ 62 w 89"/>
                  <a:gd name="T101" fmla="*/ 33 h 60"/>
                  <a:gd name="T102" fmla="*/ 54 w 89"/>
                  <a:gd name="T103" fmla="*/ 35 h 60"/>
                  <a:gd name="T104" fmla="*/ 58 w 89"/>
                  <a:gd name="T105" fmla="*/ 33 h 60"/>
                  <a:gd name="T106" fmla="*/ 64 w 89"/>
                  <a:gd name="T107" fmla="*/ 31 h 60"/>
                  <a:gd name="T108" fmla="*/ 64 w 89"/>
                  <a:gd name="T109" fmla="*/ 25 h 60"/>
                  <a:gd name="T110" fmla="*/ 64 w 89"/>
                  <a:gd name="T111" fmla="*/ 21 h 60"/>
                  <a:gd name="T112" fmla="*/ 66 w 89"/>
                  <a:gd name="T113" fmla="*/ 21 h 60"/>
                  <a:gd name="T114" fmla="*/ 66 w 89"/>
                  <a:gd name="T115" fmla="*/ 19 h 60"/>
                  <a:gd name="T116" fmla="*/ 52 w 89"/>
                  <a:gd name="T117" fmla="*/ 10 h 60"/>
                  <a:gd name="T118" fmla="*/ 39 w 89"/>
                  <a:gd name="T11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9" h="60">
                    <a:moveTo>
                      <a:pt x="39" y="0"/>
                    </a:moveTo>
                    <a:lnTo>
                      <a:pt x="35" y="6"/>
                    </a:lnTo>
                    <a:lnTo>
                      <a:pt x="29" y="10"/>
                    </a:lnTo>
                    <a:lnTo>
                      <a:pt x="25" y="10"/>
                    </a:lnTo>
                    <a:lnTo>
                      <a:pt x="22" y="10"/>
                    </a:lnTo>
                    <a:lnTo>
                      <a:pt x="20" y="16"/>
                    </a:lnTo>
                    <a:lnTo>
                      <a:pt x="18" y="23"/>
                    </a:lnTo>
                    <a:lnTo>
                      <a:pt x="12" y="23"/>
                    </a:lnTo>
                    <a:lnTo>
                      <a:pt x="6" y="23"/>
                    </a:lnTo>
                    <a:lnTo>
                      <a:pt x="4" y="25"/>
                    </a:lnTo>
                    <a:lnTo>
                      <a:pt x="0" y="29"/>
                    </a:lnTo>
                    <a:lnTo>
                      <a:pt x="6" y="29"/>
                    </a:lnTo>
                    <a:lnTo>
                      <a:pt x="12" y="29"/>
                    </a:lnTo>
                    <a:lnTo>
                      <a:pt x="14" y="33"/>
                    </a:lnTo>
                    <a:lnTo>
                      <a:pt x="22" y="35"/>
                    </a:lnTo>
                    <a:lnTo>
                      <a:pt x="29" y="33"/>
                    </a:lnTo>
                    <a:lnTo>
                      <a:pt x="37" y="33"/>
                    </a:lnTo>
                    <a:lnTo>
                      <a:pt x="45" y="31"/>
                    </a:lnTo>
                    <a:lnTo>
                      <a:pt x="45" y="35"/>
                    </a:lnTo>
                    <a:lnTo>
                      <a:pt x="37" y="35"/>
                    </a:lnTo>
                    <a:lnTo>
                      <a:pt x="29" y="39"/>
                    </a:lnTo>
                    <a:lnTo>
                      <a:pt x="27" y="41"/>
                    </a:lnTo>
                    <a:lnTo>
                      <a:pt x="27" y="44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27" y="54"/>
                    </a:lnTo>
                    <a:lnTo>
                      <a:pt x="37" y="54"/>
                    </a:lnTo>
                    <a:lnTo>
                      <a:pt x="39" y="58"/>
                    </a:lnTo>
                    <a:lnTo>
                      <a:pt x="52" y="60"/>
                    </a:lnTo>
                    <a:lnTo>
                      <a:pt x="64" y="60"/>
                    </a:lnTo>
                    <a:lnTo>
                      <a:pt x="73" y="56"/>
                    </a:lnTo>
                    <a:lnTo>
                      <a:pt x="77" y="56"/>
                    </a:lnTo>
                    <a:lnTo>
                      <a:pt x="81" y="56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5" y="48"/>
                    </a:lnTo>
                    <a:lnTo>
                      <a:pt x="89" y="46"/>
                    </a:lnTo>
                    <a:lnTo>
                      <a:pt x="87" y="42"/>
                    </a:lnTo>
                    <a:lnTo>
                      <a:pt x="87" y="39"/>
                    </a:lnTo>
                    <a:lnTo>
                      <a:pt x="83" y="37"/>
                    </a:lnTo>
                    <a:lnTo>
                      <a:pt x="81" y="35"/>
                    </a:lnTo>
                    <a:lnTo>
                      <a:pt x="79" y="39"/>
                    </a:lnTo>
                    <a:lnTo>
                      <a:pt x="77" y="42"/>
                    </a:lnTo>
                    <a:lnTo>
                      <a:pt x="73" y="42"/>
                    </a:lnTo>
                    <a:lnTo>
                      <a:pt x="71" y="42"/>
                    </a:lnTo>
                    <a:lnTo>
                      <a:pt x="71" y="39"/>
                    </a:lnTo>
                    <a:lnTo>
                      <a:pt x="73" y="33"/>
                    </a:lnTo>
                    <a:lnTo>
                      <a:pt x="70" y="31"/>
                    </a:lnTo>
                    <a:lnTo>
                      <a:pt x="68" y="29"/>
                    </a:lnTo>
                    <a:lnTo>
                      <a:pt x="68" y="33"/>
                    </a:lnTo>
                    <a:lnTo>
                      <a:pt x="62" y="33"/>
                    </a:lnTo>
                    <a:lnTo>
                      <a:pt x="54" y="35"/>
                    </a:lnTo>
                    <a:lnTo>
                      <a:pt x="58" y="33"/>
                    </a:lnTo>
                    <a:lnTo>
                      <a:pt x="64" y="31"/>
                    </a:lnTo>
                    <a:lnTo>
                      <a:pt x="64" y="25"/>
                    </a:lnTo>
                    <a:lnTo>
                      <a:pt x="64" y="21"/>
                    </a:lnTo>
                    <a:lnTo>
                      <a:pt x="66" y="21"/>
                    </a:lnTo>
                    <a:lnTo>
                      <a:pt x="66" y="19"/>
                    </a:lnTo>
                    <a:lnTo>
                      <a:pt x="52" y="10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3" name="Freeform 91"/>
              <p:cNvSpPr>
                <a:spLocks/>
              </p:cNvSpPr>
              <p:nvPr/>
            </p:nvSpPr>
            <p:spPr bwMode="gray">
              <a:xfrm>
                <a:off x="6127471" y="2041526"/>
                <a:ext cx="20635" cy="12700"/>
              </a:xfrm>
              <a:custGeom>
                <a:avLst/>
                <a:gdLst>
                  <a:gd name="T0" fmla="*/ 5 w 13"/>
                  <a:gd name="T1" fmla="*/ 0 h 8"/>
                  <a:gd name="T2" fmla="*/ 3 w 13"/>
                  <a:gd name="T3" fmla="*/ 0 h 8"/>
                  <a:gd name="T4" fmla="*/ 0 w 13"/>
                  <a:gd name="T5" fmla="*/ 2 h 8"/>
                  <a:gd name="T6" fmla="*/ 2 w 13"/>
                  <a:gd name="T7" fmla="*/ 4 h 8"/>
                  <a:gd name="T8" fmla="*/ 3 w 13"/>
                  <a:gd name="T9" fmla="*/ 8 h 8"/>
                  <a:gd name="T10" fmla="*/ 11 w 13"/>
                  <a:gd name="T11" fmla="*/ 4 h 8"/>
                  <a:gd name="T12" fmla="*/ 13 w 13"/>
                  <a:gd name="T13" fmla="*/ 4 h 8"/>
                  <a:gd name="T14" fmla="*/ 13 w 13"/>
                  <a:gd name="T15" fmla="*/ 2 h 8"/>
                  <a:gd name="T16" fmla="*/ 5 w 13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8">
                    <a:moveTo>
                      <a:pt x="5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3" y="8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4" name="Freeform 92"/>
              <p:cNvSpPr>
                <a:spLocks/>
              </p:cNvSpPr>
              <p:nvPr/>
            </p:nvSpPr>
            <p:spPr bwMode="gray">
              <a:xfrm>
                <a:off x="5578257" y="2041526"/>
                <a:ext cx="49207" cy="31750"/>
              </a:xfrm>
              <a:custGeom>
                <a:avLst/>
                <a:gdLst>
                  <a:gd name="T0" fmla="*/ 16 w 31"/>
                  <a:gd name="T1" fmla="*/ 0 h 20"/>
                  <a:gd name="T2" fmla="*/ 14 w 31"/>
                  <a:gd name="T3" fmla="*/ 2 h 20"/>
                  <a:gd name="T4" fmla="*/ 10 w 31"/>
                  <a:gd name="T5" fmla="*/ 6 h 20"/>
                  <a:gd name="T6" fmla="*/ 6 w 31"/>
                  <a:gd name="T7" fmla="*/ 6 h 20"/>
                  <a:gd name="T8" fmla="*/ 2 w 31"/>
                  <a:gd name="T9" fmla="*/ 6 h 20"/>
                  <a:gd name="T10" fmla="*/ 2 w 31"/>
                  <a:gd name="T11" fmla="*/ 8 h 20"/>
                  <a:gd name="T12" fmla="*/ 4 w 31"/>
                  <a:gd name="T13" fmla="*/ 10 h 20"/>
                  <a:gd name="T14" fmla="*/ 2 w 31"/>
                  <a:gd name="T15" fmla="*/ 10 h 20"/>
                  <a:gd name="T16" fmla="*/ 0 w 31"/>
                  <a:gd name="T17" fmla="*/ 14 h 20"/>
                  <a:gd name="T18" fmla="*/ 4 w 31"/>
                  <a:gd name="T19" fmla="*/ 14 h 20"/>
                  <a:gd name="T20" fmla="*/ 4 w 31"/>
                  <a:gd name="T21" fmla="*/ 16 h 20"/>
                  <a:gd name="T22" fmla="*/ 6 w 31"/>
                  <a:gd name="T23" fmla="*/ 20 h 20"/>
                  <a:gd name="T24" fmla="*/ 8 w 31"/>
                  <a:gd name="T25" fmla="*/ 20 h 20"/>
                  <a:gd name="T26" fmla="*/ 12 w 31"/>
                  <a:gd name="T27" fmla="*/ 20 h 20"/>
                  <a:gd name="T28" fmla="*/ 12 w 31"/>
                  <a:gd name="T29" fmla="*/ 16 h 20"/>
                  <a:gd name="T30" fmla="*/ 14 w 31"/>
                  <a:gd name="T31" fmla="*/ 14 h 20"/>
                  <a:gd name="T32" fmla="*/ 19 w 31"/>
                  <a:gd name="T33" fmla="*/ 12 h 20"/>
                  <a:gd name="T34" fmla="*/ 25 w 31"/>
                  <a:gd name="T35" fmla="*/ 8 h 20"/>
                  <a:gd name="T36" fmla="*/ 29 w 31"/>
                  <a:gd name="T37" fmla="*/ 6 h 20"/>
                  <a:gd name="T38" fmla="*/ 31 w 31"/>
                  <a:gd name="T39" fmla="*/ 4 h 20"/>
                  <a:gd name="T40" fmla="*/ 29 w 31"/>
                  <a:gd name="T41" fmla="*/ 4 h 20"/>
                  <a:gd name="T42" fmla="*/ 27 w 31"/>
                  <a:gd name="T43" fmla="*/ 2 h 20"/>
                  <a:gd name="T44" fmla="*/ 21 w 31"/>
                  <a:gd name="T45" fmla="*/ 0 h 20"/>
                  <a:gd name="T46" fmla="*/ 16 w 31"/>
                  <a:gd name="T4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" h="20">
                    <a:moveTo>
                      <a:pt x="16" y="0"/>
                    </a:moveTo>
                    <a:lnTo>
                      <a:pt x="14" y="2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6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14" y="14"/>
                    </a:lnTo>
                    <a:lnTo>
                      <a:pt x="19" y="12"/>
                    </a:lnTo>
                    <a:lnTo>
                      <a:pt x="25" y="8"/>
                    </a:lnTo>
                    <a:lnTo>
                      <a:pt x="29" y="6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5" name="Freeform 93"/>
              <p:cNvSpPr>
                <a:spLocks/>
              </p:cNvSpPr>
              <p:nvPr/>
            </p:nvSpPr>
            <p:spPr bwMode="gray">
              <a:xfrm>
                <a:off x="5419525" y="2036764"/>
                <a:ext cx="19048" cy="4763"/>
              </a:xfrm>
              <a:custGeom>
                <a:avLst/>
                <a:gdLst>
                  <a:gd name="T0" fmla="*/ 0 w 12"/>
                  <a:gd name="T1" fmla="*/ 0 h 3"/>
                  <a:gd name="T2" fmla="*/ 4 w 12"/>
                  <a:gd name="T3" fmla="*/ 3 h 3"/>
                  <a:gd name="T4" fmla="*/ 8 w 12"/>
                  <a:gd name="T5" fmla="*/ 3 h 3"/>
                  <a:gd name="T6" fmla="*/ 12 w 12"/>
                  <a:gd name="T7" fmla="*/ 3 h 3"/>
                  <a:gd name="T8" fmla="*/ 10 w 12"/>
                  <a:gd name="T9" fmla="*/ 1 h 3"/>
                  <a:gd name="T10" fmla="*/ 8 w 12"/>
                  <a:gd name="T11" fmla="*/ 0 h 3"/>
                  <a:gd name="T12" fmla="*/ 4 w 12"/>
                  <a:gd name="T13" fmla="*/ 0 h 3"/>
                  <a:gd name="T14" fmla="*/ 0 w 12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3">
                    <a:moveTo>
                      <a:pt x="0" y="0"/>
                    </a:moveTo>
                    <a:lnTo>
                      <a:pt x="4" y="3"/>
                    </a:lnTo>
                    <a:lnTo>
                      <a:pt x="8" y="3"/>
                    </a:lnTo>
                    <a:lnTo>
                      <a:pt x="12" y="3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6" name="Freeform 94"/>
              <p:cNvSpPr>
                <a:spLocks/>
              </p:cNvSpPr>
              <p:nvPr/>
            </p:nvSpPr>
            <p:spPr bwMode="gray">
              <a:xfrm>
                <a:off x="5481430" y="2027239"/>
                <a:ext cx="9524" cy="9525"/>
              </a:xfrm>
              <a:custGeom>
                <a:avLst/>
                <a:gdLst>
                  <a:gd name="T0" fmla="*/ 4 w 6"/>
                  <a:gd name="T1" fmla="*/ 0 h 6"/>
                  <a:gd name="T2" fmla="*/ 2 w 6"/>
                  <a:gd name="T3" fmla="*/ 2 h 6"/>
                  <a:gd name="T4" fmla="*/ 0 w 6"/>
                  <a:gd name="T5" fmla="*/ 4 h 6"/>
                  <a:gd name="T6" fmla="*/ 2 w 6"/>
                  <a:gd name="T7" fmla="*/ 6 h 6"/>
                  <a:gd name="T8" fmla="*/ 6 w 6"/>
                  <a:gd name="T9" fmla="*/ 6 h 6"/>
                  <a:gd name="T10" fmla="*/ 6 w 6"/>
                  <a:gd name="T11" fmla="*/ 2 h 6"/>
                  <a:gd name="T12" fmla="*/ 4 w 6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7" name="Freeform 95"/>
              <p:cNvSpPr>
                <a:spLocks/>
              </p:cNvSpPr>
              <p:nvPr/>
            </p:nvSpPr>
            <p:spPr bwMode="gray">
              <a:xfrm>
                <a:off x="5456033" y="2027239"/>
                <a:ext cx="12699" cy="6350"/>
              </a:xfrm>
              <a:custGeom>
                <a:avLst/>
                <a:gdLst>
                  <a:gd name="T0" fmla="*/ 2 w 8"/>
                  <a:gd name="T1" fmla="*/ 0 h 4"/>
                  <a:gd name="T2" fmla="*/ 6 w 8"/>
                  <a:gd name="T3" fmla="*/ 0 h 4"/>
                  <a:gd name="T4" fmla="*/ 8 w 8"/>
                  <a:gd name="T5" fmla="*/ 2 h 4"/>
                  <a:gd name="T6" fmla="*/ 6 w 8"/>
                  <a:gd name="T7" fmla="*/ 4 h 4"/>
                  <a:gd name="T8" fmla="*/ 2 w 8"/>
                  <a:gd name="T9" fmla="*/ 4 h 4"/>
                  <a:gd name="T10" fmla="*/ 2 w 8"/>
                  <a:gd name="T11" fmla="*/ 2 h 4"/>
                  <a:gd name="T12" fmla="*/ 0 w 8"/>
                  <a:gd name="T13" fmla="*/ 2 h 4"/>
                  <a:gd name="T14" fmla="*/ 0 w 8"/>
                  <a:gd name="T15" fmla="*/ 0 h 4"/>
                  <a:gd name="T16" fmla="*/ 2 w 8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8" name="Freeform 96"/>
              <p:cNvSpPr>
                <a:spLocks/>
              </p:cNvSpPr>
              <p:nvPr/>
            </p:nvSpPr>
            <p:spPr bwMode="gray">
              <a:xfrm>
                <a:off x="5438573" y="2020889"/>
                <a:ext cx="39683" cy="26988"/>
              </a:xfrm>
              <a:custGeom>
                <a:avLst/>
                <a:gdLst>
                  <a:gd name="T0" fmla="*/ 2 w 25"/>
                  <a:gd name="T1" fmla="*/ 0 h 17"/>
                  <a:gd name="T2" fmla="*/ 0 w 25"/>
                  <a:gd name="T3" fmla="*/ 2 h 17"/>
                  <a:gd name="T4" fmla="*/ 0 w 25"/>
                  <a:gd name="T5" fmla="*/ 6 h 17"/>
                  <a:gd name="T6" fmla="*/ 8 w 25"/>
                  <a:gd name="T7" fmla="*/ 8 h 17"/>
                  <a:gd name="T8" fmla="*/ 15 w 25"/>
                  <a:gd name="T9" fmla="*/ 10 h 17"/>
                  <a:gd name="T10" fmla="*/ 17 w 25"/>
                  <a:gd name="T11" fmla="*/ 13 h 17"/>
                  <a:gd name="T12" fmla="*/ 13 w 25"/>
                  <a:gd name="T13" fmla="*/ 11 h 17"/>
                  <a:gd name="T14" fmla="*/ 11 w 25"/>
                  <a:gd name="T15" fmla="*/ 11 h 17"/>
                  <a:gd name="T16" fmla="*/ 8 w 25"/>
                  <a:gd name="T17" fmla="*/ 11 h 17"/>
                  <a:gd name="T18" fmla="*/ 2 w 25"/>
                  <a:gd name="T19" fmla="*/ 13 h 17"/>
                  <a:gd name="T20" fmla="*/ 2 w 25"/>
                  <a:gd name="T21" fmla="*/ 17 h 17"/>
                  <a:gd name="T22" fmla="*/ 10 w 25"/>
                  <a:gd name="T23" fmla="*/ 17 h 17"/>
                  <a:gd name="T24" fmla="*/ 17 w 25"/>
                  <a:gd name="T25" fmla="*/ 17 h 17"/>
                  <a:gd name="T26" fmla="*/ 19 w 25"/>
                  <a:gd name="T27" fmla="*/ 15 h 17"/>
                  <a:gd name="T28" fmla="*/ 23 w 25"/>
                  <a:gd name="T29" fmla="*/ 11 h 17"/>
                  <a:gd name="T30" fmla="*/ 21 w 25"/>
                  <a:gd name="T31" fmla="*/ 10 h 17"/>
                  <a:gd name="T32" fmla="*/ 19 w 25"/>
                  <a:gd name="T33" fmla="*/ 8 h 17"/>
                  <a:gd name="T34" fmla="*/ 25 w 25"/>
                  <a:gd name="T35" fmla="*/ 6 h 17"/>
                  <a:gd name="T36" fmla="*/ 25 w 25"/>
                  <a:gd name="T37" fmla="*/ 2 h 17"/>
                  <a:gd name="T38" fmla="*/ 21 w 25"/>
                  <a:gd name="T39" fmla="*/ 0 h 17"/>
                  <a:gd name="T40" fmla="*/ 19 w 25"/>
                  <a:gd name="T41" fmla="*/ 0 h 17"/>
                  <a:gd name="T42" fmla="*/ 13 w 25"/>
                  <a:gd name="T43" fmla="*/ 0 h 17"/>
                  <a:gd name="T44" fmla="*/ 10 w 25"/>
                  <a:gd name="T45" fmla="*/ 2 h 17"/>
                  <a:gd name="T46" fmla="*/ 8 w 25"/>
                  <a:gd name="T47" fmla="*/ 2 h 17"/>
                  <a:gd name="T48" fmla="*/ 2 w 25"/>
                  <a:gd name="T4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17">
                    <a:moveTo>
                      <a:pt x="2" y="0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8" y="8"/>
                    </a:lnTo>
                    <a:lnTo>
                      <a:pt x="15" y="10"/>
                    </a:lnTo>
                    <a:lnTo>
                      <a:pt x="17" y="13"/>
                    </a:lnTo>
                    <a:lnTo>
                      <a:pt x="13" y="11"/>
                    </a:lnTo>
                    <a:lnTo>
                      <a:pt x="11" y="11"/>
                    </a:lnTo>
                    <a:lnTo>
                      <a:pt x="8" y="11"/>
                    </a:lnTo>
                    <a:lnTo>
                      <a:pt x="2" y="13"/>
                    </a:lnTo>
                    <a:lnTo>
                      <a:pt x="2" y="17"/>
                    </a:lnTo>
                    <a:lnTo>
                      <a:pt x="10" y="17"/>
                    </a:lnTo>
                    <a:lnTo>
                      <a:pt x="17" y="17"/>
                    </a:lnTo>
                    <a:lnTo>
                      <a:pt x="19" y="15"/>
                    </a:lnTo>
                    <a:lnTo>
                      <a:pt x="23" y="11"/>
                    </a:lnTo>
                    <a:lnTo>
                      <a:pt x="21" y="10"/>
                    </a:lnTo>
                    <a:lnTo>
                      <a:pt x="19" y="8"/>
                    </a:lnTo>
                    <a:lnTo>
                      <a:pt x="25" y="6"/>
                    </a:lnTo>
                    <a:lnTo>
                      <a:pt x="25" y="2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099" name="Freeform 97"/>
              <p:cNvSpPr>
                <a:spLocks/>
              </p:cNvSpPr>
              <p:nvPr/>
            </p:nvSpPr>
            <p:spPr bwMode="gray">
              <a:xfrm>
                <a:off x="5481430" y="2017714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2 w 4"/>
                  <a:gd name="T9" fmla="*/ 0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0" name="Freeform 98"/>
              <p:cNvSpPr>
                <a:spLocks/>
              </p:cNvSpPr>
              <p:nvPr/>
            </p:nvSpPr>
            <p:spPr bwMode="gray">
              <a:xfrm>
                <a:off x="5422699" y="2017714"/>
                <a:ext cx="12699" cy="9525"/>
              </a:xfrm>
              <a:custGeom>
                <a:avLst/>
                <a:gdLst>
                  <a:gd name="T0" fmla="*/ 0 w 8"/>
                  <a:gd name="T1" fmla="*/ 0 h 6"/>
                  <a:gd name="T2" fmla="*/ 0 w 8"/>
                  <a:gd name="T3" fmla="*/ 2 h 6"/>
                  <a:gd name="T4" fmla="*/ 2 w 8"/>
                  <a:gd name="T5" fmla="*/ 6 h 6"/>
                  <a:gd name="T6" fmla="*/ 6 w 8"/>
                  <a:gd name="T7" fmla="*/ 6 h 6"/>
                  <a:gd name="T8" fmla="*/ 8 w 8"/>
                  <a:gd name="T9" fmla="*/ 6 h 6"/>
                  <a:gd name="T10" fmla="*/ 4 w 8"/>
                  <a:gd name="T11" fmla="*/ 2 h 6"/>
                  <a:gd name="T12" fmla="*/ 0 w 8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2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1" name="Freeform 99"/>
              <p:cNvSpPr>
                <a:spLocks/>
              </p:cNvSpPr>
              <p:nvPr/>
            </p:nvSpPr>
            <p:spPr bwMode="gray">
              <a:xfrm>
                <a:off x="5487780" y="1998664"/>
                <a:ext cx="4762" cy="6350"/>
              </a:xfrm>
              <a:custGeom>
                <a:avLst/>
                <a:gdLst>
                  <a:gd name="T0" fmla="*/ 2 w 3"/>
                  <a:gd name="T1" fmla="*/ 0 h 4"/>
                  <a:gd name="T2" fmla="*/ 0 w 3"/>
                  <a:gd name="T3" fmla="*/ 2 h 4"/>
                  <a:gd name="T4" fmla="*/ 2 w 3"/>
                  <a:gd name="T5" fmla="*/ 4 h 4"/>
                  <a:gd name="T6" fmla="*/ 3 w 3"/>
                  <a:gd name="T7" fmla="*/ 0 h 4"/>
                  <a:gd name="T8" fmla="*/ 2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3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2" name="Freeform 100"/>
              <p:cNvSpPr>
                <a:spLocks/>
              </p:cNvSpPr>
              <p:nvPr/>
            </p:nvSpPr>
            <p:spPr bwMode="gray">
              <a:xfrm>
                <a:off x="5438573" y="1997076"/>
                <a:ext cx="23810" cy="14288"/>
              </a:xfrm>
              <a:custGeom>
                <a:avLst/>
                <a:gdLst>
                  <a:gd name="T0" fmla="*/ 8 w 15"/>
                  <a:gd name="T1" fmla="*/ 0 h 9"/>
                  <a:gd name="T2" fmla="*/ 8 w 15"/>
                  <a:gd name="T3" fmla="*/ 3 h 9"/>
                  <a:gd name="T4" fmla="*/ 2 w 15"/>
                  <a:gd name="T5" fmla="*/ 5 h 9"/>
                  <a:gd name="T6" fmla="*/ 0 w 15"/>
                  <a:gd name="T7" fmla="*/ 7 h 9"/>
                  <a:gd name="T8" fmla="*/ 0 w 15"/>
                  <a:gd name="T9" fmla="*/ 9 h 9"/>
                  <a:gd name="T10" fmla="*/ 2 w 15"/>
                  <a:gd name="T11" fmla="*/ 9 h 9"/>
                  <a:gd name="T12" fmla="*/ 6 w 15"/>
                  <a:gd name="T13" fmla="*/ 7 h 9"/>
                  <a:gd name="T14" fmla="*/ 11 w 15"/>
                  <a:gd name="T15" fmla="*/ 5 h 9"/>
                  <a:gd name="T16" fmla="*/ 13 w 15"/>
                  <a:gd name="T17" fmla="*/ 3 h 9"/>
                  <a:gd name="T18" fmla="*/ 15 w 15"/>
                  <a:gd name="T19" fmla="*/ 3 h 9"/>
                  <a:gd name="T20" fmla="*/ 15 w 15"/>
                  <a:gd name="T21" fmla="*/ 1 h 9"/>
                  <a:gd name="T22" fmla="*/ 13 w 15"/>
                  <a:gd name="T23" fmla="*/ 1 h 9"/>
                  <a:gd name="T24" fmla="*/ 10 w 15"/>
                  <a:gd name="T25" fmla="*/ 0 h 9"/>
                  <a:gd name="T26" fmla="*/ 8 w 15"/>
                  <a:gd name="T2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9">
                    <a:moveTo>
                      <a:pt x="8" y="0"/>
                    </a:moveTo>
                    <a:lnTo>
                      <a:pt x="8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6" y="7"/>
                    </a:lnTo>
                    <a:lnTo>
                      <a:pt x="11" y="5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5" y="1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3" name="Freeform 101"/>
              <p:cNvSpPr>
                <a:spLocks/>
              </p:cNvSpPr>
              <p:nvPr/>
            </p:nvSpPr>
            <p:spPr bwMode="gray">
              <a:xfrm>
                <a:off x="5468732" y="1987551"/>
                <a:ext cx="12699" cy="11113"/>
              </a:xfrm>
              <a:custGeom>
                <a:avLst/>
                <a:gdLst>
                  <a:gd name="T0" fmla="*/ 2 w 8"/>
                  <a:gd name="T1" fmla="*/ 0 h 7"/>
                  <a:gd name="T2" fmla="*/ 2 w 8"/>
                  <a:gd name="T3" fmla="*/ 2 h 7"/>
                  <a:gd name="T4" fmla="*/ 0 w 8"/>
                  <a:gd name="T5" fmla="*/ 4 h 7"/>
                  <a:gd name="T6" fmla="*/ 2 w 8"/>
                  <a:gd name="T7" fmla="*/ 6 h 7"/>
                  <a:gd name="T8" fmla="*/ 4 w 8"/>
                  <a:gd name="T9" fmla="*/ 7 h 7"/>
                  <a:gd name="T10" fmla="*/ 6 w 8"/>
                  <a:gd name="T11" fmla="*/ 7 h 7"/>
                  <a:gd name="T12" fmla="*/ 6 w 8"/>
                  <a:gd name="T13" fmla="*/ 6 h 7"/>
                  <a:gd name="T14" fmla="*/ 8 w 8"/>
                  <a:gd name="T15" fmla="*/ 4 h 7"/>
                  <a:gd name="T16" fmla="*/ 8 w 8"/>
                  <a:gd name="T17" fmla="*/ 2 h 7"/>
                  <a:gd name="T18" fmla="*/ 6 w 8"/>
                  <a:gd name="T19" fmla="*/ 2 h 7"/>
                  <a:gd name="T20" fmla="*/ 2 w 8"/>
                  <a:gd name="T2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7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4" name="Freeform 102"/>
              <p:cNvSpPr>
                <a:spLocks/>
              </p:cNvSpPr>
              <p:nvPr/>
            </p:nvSpPr>
            <p:spPr bwMode="gray">
              <a:xfrm>
                <a:off x="5490954" y="1974851"/>
                <a:ext cx="14286" cy="6350"/>
              </a:xfrm>
              <a:custGeom>
                <a:avLst/>
                <a:gdLst>
                  <a:gd name="T0" fmla="*/ 0 w 9"/>
                  <a:gd name="T1" fmla="*/ 0 h 4"/>
                  <a:gd name="T2" fmla="*/ 0 w 9"/>
                  <a:gd name="T3" fmla="*/ 4 h 4"/>
                  <a:gd name="T4" fmla="*/ 5 w 9"/>
                  <a:gd name="T5" fmla="*/ 2 h 4"/>
                  <a:gd name="T6" fmla="*/ 9 w 9"/>
                  <a:gd name="T7" fmla="*/ 2 h 4"/>
                  <a:gd name="T8" fmla="*/ 5 w 9"/>
                  <a:gd name="T9" fmla="*/ 0 h 4"/>
                  <a:gd name="T10" fmla="*/ 0 w 9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4">
                    <a:moveTo>
                      <a:pt x="0" y="0"/>
                    </a:moveTo>
                    <a:lnTo>
                      <a:pt x="0" y="4"/>
                    </a:lnTo>
                    <a:lnTo>
                      <a:pt x="5" y="2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5" name="Freeform 103"/>
              <p:cNvSpPr>
                <a:spLocks/>
              </p:cNvSpPr>
              <p:nvPr/>
            </p:nvSpPr>
            <p:spPr bwMode="gray">
              <a:xfrm>
                <a:off x="5286189" y="3254376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0 w 2"/>
                  <a:gd name="T7" fmla="*/ 0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6" name="Freeform 104"/>
              <p:cNvSpPr>
                <a:spLocks noEditPoints="1"/>
              </p:cNvSpPr>
              <p:nvPr/>
            </p:nvSpPr>
            <p:spPr bwMode="gray">
              <a:xfrm>
                <a:off x="4868723" y="2185989"/>
                <a:ext cx="3211155" cy="1223963"/>
              </a:xfrm>
              <a:custGeom>
                <a:avLst/>
                <a:gdLst>
                  <a:gd name="T0" fmla="*/ 689 w 2023"/>
                  <a:gd name="T1" fmla="*/ 612 h 771"/>
                  <a:gd name="T2" fmla="*/ 484 w 2023"/>
                  <a:gd name="T3" fmla="*/ 520 h 771"/>
                  <a:gd name="T4" fmla="*/ 355 w 2023"/>
                  <a:gd name="T5" fmla="*/ 596 h 771"/>
                  <a:gd name="T6" fmla="*/ 257 w 2023"/>
                  <a:gd name="T7" fmla="*/ 602 h 771"/>
                  <a:gd name="T8" fmla="*/ 251 w 2023"/>
                  <a:gd name="T9" fmla="*/ 721 h 771"/>
                  <a:gd name="T10" fmla="*/ 190 w 2023"/>
                  <a:gd name="T11" fmla="*/ 725 h 771"/>
                  <a:gd name="T12" fmla="*/ 152 w 2023"/>
                  <a:gd name="T13" fmla="*/ 665 h 771"/>
                  <a:gd name="T14" fmla="*/ 104 w 2023"/>
                  <a:gd name="T15" fmla="*/ 591 h 771"/>
                  <a:gd name="T16" fmla="*/ 38 w 2023"/>
                  <a:gd name="T17" fmla="*/ 493 h 771"/>
                  <a:gd name="T18" fmla="*/ 29 w 2023"/>
                  <a:gd name="T19" fmla="*/ 410 h 771"/>
                  <a:gd name="T20" fmla="*/ 38 w 2023"/>
                  <a:gd name="T21" fmla="*/ 282 h 771"/>
                  <a:gd name="T22" fmla="*/ 104 w 2023"/>
                  <a:gd name="T23" fmla="*/ 207 h 771"/>
                  <a:gd name="T24" fmla="*/ 73 w 2023"/>
                  <a:gd name="T25" fmla="*/ 266 h 771"/>
                  <a:gd name="T26" fmla="*/ 161 w 2023"/>
                  <a:gd name="T27" fmla="*/ 299 h 771"/>
                  <a:gd name="T28" fmla="*/ 230 w 2023"/>
                  <a:gd name="T29" fmla="*/ 249 h 771"/>
                  <a:gd name="T30" fmla="*/ 326 w 2023"/>
                  <a:gd name="T31" fmla="*/ 234 h 771"/>
                  <a:gd name="T32" fmla="*/ 417 w 2023"/>
                  <a:gd name="T33" fmla="*/ 205 h 771"/>
                  <a:gd name="T34" fmla="*/ 503 w 2023"/>
                  <a:gd name="T35" fmla="*/ 155 h 771"/>
                  <a:gd name="T36" fmla="*/ 537 w 2023"/>
                  <a:gd name="T37" fmla="*/ 268 h 771"/>
                  <a:gd name="T38" fmla="*/ 635 w 2023"/>
                  <a:gd name="T39" fmla="*/ 253 h 771"/>
                  <a:gd name="T40" fmla="*/ 591 w 2023"/>
                  <a:gd name="T41" fmla="*/ 122 h 771"/>
                  <a:gd name="T42" fmla="*/ 639 w 2023"/>
                  <a:gd name="T43" fmla="*/ 138 h 771"/>
                  <a:gd name="T44" fmla="*/ 699 w 2023"/>
                  <a:gd name="T45" fmla="*/ 184 h 771"/>
                  <a:gd name="T46" fmla="*/ 750 w 2023"/>
                  <a:gd name="T47" fmla="*/ 78 h 771"/>
                  <a:gd name="T48" fmla="*/ 869 w 2023"/>
                  <a:gd name="T49" fmla="*/ 38 h 771"/>
                  <a:gd name="T50" fmla="*/ 981 w 2023"/>
                  <a:gd name="T51" fmla="*/ 7 h 771"/>
                  <a:gd name="T52" fmla="*/ 1079 w 2023"/>
                  <a:gd name="T53" fmla="*/ 72 h 771"/>
                  <a:gd name="T54" fmla="*/ 1061 w 2023"/>
                  <a:gd name="T55" fmla="*/ 107 h 771"/>
                  <a:gd name="T56" fmla="*/ 1201 w 2023"/>
                  <a:gd name="T57" fmla="*/ 115 h 771"/>
                  <a:gd name="T58" fmla="*/ 1238 w 2023"/>
                  <a:gd name="T59" fmla="*/ 136 h 771"/>
                  <a:gd name="T60" fmla="*/ 1309 w 2023"/>
                  <a:gd name="T61" fmla="*/ 151 h 771"/>
                  <a:gd name="T62" fmla="*/ 1414 w 2023"/>
                  <a:gd name="T63" fmla="*/ 130 h 771"/>
                  <a:gd name="T64" fmla="*/ 1503 w 2023"/>
                  <a:gd name="T65" fmla="*/ 140 h 771"/>
                  <a:gd name="T66" fmla="*/ 1622 w 2023"/>
                  <a:gd name="T67" fmla="*/ 168 h 771"/>
                  <a:gd name="T68" fmla="*/ 1766 w 2023"/>
                  <a:gd name="T69" fmla="*/ 213 h 771"/>
                  <a:gd name="T70" fmla="*/ 1904 w 2023"/>
                  <a:gd name="T71" fmla="*/ 220 h 771"/>
                  <a:gd name="T72" fmla="*/ 2017 w 2023"/>
                  <a:gd name="T73" fmla="*/ 295 h 771"/>
                  <a:gd name="T74" fmla="*/ 1929 w 2023"/>
                  <a:gd name="T75" fmla="*/ 293 h 771"/>
                  <a:gd name="T76" fmla="*/ 1877 w 2023"/>
                  <a:gd name="T77" fmla="*/ 320 h 771"/>
                  <a:gd name="T78" fmla="*/ 1752 w 2023"/>
                  <a:gd name="T79" fmla="*/ 393 h 771"/>
                  <a:gd name="T80" fmla="*/ 1683 w 2023"/>
                  <a:gd name="T81" fmla="*/ 468 h 771"/>
                  <a:gd name="T82" fmla="*/ 1604 w 2023"/>
                  <a:gd name="T83" fmla="*/ 475 h 771"/>
                  <a:gd name="T84" fmla="*/ 1716 w 2023"/>
                  <a:gd name="T85" fmla="*/ 358 h 771"/>
                  <a:gd name="T86" fmla="*/ 1614 w 2023"/>
                  <a:gd name="T87" fmla="*/ 376 h 771"/>
                  <a:gd name="T88" fmla="*/ 1555 w 2023"/>
                  <a:gd name="T89" fmla="*/ 426 h 771"/>
                  <a:gd name="T90" fmla="*/ 1405 w 2023"/>
                  <a:gd name="T91" fmla="*/ 456 h 771"/>
                  <a:gd name="T92" fmla="*/ 1386 w 2023"/>
                  <a:gd name="T93" fmla="*/ 543 h 771"/>
                  <a:gd name="T94" fmla="*/ 1390 w 2023"/>
                  <a:gd name="T95" fmla="*/ 656 h 771"/>
                  <a:gd name="T96" fmla="*/ 1303 w 2023"/>
                  <a:gd name="T97" fmla="*/ 698 h 771"/>
                  <a:gd name="T98" fmla="*/ 1265 w 2023"/>
                  <a:gd name="T99" fmla="*/ 608 h 771"/>
                  <a:gd name="T100" fmla="*/ 1123 w 2023"/>
                  <a:gd name="T101" fmla="*/ 617 h 771"/>
                  <a:gd name="T102" fmla="*/ 1372 w 2023"/>
                  <a:gd name="T103" fmla="*/ 514 h 771"/>
                  <a:gd name="T104" fmla="*/ 1437 w 2023"/>
                  <a:gd name="T105" fmla="*/ 667 h 771"/>
                  <a:gd name="T106" fmla="*/ 1010 w 2023"/>
                  <a:gd name="T107" fmla="*/ 552 h 771"/>
                  <a:gd name="T108" fmla="*/ 1374 w 2023"/>
                  <a:gd name="T109" fmla="*/ 71 h 771"/>
                  <a:gd name="T110" fmla="*/ 1530 w 2023"/>
                  <a:gd name="T111" fmla="*/ 65 h 771"/>
                  <a:gd name="T112" fmla="*/ 1259 w 2023"/>
                  <a:gd name="T113" fmla="*/ 122 h 771"/>
                  <a:gd name="T114" fmla="*/ 1549 w 2023"/>
                  <a:gd name="T115" fmla="*/ 159 h 771"/>
                  <a:gd name="T116" fmla="*/ 1073 w 2023"/>
                  <a:gd name="T117" fmla="*/ 120 h 771"/>
                  <a:gd name="T118" fmla="*/ 1246 w 2023"/>
                  <a:gd name="T119" fmla="*/ 134 h 771"/>
                  <a:gd name="T120" fmla="*/ 1702 w 2023"/>
                  <a:gd name="T121" fmla="*/ 435 h 771"/>
                  <a:gd name="T122" fmla="*/ 1530 w 2023"/>
                  <a:gd name="T123" fmla="*/ 681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23" h="771">
                    <a:moveTo>
                      <a:pt x="883" y="568"/>
                    </a:moveTo>
                    <a:lnTo>
                      <a:pt x="879" y="573"/>
                    </a:lnTo>
                    <a:lnTo>
                      <a:pt x="877" y="577"/>
                    </a:lnTo>
                    <a:lnTo>
                      <a:pt x="875" y="585"/>
                    </a:lnTo>
                    <a:lnTo>
                      <a:pt x="881" y="587"/>
                    </a:lnTo>
                    <a:lnTo>
                      <a:pt x="883" y="593"/>
                    </a:lnTo>
                    <a:lnTo>
                      <a:pt x="885" y="600"/>
                    </a:lnTo>
                    <a:lnTo>
                      <a:pt x="883" y="606"/>
                    </a:lnTo>
                    <a:lnTo>
                      <a:pt x="871" y="604"/>
                    </a:lnTo>
                    <a:lnTo>
                      <a:pt x="860" y="606"/>
                    </a:lnTo>
                    <a:lnTo>
                      <a:pt x="852" y="606"/>
                    </a:lnTo>
                    <a:lnTo>
                      <a:pt x="844" y="604"/>
                    </a:lnTo>
                    <a:lnTo>
                      <a:pt x="837" y="600"/>
                    </a:lnTo>
                    <a:lnTo>
                      <a:pt x="827" y="594"/>
                    </a:lnTo>
                    <a:lnTo>
                      <a:pt x="821" y="598"/>
                    </a:lnTo>
                    <a:lnTo>
                      <a:pt x="818" y="594"/>
                    </a:lnTo>
                    <a:lnTo>
                      <a:pt x="810" y="593"/>
                    </a:lnTo>
                    <a:lnTo>
                      <a:pt x="802" y="594"/>
                    </a:lnTo>
                    <a:lnTo>
                      <a:pt x="798" y="596"/>
                    </a:lnTo>
                    <a:lnTo>
                      <a:pt x="791" y="600"/>
                    </a:lnTo>
                    <a:lnTo>
                      <a:pt x="785" y="602"/>
                    </a:lnTo>
                    <a:lnTo>
                      <a:pt x="779" y="606"/>
                    </a:lnTo>
                    <a:lnTo>
                      <a:pt x="775" y="610"/>
                    </a:lnTo>
                    <a:lnTo>
                      <a:pt x="775" y="614"/>
                    </a:lnTo>
                    <a:lnTo>
                      <a:pt x="773" y="617"/>
                    </a:lnTo>
                    <a:lnTo>
                      <a:pt x="768" y="619"/>
                    </a:lnTo>
                    <a:lnTo>
                      <a:pt x="762" y="621"/>
                    </a:lnTo>
                    <a:lnTo>
                      <a:pt x="758" y="625"/>
                    </a:lnTo>
                    <a:lnTo>
                      <a:pt x="749" y="623"/>
                    </a:lnTo>
                    <a:lnTo>
                      <a:pt x="745" y="619"/>
                    </a:lnTo>
                    <a:lnTo>
                      <a:pt x="741" y="616"/>
                    </a:lnTo>
                    <a:lnTo>
                      <a:pt x="737" y="610"/>
                    </a:lnTo>
                    <a:lnTo>
                      <a:pt x="731" y="608"/>
                    </a:lnTo>
                    <a:lnTo>
                      <a:pt x="722" y="610"/>
                    </a:lnTo>
                    <a:lnTo>
                      <a:pt x="706" y="617"/>
                    </a:lnTo>
                    <a:lnTo>
                      <a:pt x="699" y="619"/>
                    </a:lnTo>
                    <a:lnTo>
                      <a:pt x="691" y="616"/>
                    </a:lnTo>
                    <a:lnTo>
                      <a:pt x="689" y="612"/>
                    </a:lnTo>
                    <a:lnTo>
                      <a:pt x="685" y="602"/>
                    </a:lnTo>
                    <a:lnTo>
                      <a:pt x="683" y="594"/>
                    </a:lnTo>
                    <a:lnTo>
                      <a:pt x="679" y="591"/>
                    </a:lnTo>
                    <a:lnTo>
                      <a:pt x="672" y="585"/>
                    </a:lnTo>
                    <a:lnTo>
                      <a:pt x="658" y="585"/>
                    </a:lnTo>
                    <a:lnTo>
                      <a:pt x="654" y="587"/>
                    </a:lnTo>
                    <a:lnTo>
                      <a:pt x="647" y="587"/>
                    </a:lnTo>
                    <a:lnTo>
                      <a:pt x="641" y="583"/>
                    </a:lnTo>
                    <a:lnTo>
                      <a:pt x="639" y="579"/>
                    </a:lnTo>
                    <a:lnTo>
                      <a:pt x="631" y="564"/>
                    </a:lnTo>
                    <a:lnTo>
                      <a:pt x="622" y="543"/>
                    </a:lnTo>
                    <a:lnTo>
                      <a:pt x="614" y="529"/>
                    </a:lnTo>
                    <a:lnTo>
                      <a:pt x="614" y="523"/>
                    </a:lnTo>
                    <a:lnTo>
                      <a:pt x="612" y="520"/>
                    </a:lnTo>
                    <a:lnTo>
                      <a:pt x="603" y="523"/>
                    </a:lnTo>
                    <a:lnTo>
                      <a:pt x="593" y="525"/>
                    </a:lnTo>
                    <a:lnTo>
                      <a:pt x="582" y="531"/>
                    </a:lnTo>
                    <a:lnTo>
                      <a:pt x="570" y="537"/>
                    </a:lnTo>
                    <a:lnTo>
                      <a:pt x="559" y="535"/>
                    </a:lnTo>
                    <a:lnTo>
                      <a:pt x="560" y="535"/>
                    </a:lnTo>
                    <a:lnTo>
                      <a:pt x="559" y="531"/>
                    </a:lnTo>
                    <a:lnTo>
                      <a:pt x="557" y="527"/>
                    </a:lnTo>
                    <a:lnTo>
                      <a:pt x="555" y="527"/>
                    </a:lnTo>
                    <a:lnTo>
                      <a:pt x="551" y="531"/>
                    </a:lnTo>
                    <a:lnTo>
                      <a:pt x="549" y="529"/>
                    </a:lnTo>
                    <a:lnTo>
                      <a:pt x="539" y="523"/>
                    </a:lnTo>
                    <a:lnTo>
                      <a:pt x="535" y="529"/>
                    </a:lnTo>
                    <a:lnTo>
                      <a:pt x="530" y="531"/>
                    </a:lnTo>
                    <a:lnTo>
                      <a:pt x="524" y="525"/>
                    </a:lnTo>
                    <a:lnTo>
                      <a:pt x="520" y="525"/>
                    </a:lnTo>
                    <a:lnTo>
                      <a:pt x="522" y="518"/>
                    </a:lnTo>
                    <a:lnTo>
                      <a:pt x="522" y="516"/>
                    </a:lnTo>
                    <a:lnTo>
                      <a:pt x="516" y="514"/>
                    </a:lnTo>
                    <a:lnTo>
                      <a:pt x="514" y="510"/>
                    </a:lnTo>
                    <a:lnTo>
                      <a:pt x="509" y="512"/>
                    </a:lnTo>
                    <a:lnTo>
                      <a:pt x="501" y="514"/>
                    </a:lnTo>
                    <a:lnTo>
                      <a:pt x="489" y="520"/>
                    </a:lnTo>
                    <a:lnTo>
                      <a:pt x="484" y="520"/>
                    </a:lnTo>
                    <a:lnTo>
                      <a:pt x="472" y="523"/>
                    </a:lnTo>
                    <a:lnTo>
                      <a:pt x="461" y="523"/>
                    </a:lnTo>
                    <a:lnTo>
                      <a:pt x="451" y="527"/>
                    </a:lnTo>
                    <a:lnTo>
                      <a:pt x="440" y="527"/>
                    </a:lnTo>
                    <a:lnTo>
                      <a:pt x="434" y="525"/>
                    </a:lnTo>
                    <a:lnTo>
                      <a:pt x="428" y="525"/>
                    </a:lnTo>
                    <a:lnTo>
                      <a:pt x="420" y="522"/>
                    </a:lnTo>
                    <a:lnTo>
                      <a:pt x="415" y="525"/>
                    </a:lnTo>
                    <a:lnTo>
                      <a:pt x="417" y="529"/>
                    </a:lnTo>
                    <a:lnTo>
                      <a:pt x="417" y="535"/>
                    </a:lnTo>
                    <a:lnTo>
                      <a:pt x="409" y="541"/>
                    </a:lnTo>
                    <a:lnTo>
                      <a:pt x="409" y="548"/>
                    </a:lnTo>
                    <a:lnTo>
                      <a:pt x="407" y="554"/>
                    </a:lnTo>
                    <a:lnTo>
                      <a:pt x="407" y="560"/>
                    </a:lnTo>
                    <a:lnTo>
                      <a:pt x="413" y="568"/>
                    </a:lnTo>
                    <a:lnTo>
                      <a:pt x="415" y="571"/>
                    </a:lnTo>
                    <a:lnTo>
                      <a:pt x="409" y="579"/>
                    </a:lnTo>
                    <a:lnTo>
                      <a:pt x="415" y="585"/>
                    </a:lnTo>
                    <a:lnTo>
                      <a:pt x="417" y="585"/>
                    </a:lnTo>
                    <a:lnTo>
                      <a:pt x="422" y="589"/>
                    </a:lnTo>
                    <a:lnTo>
                      <a:pt x="418" y="594"/>
                    </a:lnTo>
                    <a:lnTo>
                      <a:pt x="417" y="596"/>
                    </a:lnTo>
                    <a:lnTo>
                      <a:pt x="411" y="596"/>
                    </a:lnTo>
                    <a:lnTo>
                      <a:pt x="403" y="594"/>
                    </a:lnTo>
                    <a:lnTo>
                      <a:pt x="401" y="591"/>
                    </a:lnTo>
                    <a:lnTo>
                      <a:pt x="397" y="585"/>
                    </a:lnTo>
                    <a:lnTo>
                      <a:pt x="393" y="585"/>
                    </a:lnTo>
                    <a:lnTo>
                      <a:pt x="392" y="587"/>
                    </a:lnTo>
                    <a:lnTo>
                      <a:pt x="390" y="585"/>
                    </a:lnTo>
                    <a:lnTo>
                      <a:pt x="384" y="583"/>
                    </a:lnTo>
                    <a:lnTo>
                      <a:pt x="378" y="587"/>
                    </a:lnTo>
                    <a:lnTo>
                      <a:pt x="374" y="589"/>
                    </a:lnTo>
                    <a:lnTo>
                      <a:pt x="370" y="589"/>
                    </a:lnTo>
                    <a:lnTo>
                      <a:pt x="363" y="587"/>
                    </a:lnTo>
                    <a:lnTo>
                      <a:pt x="359" y="587"/>
                    </a:lnTo>
                    <a:lnTo>
                      <a:pt x="357" y="587"/>
                    </a:lnTo>
                    <a:lnTo>
                      <a:pt x="355" y="591"/>
                    </a:lnTo>
                    <a:lnTo>
                      <a:pt x="355" y="596"/>
                    </a:lnTo>
                    <a:lnTo>
                      <a:pt x="349" y="594"/>
                    </a:lnTo>
                    <a:lnTo>
                      <a:pt x="351" y="591"/>
                    </a:lnTo>
                    <a:lnTo>
                      <a:pt x="351" y="587"/>
                    </a:lnTo>
                    <a:lnTo>
                      <a:pt x="347" y="585"/>
                    </a:lnTo>
                    <a:lnTo>
                      <a:pt x="344" y="585"/>
                    </a:lnTo>
                    <a:lnTo>
                      <a:pt x="342" y="583"/>
                    </a:lnTo>
                    <a:lnTo>
                      <a:pt x="340" y="579"/>
                    </a:lnTo>
                    <a:lnTo>
                      <a:pt x="336" y="577"/>
                    </a:lnTo>
                    <a:lnTo>
                      <a:pt x="332" y="575"/>
                    </a:lnTo>
                    <a:lnTo>
                      <a:pt x="328" y="573"/>
                    </a:lnTo>
                    <a:lnTo>
                      <a:pt x="324" y="573"/>
                    </a:lnTo>
                    <a:lnTo>
                      <a:pt x="324" y="571"/>
                    </a:lnTo>
                    <a:lnTo>
                      <a:pt x="324" y="568"/>
                    </a:lnTo>
                    <a:lnTo>
                      <a:pt x="321" y="564"/>
                    </a:lnTo>
                    <a:lnTo>
                      <a:pt x="317" y="564"/>
                    </a:lnTo>
                    <a:lnTo>
                      <a:pt x="317" y="566"/>
                    </a:lnTo>
                    <a:lnTo>
                      <a:pt x="317" y="566"/>
                    </a:lnTo>
                    <a:lnTo>
                      <a:pt x="311" y="568"/>
                    </a:lnTo>
                    <a:lnTo>
                      <a:pt x="311" y="564"/>
                    </a:lnTo>
                    <a:lnTo>
                      <a:pt x="299" y="566"/>
                    </a:lnTo>
                    <a:lnTo>
                      <a:pt x="301" y="568"/>
                    </a:lnTo>
                    <a:lnTo>
                      <a:pt x="303" y="570"/>
                    </a:lnTo>
                    <a:lnTo>
                      <a:pt x="298" y="575"/>
                    </a:lnTo>
                    <a:lnTo>
                      <a:pt x="292" y="579"/>
                    </a:lnTo>
                    <a:lnTo>
                      <a:pt x="290" y="581"/>
                    </a:lnTo>
                    <a:lnTo>
                      <a:pt x="284" y="579"/>
                    </a:lnTo>
                    <a:lnTo>
                      <a:pt x="280" y="581"/>
                    </a:lnTo>
                    <a:lnTo>
                      <a:pt x="278" y="585"/>
                    </a:lnTo>
                    <a:lnTo>
                      <a:pt x="274" y="587"/>
                    </a:lnTo>
                    <a:lnTo>
                      <a:pt x="274" y="593"/>
                    </a:lnTo>
                    <a:lnTo>
                      <a:pt x="276" y="598"/>
                    </a:lnTo>
                    <a:lnTo>
                      <a:pt x="280" y="600"/>
                    </a:lnTo>
                    <a:lnTo>
                      <a:pt x="273" y="606"/>
                    </a:lnTo>
                    <a:lnTo>
                      <a:pt x="271" y="602"/>
                    </a:lnTo>
                    <a:lnTo>
                      <a:pt x="267" y="596"/>
                    </a:lnTo>
                    <a:lnTo>
                      <a:pt x="265" y="596"/>
                    </a:lnTo>
                    <a:lnTo>
                      <a:pt x="261" y="600"/>
                    </a:lnTo>
                    <a:lnTo>
                      <a:pt x="257" y="602"/>
                    </a:lnTo>
                    <a:lnTo>
                      <a:pt x="255" y="604"/>
                    </a:lnTo>
                    <a:lnTo>
                      <a:pt x="255" y="612"/>
                    </a:lnTo>
                    <a:lnTo>
                      <a:pt x="251" y="616"/>
                    </a:lnTo>
                    <a:lnTo>
                      <a:pt x="253" y="616"/>
                    </a:lnTo>
                    <a:lnTo>
                      <a:pt x="255" y="619"/>
                    </a:lnTo>
                    <a:lnTo>
                      <a:pt x="255" y="621"/>
                    </a:lnTo>
                    <a:lnTo>
                      <a:pt x="253" y="623"/>
                    </a:lnTo>
                    <a:lnTo>
                      <a:pt x="251" y="625"/>
                    </a:lnTo>
                    <a:lnTo>
                      <a:pt x="248" y="631"/>
                    </a:lnTo>
                    <a:lnTo>
                      <a:pt x="248" y="633"/>
                    </a:lnTo>
                    <a:lnTo>
                      <a:pt x="248" y="635"/>
                    </a:lnTo>
                    <a:lnTo>
                      <a:pt x="250" y="637"/>
                    </a:lnTo>
                    <a:lnTo>
                      <a:pt x="251" y="637"/>
                    </a:lnTo>
                    <a:lnTo>
                      <a:pt x="255" y="642"/>
                    </a:lnTo>
                    <a:lnTo>
                      <a:pt x="253" y="648"/>
                    </a:lnTo>
                    <a:lnTo>
                      <a:pt x="257" y="648"/>
                    </a:lnTo>
                    <a:lnTo>
                      <a:pt x="261" y="646"/>
                    </a:lnTo>
                    <a:lnTo>
                      <a:pt x="267" y="660"/>
                    </a:lnTo>
                    <a:lnTo>
                      <a:pt x="267" y="662"/>
                    </a:lnTo>
                    <a:lnTo>
                      <a:pt x="267" y="665"/>
                    </a:lnTo>
                    <a:lnTo>
                      <a:pt x="267" y="669"/>
                    </a:lnTo>
                    <a:lnTo>
                      <a:pt x="269" y="673"/>
                    </a:lnTo>
                    <a:lnTo>
                      <a:pt x="269" y="677"/>
                    </a:lnTo>
                    <a:lnTo>
                      <a:pt x="267" y="679"/>
                    </a:lnTo>
                    <a:lnTo>
                      <a:pt x="263" y="685"/>
                    </a:lnTo>
                    <a:lnTo>
                      <a:pt x="261" y="685"/>
                    </a:lnTo>
                    <a:lnTo>
                      <a:pt x="261" y="683"/>
                    </a:lnTo>
                    <a:lnTo>
                      <a:pt x="261" y="683"/>
                    </a:lnTo>
                    <a:lnTo>
                      <a:pt x="263" y="683"/>
                    </a:lnTo>
                    <a:lnTo>
                      <a:pt x="259" y="679"/>
                    </a:lnTo>
                    <a:lnTo>
                      <a:pt x="257" y="677"/>
                    </a:lnTo>
                    <a:lnTo>
                      <a:pt x="255" y="681"/>
                    </a:lnTo>
                    <a:lnTo>
                      <a:pt x="251" y="681"/>
                    </a:lnTo>
                    <a:lnTo>
                      <a:pt x="246" y="700"/>
                    </a:lnTo>
                    <a:lnTo>
                      <a:pt x="242" y="715"/>
                    </a:lnTo>
                    <a:lnTo>
                      <a:pt x="248" y="715"/>
                    </a:lnTo>
                    <a:lnTo>
                      <a:pt x="253" y="715"/>
                    </a:lnTo>
                    <a:lnTo>
                      <a:pt x="251" y="721"/>
                    </a:lnTo>
                    <a:lnTo>
                      <a:pt x="251" y="727"/>
                    </a:lnTo>
                    <a:lnTo>
                      <a:pt x="255" y="727"/>
                    </a:lnTo>
                    <a:lnTo>
                      <a:pt x="253" y="735"/>
                    </a:lnTo>
                    <a:lnTo>
                      <a:pt x="255" y="742"/>
                    </a:lnTo>
                    <a:lnTo>
                      <a:pt x="257" y="744"/>
                    </a:lnTo>
                    <a:lnTo>
                      <a:pt x="261" y="746"/>
                    </a:lnTo>
                    <a:lnTo>
                      <a:pt x="261" y="750"/>
                    </a:lnTo>
                    <a:lnTo>
                      <a:pt x="263" y="754"/>
                    </a:lnTo>
                    <a:lnTo>
                      <a:pt x="267" y="758"/>
                    </a:lnTo>
                    <a:lnTo>
                      <a:pt x="271" y="761"/>
                    </a:lnTo>
                    <a:lnTo>
                      <a:pt x="269" y="765"/>
                    </a:lnTo>
                    <a:lnTo>
                      <a:pt x="265" y="771"/>
                    </a:lnTo>
                    <a:lnTo>
                      <a:pt x="261" y="769"/>
                    </a:lnTo>
                    <a:lnTo>
                      <a:pt x="259" y="765"/>
                    </a:lnTo>
                    <a:lnTo>
                      <a:pt x="257" y="761"/>
                    </a:lnTo>
                    <a:lnTo>
                      <a:pt x="253" y="759"/>
                    </a:lnTo>
                    <a:lnTo>
                      <a:pt x="250" y="756"/>
                    </a:lnTo>
                    <a:lnTo>
                      <a:pt x="248" y="754"/>
                    </a:lnTo>
                    <a:lnTo>
                      <a:pt x="248" y="752"/>
                    </a:lnTo>
                    <a:lnTo>
                      <a:pt x="244" y="750"/>
                    </a:lnTo>
                    <a:lnTo>
                      <a:pt x="242" y="748"/>
                    </a:lnTo>
                    <a:lnTo>
                      <a:pt x="238" y="748"/>
                    </a:lnTo>
                    <a:lnTo>
                      <a:pt x="236" y="746"/>
                    </a:lnTo>
                    <a:lnTo>
                      <a:pt x="236" y="742"/>
                    </a:lnTo>
                    <a:lnTo>
                      <a:pt x="234" y="742"/>
                    </a:lnTo>
                    <a:lnTo>
                      <a:pt x="232" y="740"/>
                    </a:lnTo>
                    <a:lnTo>
                      <a:pt x="228" y="736"/>
                    </a:lnTo>
                    <a:lnTo>
                      <a:pt x="227" y="735"/>
                    </a:lnTo>
                    <a:lnTo>
                      <a:pt x="225" y="733"/>
                    </a:lnTo>
                    <a:lnTo>
                      <a:pt x="221" y="733"/>
                    </a:lnTo>
                    <a:lnTo>
                      <a:pt x="217" y="735"/>
                    </a:lnTo>
                    <a:lnTo>
                      <a:pt x="215" y="735"/>
                    </a:lnTo>
                    <a:lnTo>
                      <a:pt x="211" y="735"/>
                    </a:lnTo>
                    <a:lnTo>
                      <a:pt x="205" y="736"/>
                    </a:lnTo>
                    <a:lnTo>
                      <a:pt x="200" y="733"/>
                    </a:lnTo>
                    <a:lnTo>
                      <a:pt x="196" y="729"/>
                    </a:lnTo>
                    <a:lnTo>
                      <a:pt x="192" y="725"/>
                    </a:lnTo>
                    <a:lnTo>
                      <a:pt x="190" y="725"/>
                    </a:lnTo>
                    <a:lnTo>
                      <a:pt x="184" y="725"/>
                    </a:lnTo>
                    <a:lnTo>
                      <a:pt x="180" y="725"/>
                    </a:lnTo>
                    <a:lnTo>
                      <a:pt x="175" y="723"/>
                    </a:lnTo>
                    <a:lnTo>
                      <a:pt x="171" y="721"/>
                    </a:lnTo>
                    <a:lnTo>
                      <a:pt x="167" y="719"/>
                    </a:lnTo>
                    <a:lnTo>
                      <a:pt x="161" y="721"/>
                    </a:lnTo>
                    <a:lnTo>
                      <a:pt x="159" y="727"/>
                    </a:lnTo>
                    <a:lnTo>
                      <a:pt x="159" y="733"/>
                    </a:lnTo>
                    <a:lnTo>
                      <a:pt x="155" y="731"/>
                    </a:lnTo>
                    <a:lnTo>
                      <a:pt x="152" y="729"/>
                    </a:lnTo>
                    <a:lnTo>
                      <a:pt x="146" y="721"/>
                    </a:lnTo>
                    <a:lnTo>
                      <a:pt x="140" y="713"/>
                    </a:lnTo>
                    <a:lnTo>
                      <a:pt x="136" y="713"/>
                    </a:lnTo>
                    <a:lnTo>
                      <a:pt x="134" y="712"/>
                    </a:lnTo>
                    <a:lnTo>
                      <a:pt x="134" y="708"/>
                    </a:lnTo>
                    <a:lnTo>
                      <a:pt x="131" y="708"/>
                    </a:lnTo>
                    <a:lnTo>
                      <a:pt x="129" y="708"/>
                    </a:lnTo>
                    <a:lnTo>
                      <a:pt x="127" y="704"/>
                    </a:lnTo>
                    <a:lnTo>
                      <a:pt x="127" y="700"/>
                    </a:lnTo>
                    <a:lnTo>
                      <a:pt x="119" y="698"/>
                    </a:lnTo>
                    <a:lnTo>
                      <a:pt x="115" y="696"/>
                    </a:lnTo>
                    <a:lnTo>
                      <a:pt x="123" y="696"/>
                    </a:lnTo>
                    <a:lnTo>
                      <a:pt x="131" y="694"/>
                    </a:lnTo>
                    <a:lnTo>
                      <a:pt x="131" y="690"/>
                    </a:lnTo>
                    <a:lnTo>
                      <a:pt x="131" y="688"/>
                    </a:lnTo>
                    <a:lnTo>
                      <a:pt x="134" y="688"/>
                    </a:lnTo>
                    <a:lnTo>
                      <a:pt x="134" y="687"/>
                    </a:lnTo>
                    <a:lnTo>
                      <a:pt x="134" y="685"/>
                    </a:lnTo>
                    <a:lnTo>
                      <a:pt x="136" y="683"/>
                    </a:lnTo>
                    <a:lnTo>
                      <a:pt x="132" y="683"/>
                    </a:lnTo>
                    <a:lnTo>
                      <a:pt x="129" y="681"/>
                    </a:lnTo>
                    <a:lnTo>
                      <a:pt x="129" y="677"/>
                    </a:lnTo>
                    <a:lnTo>
                      <a:pt x="132" y="677"/>
                    </a:lnTo>
                    <a:lnTo>
                      <a:pt x="138" y="677"/>
                    </a:lnTo>
                    <a:lnTo>
                      <a:pt x="138" y="673"/>
                    </a:lnTo>
                    <a:lnTo>
                      <a:pt x="138" y="671"/>
                    </a:lnTo>
                    <a:lnTo>
                      <a:pt x="144" y="667"/>
                    </a:lnTo>
                    <a:lnTo>
                      <a:pt x="152" y="665"/>
                    </a:lnTo>
                    <a:lnTo>
                      <a:pt x="152" y="662"/>
                    </a:lnTo>
                    <a:lnTo>
                      <a:pt x="144" y="662"/>
                    </a:lnTo>
                    <a:lnTo>
                      <a:pt x="138" y="664"/>
                    </a:lnTo>
                    <a:lnTo>
                      <a:pt x="136" y="665"/>
                    </a:lnTo>
                    <a:lnTo>
                      <a:pt x="138" y="658"/>
                    </a:lnTo>
                    <a:lnTo>
                      <a:pt x="142" y="652"/>
                    </a:lnTo>
                    <a:lnTo>
                      <a:pt x="148" y="652"/>
                    </a:lnTo>
                    <a:lnTo>
                      <a:pt x="154" y="650"/>
                    </a:lnTo>
                    <a:lnTo>
                      <a:pt x="152" y="644"/>
                    </a:lnTo>
                    <a:lnTo>
                      <a:pt x="150" y="637"/>
                    </a:lnTo>
                    <a:lnTo>
                      <a:pt x="150" y="635"/>
                    </a:lnTo>
                    <a:lnTo>
                      <a:pt x="150" y="633"/>
                    </a:lnTo>
                    <a:lnTo>
                      <a:pt x="150" y="627"/>
                    </a:lnTo>
                    <a:lnTo>
                      <a:pt x="146" y="623"/>
                    </a:lnTo>
                    <a:lnTo>
                      <a:pt x="146" y="621"/>
                    </a:lnTo>
                    <a:lnTo>
                      <a:pt x="150" y="617"/>
                    </a:lnTo>
                    <a:lnTo>
                      <a:pt x="150" y="616"/>
                    </a:lnTo>
                    <a:lnTo>
                      <a:pt x="148" y="616"/>
                    </a:lnTo>
                    <a:lnTo>
                      <a:pt x="148" y="612"/>
                    </a:lnTo>
                    <a:lnTo>
                      <a:pt x="146" y="608"/>
                    </a:lnTo>
                    <a:lnTo>
                      <a:pt x="144" y="606"/>
                    </a:lnTo>
                    <a:lnTo>
                      <a:pt x="140" y="604"/>
                    </a:lnTo>
                    <a:lnTo>
                      <a:pt x="136" y="602"/>
                    </a:lnTo>
                    <a:lnTo>
                      <a:pt x="132" y="600"/>
                    </a:lnTo>
                    <a:lnTo>
                      <a:pt x="131" y="600"/>
                    </a:lnTo>
                    <a:lnTo>
                      <a:pt x="131" y="598"/>
                    </a:lnTo>
                    <a:lnTo>
                      <a:pt x="127" y="596"/>
                    </a:lnTo>
                    <a:lnTo>
                      <a:pt x="125" y="596"/>
                    </a:lnTo>
                    <a:lnTo>
                      <a:pt x="123" y="596"/>
                    </a:lnTo>
                    <a:lnTo>
                      <a:pt x="119" y="598"/>
                    </a:lnTo>
                    <a:lnTo>
                      <a:pt x="113" y="600"/>
                    </a:lnTo>
                    <a:lnTo>
                      <a:pt x="111" y="600"/>
                    </a:lnTo>
                    <a:lnTo>
                      <a:pt x="111" y="596"/>
                    </a:lnTo>
                    <a:lnTo>
                      <a:pt x="108" y="593"/>
                    </a:lnTo>
                    <a:lnTo>
                      <a:pt x="108" y="593"/>
                    </a:lnTo>
                    <a:lnTo>
                      <a:pt x="106" y="593"/>
                    </a:lnTo>
                    <a:lnTo>
                      <a:pt x="106" y="591"/>
                    </a:lnTo>
                    <a:lnTo>
                      <a:pt x="104" y="591"/>
                    </a:lnTo>
                    <a:lnTo>
                      <a:pt x="102" y="587"/>
                    </a:lnTo>
                    <a:lnTo>
                      <a:pt x="98" y="585"/>
                    </a:lnTo>
                    <a:lnTo>
                      <a:pt x="94" y="585"/>
                    </a:lnTo>
                    <a:lnTo>
                      <a:pt x="90" y="583"/>
                    </a:lnTo>
                    <a:lnTo>
                      <a:pt x="86" y="583"/>
                    </a:lnTo>
                    <a:lnTo>
                      <a:pt x="83" y="583"/>
                    </a:lnTo>
                    <a:lnTo>
                      <a:pt x="79" y="579"/>
                    </a:lnTo>
                    <a:lnTo>
                      <a:pt x="79" y="577"/>
                    </a:lnTo>
                    <a:lnTo>
                      <a:pt x="77" y="573"/>
                    </a:lnTo>
                    <a:lnTo>
                      <a:pt x="75" y="571"/>
                    </a:lnTo>
                    <a:lnTo>
                      <a:pt x="75" y="570"/>
                    </a:lnTo>
                    <a:lnTo>
                      <a:pt x="73" y="566"/>
                    </a:lnTo>
                    <a:lnTo>
                      <a:pt x="71" y="564"/>
                    </a:lnTo>
                    <a:lnTo>
                      <a:pt x="67" y="564"/>
                    </a:lnTo>
                    <a:lnTo>
                      <a:pt x="65" y="562"/>
                    </a:lnTo>
                    <a:lnTo>
                      <a:pt x="61" y="564"/>
                    </a:lnTo>
                    <a:lnTo>
                      <a:pt x="60" y="566"/>
                    </a:lnTo>
                    <a:lnTo>
                      <a:pt x="58" y="566"/>
                    </a:lnTo>
                    <a:lnTo>
                      <a:pt x="56" y="564"/>
                    </a:lnTo>
                    <a:lnTo>
                      <a:pt x="54" y="562"/>
                    </a:lnTo>
                    <a:lnTo>
                      <a:pt x="54" y="546"/>
                    </a:lnTo>
                    <a:lnTo>
                      <a:pt x="52" y="545"/>
                    </a:lnTo>
                    <a:lnTo>
                      <a:pt x="50" y="541"/>
                    </a:lnTo>
                    <a:lnTo>
                      <a:pt x="54" y="539"/>
                    </a:lnTo>
                    <a:lnTo>
                      <a:pt x="58" y="539"/>
                    </a:lnTo>
                    <a:lnTo>
                      <a:pt x="60" y="537"/>
                    </a:lnTo>
                    <a:lnTo>
                      <a:pt x="60" y="535"/>
                    </a:lnTo>
                    <a:lnTo>
                      <a:pt x="60" y="533"/>
                    </a:lnTo>
                    <a:lnTo>
                      <a:pt x="58" y="529"/>
                    </a:lnTo>
                    <a:lnTo>
                      <a:pt x="54" y="525"/>
                    </a:lnTo>
                    <a:lnTo>
                      <a:pt x="50" y="523"/>
                    </a:lnTo>
                    <a:lnTo>
                      <a:pt x="48" y="518"/>
                    </a:lnTo>
                    <a:lnTo>
                      <a:pt x="48" y="512"/>
                    </a:lnTo>
                    <a:lnTo>
                      <a:pt x="48" y="506"/>
                    </a:lnTo>
                    <a:lnTo>
                      <a:pt x="46" y="502"/>
                    </a:lnTo>
                    <a:lnTo>
                      <a:pt x="44" y="499"/>
                    </a:lnTo>
                    <a:lnTo>
                      <a:pt x="40" y="495"/>
                    </a:lnTo>
                    <a:lnTo>
                      <a:pt x="38" y="493"/>
                    </a:lnTo>
                    <a:lnTo>
                      <a:pt x="35" y="491"/>
                    </a:lnTo>
                    <a:lnTo>
                      <a:pt x="31" y="489"/>
                    </a:lnTo>
                    <a:lnTo>
                      <a:pt x="29" y="489"/>
                    </a:lnTo>
                    <a:lnTo>
                      <a:pt x="27" y="489"/>
                    </a:lnTo>
                    <a:lnTo>
                      <a:pt x="23" y="491"/>
                    </a:lnTo>
                    <a:lnTo>
                      <a:pt x="21" y="489"/>
                    </a:lnTo>
                    <a:lnTo>
                      <a:pt x="19" y="487"/>
                    </a:lnTo>
                    <a:lnTo>
                      <a:pt x="17" y="481"/>
                    </a:lnTo>
                    <a:lnTo>
                      <a:pt x="15" y="479"/>
                    </a:lnTo>
                    <a:lnTo>
                      <a:pt x="13" y="475"/>
                    </a:lnTo>
                    <a:lnTo>
                      <a:pt x="10" y="475"/>
                    </a:lnTo>
                    <a:lnTo>
                      <a:pt x="8" y="474"/>
                    </a:lnTo>
                    <a:lnTo>
                      <a:pt x="8" y="468"/>
                    </a:lnTo>
                    <a:lnTo>
                      <a:pt x="8" y="464"/>
                    </a:lnTo>
                    <a:lnTo>
                      <a:pt x="4" y="464"/>
                    </a:lnTo>
                    <a:lnTo>
                      <a:pt x="2" y="464"/>
                    </a:lnTo>
                    <a:lnTo>
                      <a:pt x="0" y="460"/>
                    </a:lnTo>
                    <a:lnTo>
                      <a:pt x="0" y="458"/>
                    </a:lnTo>
                    <a:lnTo>
                      <a:pt x="0" y="454"/>
                    </a:lnTo>
                    <a:lnTo>
                      <a:pt x="2" y="451"/>
                    </a:lnTo>
                    <a:lnTo>
                      <a:pt x="4" y="449"/>
                    </a:lnTo>
                    <a:lnTo>
                      <a:pt x="6" y="447"/>
                    </a:lnTo>
                    <a:lnTo>
                      <a:pt x="8" y="449"/>
                    </a:lnTo>
                    <a:lnTo>
                      <a:pt x="10" y="445"/>
                    </a:lnTo>
                    <a:lnTo>
                      <a:pt x="12" y="443"/>
                    </a:lnTo>
                    <a:lnTo>
                      <a:pt x="10" y="437"/>
                    </a:lnTo>
                    <a:lnTo>
                      <a:pt x="10" y="431"/>
                    </a:lnTo>
                    <a:lnTo>
                      <a:pt x="13" y="427"/>
                    </a:lnTo>
                    <a:lnTo>
                      <a:pt x="13" y="426"/>
                    </a:lnTo>
                    <a:lnTo>
                      <a:pt x="15" y="424"/>
                    </a:lnTo>
                    <a:lnTo>
                      <a:pt x="13" y="420"/>
                    </a:lnTo>
                    <a:lnTo>
                      <a:pt x="13" y="418"/>
                    </a:lnTo>
                    <a:lnTo>
                      <a:pt x="13" y="414"/>
                    </a:lnTo>
                    <a:lnTo>
                      <a:pt x="13" y="412"/>
                    </a:lnTo>
                    <a:lnTo>
                      <a:pt x="19" y="414"/>
                    </a:lnTo>
                    <a:lnTo>
                      <a:pt x="27" y="414"/>
                    </a:lnTo>
                    <a:lnTo>
                      <a:pt x="27" y="412"/>
                    </a:lnTo>
                    <a:lnTo>
                      <a:pt x="29" y="410"/>
                    </a:lnTo>
                    <a:lnTo>
                      <a:pt x="37" y="408"/>
                    </a:lnTo>
                    <a:lnTo>
                      <a:pt x="44" y="408"/>
                    </a:lnTo>
                    <a:lnTo>
                      <a:pt x="40" y="408"/>
                    </a:lnTo>
                    <a:lnTo>
                      <a:pt x="38" y="408"/>
                    </a:lnTo>
                    <a:lnTo>
                      <a:pt x="37" y="404"/>
                    </a:lnTo>
                    <a:lnTo>
                      <a:pt x="35" y="403"/>
                    </a:lnTo>
                    <a:lnTo>
                      <a:pt x="29" y="403"/>
                    </a:lnTo>
                    <a:lnTo>
                      <a:pt x="25" y="404"/>
                    </a:lnTo>
                    <a:lnTo>
                      <a:pt x="19" y="401"/>
                    </a:lnTo>
                    <a:lnTo>
                      <a:pt x="13" y="395"/>
                    </a:lnTo>
                    <a:lnTo>
                      <a:pt x="15" y="393"/>
                    </a:lnTo>
                    <a:lnTo>
                      <a:pt x="15" y="389"/>
                    </a:lnTo>
                    <a:lnTo>
                      <a:pt x="10" y="391"/>
                    </a:lnTo>
                    <a:lnTo>
                      <a:pt x="6" y="393"/>
                    </a:lnTo>
                    <a:lnTo>
                      <a:pt x="4" y="393"/>
                    </a:lnTo>
                    <a:lnTo>
                      <a:pt x="13" y="383"/>
                    </a:lnTo>
                    <a:lnTo>
                      <a:pt x="35" y="370"/>
                    </a:lnTo>
                    <a:lnTo>
                      <a:pt x="58" y="355"/>
                    </a:lnTo>
                    <a:lnTo>
                      <a:pt x="56" y="351"/>
                    </a:lnTo>
                    <a:lnTo>
                      <a:pt x="56" y="345"/>
                    </a:lnTo>
                    <a:lnTo>
                      <a:pt x="52" y="343"/>
                    </a:lnTo>
                    <a:lnTo>
                      <a:pt x="46" y="341"/>
                    </a:lnTo>
                    <a:lnTo>
                      <a:pt x="44" y="337"/>
                    </a:lnTo>
                    <a:lnTo>
                      <a:pt x="44" y="333"/>
                    </a:lnTo>
                    <a:lnTo>
                      <a:pt x="46" y="330"/>
                    </a:lnTo>
                    <a:lnTo>
                      <a:pt x="48" y="326"/>
                    </a:lnTo>
                    <a:lnTo>
                      <a:pt x="48" y="322"/>
                    </a:lnTo>
                    <a:lnTo>
                      <a:pt x="46" y="316"/>
                    </a:lnTo>
                    <a:lnTo>
                      <a:pt x="46" y="312"/>
                    </a:lnTo>
                    <a:lnTo>
                      <a:pt x="42" y="310"/>
                    </a:lnTo>
                    <a:lnTo>
                      <a:pt x="40" y="305"/>
                    </a:lnTo>
                    <a:lnTo>
                      <a:pt x="38" y="303"/>
                    </a:lnTo>
                    <a:lnTo>
                      <a:pt x="38" y="301"/>
                    </a:lnTo>
                    <a:lnTo>
                      <a:pt x="37" y="295"/>
                    </a:lnTo>
                    <a:lnTo>
                      <a:pt x="37" y="291"/>
                    </a:lnTo>
                    <a:lnTo>
                      <a:pt x="38" y="287"/>
                    </a:lnTo>
                    <a:lnTo>
                      <a:pt x="38" y="284"/>
                    </a:lnTo>
                    <a:lnTo>
                      <a:pt x="38" y="282"/>
                    </a:lnTo>
                    <a:lnTo>
                      <a:pt x="38" y="276"/>
                    </a:lnTo>
                    <a:lnTo>
                      <a:pt x="37" y="274"/>
                    </a:lnTo>
                    <a:lnTo>
                      <a:pt x="33" y="262"/>
                    </a:lnTo>
                    <a:lnTo>
                      <a:pt x="29" y="249"/>
                    </a:lnTo>
                    <a:lnTo>
                      <a:pt x="33" y="243"/>
                    </a:lnTo>
                    <a:lnTo>
                      <a:pt x="37" y="238"/>
                    </a:lnTo>
                    <a:lnTo>
                      <a:pt x="37" y="230"/>
                    </a:lnTo>
                    <a:lnTo>
                      <a:pt x="35" y="226"/>
                    </a:lnTo>
                    <a:lnTo>
                      <a:pt x="33" y="228"/>
                    </a:lnTo>
                    <a:lnTo>
                      <a:pt x="31" y="226"/>
                    </a:lnTo>
                    <a:lnTo>
                      <a:pt x="29" y="216"/>
                    </a:lnTo>
                    <a:lnTo>
                      <a:pt x="31" y="211"/>
                    </a:lnTo>
                    <a:lnTo>
                      <a:pt x="35" y="205"/>
                    </a:lnTo>
                    <a:lnTo>
                      <a:pt x="35" y="209"/>
                    </a:lnTo>
                    <a:lnTo>
                      <a:pt x="35" y="209"/>
                    </a:lnTo>
                    <a:lnTo>
                      <a:pt x="38" y="209"/>
                    </a:lnTo>
                    <a:lnTo>
                      <a:pt x="40" y="205"/>
                    </a:lnTo>
                    <a:lnTo>
                      <a:pt x="40" y="199"/>
                    </a:lnTo>
                    <a:lnTo>
                      <a:pt x="40" y="197"/>
                    </a:lnTo>
                    <a:lnTo>
                      <a:pt x="38" y="197"/>
                    </a:lnTo>
                    <a:lnTo>
                      <a:pt x="42" y="195"/>
                    </a:lnTo>
                    <a:lnTo>
                      <a:pt x="44" y="193"/>
                    </a:lnTo>
                    <a:lnTo>
                      <a:pt x="48" y="190"/>
                    </a:lnTo>
                    <a:lnTo>
                      <a:pt x="50" y="188"/>
                    </a:lnTo>
                    <a:lnTo>
                      <a:pt x="56" y="190"/>
                    </a:lnTo>
                    <a:lnTo>
                      <a:pt x="61" y="190"/>
                    </a:lnTo>
                    <a:lnTo>
                      <a:pt x="63" y="190"/>
                    </a:lnTo>
                    <a:lnTo>
                      <a:pt x="63" y="190"/>
                    </a:lnTo>
                    <a:lnTo>
                      <a:pt x="67" y="191"/>
                    </a:lnTo>
                    <a:lnTo>
                      <a:pt x="71" y="193"/>
                    </a:lnTo>
                    <a:lnTo>
                      <a:pt x="71" y="193"/>
                    </a:lnTo>
                    <a:lnTo>
                      <a:pt x="65" y="195"/>
                    </a:lnTo>
                    <a:lnTo>
                      <a:pt x="65" y="199"/>
                    </a:lnTo>
                    <a:lnTo>
                      <a:pt x="79" y="199"/>
                    </a:lnTo>
                    <a:lnTo>
                      <a:pt x="94" y="203"/>
                    </a:lnTo>
                    <a:lnTo>
                      <a:pt x="96" y="207"/>
                    </a:lnTo>
                    <a:lnTo>
                      <a:pt x="100" y="207"/>
                    </a:lnTo>
                    <a:lnTo>
                      <a:pt x="104" y="207"/>
                    </a:lnTo>
                    <a:lnTo>
                      <a:pt x="106" y="209"/>
                    </a:lnTo>
                    <a:lnTo>
                      <a:pt x="108" y="213"/>
                    </a:lnTo>
                    <a:lnTo>
                      <a:pt x="111" y="213"/>
                    </a:lnTo>
                    <a:lnTo>
                      <a:pt x="117" y="213"/>
                    </a:lnTo>
                    <a:lnTo>
                      <a:pt x="132" y="218"/>
                    </a:lnTo>
                    <a:lnTo>
                      <a:pt x="148" y="228"/>
                    </a:lnTo>
                    <a:lnTo>
                      <a:pt x="148" y="232"/>
                    </a:lnTo>
                    <a:lnTo>
                      <a:pt x="150" y="232"/>
                    </a:lnTo>
                    <a:lnTo>
                      <a:pt x="154" y="232"/>
                    </a:lnTo>
                    <a:lnTo>
                      <a:pt x="154" y="236"/>
                    </a:lnTo>
                    <a:lnTo>
                      <a:pt x="159" y="238"/>
                    </a:lnTo>
                    <a:lnTo>
                      <a:pt x="167" y="241"/>
                    </a:lnTo>
                    <a:lnTo>
                      <a:pt x="167" y="245"/>
                    </a:lnTo>
                    <a:lnTo>
                      <a:pt x="171" y="245"/>
                    </a:lnTo>
                    <a:lnTo>
                      <a:pt x="173" y="249"/>
                    </a:lnTo>
                    <a:lnTo>
                      <a:pt x="173" y="255"/>
                    </a:lnTo>
                    <a:lnTo>
                      <a:pt x="173" y="259"/>
                    </a:lnTo>
                    <a:lnTo>
                      <a:pt x="171" y="261"/>
                    </a:lnTo>
                    <a:lnTo>
                      <a:pt x="165" y="268"/>
                    </a:lnTo>
                    <a:lnTo>
                      <a:pt x="159" y="272"/>
                    </a:lnTo>
                    <a:lnTo>
                      <a:pt x="154" y="276"/>
                    </a:lnTo>
                    <a:lnTo>
                      <a:pt x="148" y="280"/>
                    </a:lnTo>
                    <a:lnTo>
                      <a:pt x="136" y="280"/>
                    </a:lnTo>
                    <a:lnTo>
                      <a:pt x="121" y="276"/>
                    </a:lnTo>
                    <a:lnTo>
                      <a:pt x="108" y="272"/>
                    </a:lnTo>
                    <a:lnTo>
                      <a:pt x="96" y="268"/>
                    </a:lnTo>
                    <a:lnTo>
                      <a:pt x="96" y="264"/>
                    </a:lnTo>
                    <a:lnTo>
                      <a:pt x="96" y="262"/>
                    </a:lnTo>
                    <a:lnTo>
                      <a:pt x="92" y="264"/>
                    </a:lnTo>
                    <a:lnTo>
                      <a:pt x="90" y="268"/>
                    </a:lnTo>
                    <a:lnTo>
                      <a:pt x="86" y="262"/>
                    </a:lnTo>
                    <a:lnTo>
                      <a:pt x="83" y="259"/>
                    </a:lnTo>
                    <a:lnTo>
                      <a:pt x="81" y="259"/>
                    </a:lnTo>
                    <a:lnTo>
                      <a:pt x="79" y="261"/>
                    </a:lnTo>
                    <a:lnTo>
                      <a:pt x="63" y="251"/>
                    </a:lnTo>
                    <a:lnTo>
                      <a:pt x="67" y="257"/>
                    </a:lnTo>
                    <a:lnTo>
                      <a:pt x="71" y="262"/>
                    </a:lnTo>
                    <a:lnTo>
                      <a:pt x="73" y="266"/>
                    </a:lnTo>
                    <a:lnTo>
                      <a:pt x="73" y="268"/>
                    </a:lnTo>
                    <a:lnTo>
                      <a:pt x="73" y="272"/>
                    </a:lnTo>
                    <a:lnTo>
                      <a:pt x="77" y="272"/>
                    </a:lnTo>
                    <a:lnTo>
                      <a:pt x="81" y="272"/>
                    </a:lnTo>
                    <a:lnTo>
                      <a:pt x="79" y="278"/>
                    </a:lnTo>
                    <a:lnTo>
                      <a:pt x="90" y="280"/>
                    </a:lnTo>
                    <a:lnTo>
                      <a:pt x="102" y="285"/>
                    </a:lnTo>
                    <a:lnTo>
                      <a:pt x="102" y="295"/>
                    </a:lnTo>
                    <a:lnTo>
                      <a:pt x="102" y="303"/>
                    </a:lnTo>
                    <a:lnTo>
                      <a:pt x="104" y="312"/>
                    </a:lnTo>
                    <a:lnTo>
                      <a:pt x="108" y="320"/>
                    </a:lnTo>
                    <a:lnTo>
                      <a:pt x="111" y="320"/>
                    </a:lnTo>
                    <a:lnTo>
                      <a:pt x="115" y="320"/>
                    </a:lnTo>
                    <a:lnTo>
                      <a:pt x="115" y="324"/>
                    </a:lnTo>
                    <a:lnTo>
                      <a:pt x="115" y="328"/>
                    </a:lnTo>
                    <a:lnTo>
                      <a:pt x="117" y="328"/>
                    </a:lnTo>
                    <a:lnTo>
                      <a:pt x="123" y="328"/>
                    </a:lnTo>
                    <a:lnTo>
                      <a:pt x="132" y="330"/>
                    </a:lnTo>
                    <a:lnTo>
                      <a:pt x="132" y="332"/>
                    </a:lnTo>
                    <a:lnTo>
                      <a:pt x="136" y="332"/>
                    </a:lnTo>
                    <a:lnTo>
                      <a:pt x="138" y="330"/>
                    </a:lnTo>
                    <a:lnTo>
                      <a:pt x="140" y="328"/>
                    </a:lnTo>
                    <a:lnTo>
                      <a:pt x="140" y="320"/>
                    </a:lnTo>
                    <a:lnTo>
                      <a:pt x="140" y="314"/>
                    </a:lnTo>
                    <a:lnTo>
                      <a:pt x="136" y="314"/>
                    </a:lnTo>
                    <a:lnTo>
                      <a:pt x="134" y="314"/>
                    </a:lnTo>
                    <a:lnTo>
                      <a:pt x="131" y="310"/>
                    </a:lnTo>
                    <a:lnTo>
                      <a:pt x="129" y="305"/>
                    </a:lnTo>
                    <a:lnTo>
                      <a:pt x="129" y="299"/>
                    </a:lnTo>
                    <a:lnTo>
                      <a:pt x="131" y="293"/>
                    </a:lnTo>
                    <a:lnTo>
                      <a:pt x="148" y="303"/>
                    </a:lnTo>
                    <a:lnTo>
                      <a:pt x="165" y="310"/>
                    </a:lnTo>
                    <a:lnTo>
                      <a:pt x="169" y="310"/>
                    </a:lnTo>
                    <a:lnTo>
                      <a:pt x="171" y="309"/>
                    </a:lnTo>
                    <a:lnTo>
                      <a:pt x="169" y="307"/>
                    </a:lnTo>
                    <a:lnTo>
                      <a:pt x="169" y="305"/>
                    </a:lnTo>
                    <a:lnTo>
                      <a:pt x="163" y="301"/>
                    </a:lnTo>
                    <a:lnTo>
                      <a:pt x="161" y="299"/>
                    </a:lnTo>
                    <a:lnTo>
                      <a:pt x="159" y="293"/>
                    </a:lnTo>
                    <a:lnTo>
                      <a:pt x="159" y="287"/>
                    </a:lnTo>
                    <a:lnTo>
                      <a:pt x="171" y="278"/>
                    </a:lnTo>
                    <a:lnTo>
                      <a:pt x="182" y="270"/>
                    </a:lnTo>
                    <a:lnTo>
                      <a:pt x="186" y="272"/>
                    </a:lnTo>
                    <a:lnTo>
                      <a:pt x="188" y="274"/>
                    </a:lnTo>
                    <a:lnTo>
                      <a:pt x="190" y="274"/>
                    </a:lnTo>
                    <a:lnTo>
                      <a:pt x="194" y="274"/>
                    </a:lnTo>
                    <a:lnTo>
                      <a:pt x="198" y="278"/>
                    </a:lnTo>
                    <a:lnTo>
                      <a:pt x="200" y="284"/>
                    </a:lnTo>
                    <a:lnTo>
                      <a:pt x="202" y="282"/>
                    </a:lnTo>
                    <a:lnTo>
                      <a:pt x="202" y="278"/>
                    </a:lnTo>
                    <a:lnTo>
                      <a:pt x="203" y="274"/>
                    </a:lnTo>
                    <a:lnTo>
                      <a:pt x="205" y="272"/>
                    </a:lnTo>
                    <a:lnTo>
                      <a:pt x="207" y="266"/>
                    </a:lnTo>
                    <a:lnTo>
                      <a:pt x="209" y="261"/>
                    </a:lnTo>
                    <a:lnTo>
                      <a:pt x="211" y="259"/>
                    </a:lnTo>
                    <a:lnTo>
                      <a:pt x="209" y="257"/>
                    </a:lnTo>
                    <a:lnTo>
                      <a:pt x="209" y="255"/>
                    </a:lnTo>
                    <a:lnTo>
                      <a:pt x="205" y="253"/>
                    </a:lnTo>
                    <a:lnTo>
                      <a:pt x="205" y="251"/>
                    </a:lnTo>
                    <a:lnTo>
                      <a:pt x="207" y="249"/>
                    </a:lnTo>
                    <a:lnTo>
                      <a:pt x="211" y="241"/>
                    </a:lnTo>
                    <a:lnTo>
                      <a:pt x="213" y="238"/>
                    </a:lnTo>
                    <a:lnTo>
                      <a:pt x="213" y="232"/>
                    </a:lnTo>
                    <a:lnTo>
                      <a:pt x="211" y="226"/>
                    </a:lnTo>
                    <a:lnTo>
                      <a:pt x="209" y="222"/>
                    </a:lnTo>
                    <a:lnTo>
                      <a:pt x="205" y="218"/>
                    </a:lnTo>
                    <a:lnTo>
                      <a:pt x="213" y="222"/>
                    </a:lnTo>
                    <a:lnTo>
                      <a:pt x="219" y="224"/>
                    </a:lnTo>
                    <a:lnTo>
                      <a:pt x="225" y="224"/>
                    </a:lnTo>
                    <a:lnTo>
                      <a:pt x="230" y="224"/>
                    </a:lnTo>
                    <a:lnTo>
                      <a:pt x="238" y="234"/>
                    </a:lnTo>
                    <a:lnTo>
                      <a:pt x="246" y="247"/>
                    </a:lnTo>
                    <a:lnTo>
                      <a:pt x="242" y="247"/>
                    </a:lnTo>
                    <a:lnTo>
                      <a:pt x="240" y="247"/>
                    </a:lnTo>
                    <a:lnTo>
                      <a:pt x="236" y="247"/>
                    </a:lnTo>
                    <a:lnTo>
                      <a:pt x="230" y="249"/>
                    </a:lnTo>
                    <a:lnTo>
                      <a:pt x="228" y="253"/>
                    </a:lnTo>
                    <a:lnTo>
                      <a:pt x="227" y="255"/>
                    </a:lnTo>
                    <a:lnTo>
                      <a:pt x="228" y="264"/>
                    </a:lnTo>
                    <a:lnTo>
                      <a:pt x="232" y="274"/>
                    </a:lnTo>
                    <a:lnTo>
                      <a:pt x="240" y="272"/>
                    </a:lnTo>
                    <a:lnTo>
                      <a:pt x="248" y="270"/>
                    </a:lnTo>
                    <a:lnTo>
                      <a:pt x="250" y="266"/>
                    </a:lnTo>
                    <a:lnTo>
                      <a:pt x="251" y="264"/>
                    </a:lnTo>
                    <a:lnTo>
                      <a:pt x="253" y="266"/>
                    </a:lnTo>
                    <a:lnTo>
                      <a:pt x="255" y="266"/>
                    </a:lnTo>
                    <a:lnTo>
                      <a:pt x="257" y="257"/>
                    </a:lnTo>
                    <a:lnTo>
                      <a:pt x="259" y="247"/>
                    </a:lnTo>
                    <a:lnTo>
                      <a:pt x="263" y="247"/>
                    </a:lnTo>
                    <a:lnTo>
                      <a:pt x="269" y="245"/>
                    </a:lnTo>
                    <a:lnTo>
                      <a:pt x="269" y="241"/>
                    </a:lnTo>
                    <a:lnTo>
                      <a:pt x="273" y="241"/>
                    </a:lnTo>
                    <a:lnTo>
                      <a:pt x="276" y="241"/>
                    </a:lnTo>
                    <a:lnTo>
                      <a:pt x="286" y="236"/>
                    </a:lnTo>
                    <a:lnTo>
                      <a:pt x="296" y="230"/>
                    </a:lnTo>
                    <a:lnTo>
                      <a:pt x="299" y="230"/>
                    </a:lnTo>
                    <a:lnTo>
                      <a:pt x="303" y="230"/>
                    </a:lnTo>
                    <a:lnTo>
                      <a:pt x="303" y="228"/>
                    </a:lnTo>
                    <a:lnTo>
                      <a:pt x="305" y="226"/>
                    </a:lnTo>
                    <a:lnTo>
                      <a:pt x="311" y="228"/>
                    </a:lnTo>
                    <a:lnTo>
                      <a:pt x="315" y="230"/>
                    </a:lnTo>
                    <a:lnTo>
                      <a:pt x="315" y="226"/>
                    </a:lnTo>
                    <a:lnTo>
                      <a:pt x="315" y="224"/>
                    </a:lnTo>
                    <a:lnTo>
                      <a:pt x="321" y="220"/>
                    </a:lnTo>
                    <a:lnTo>
                      <a:pt x="328" y="216"/>
                    </a:lnTo>
                    <a:lnTo>
                      <a:pt x="328" y="218"/>
                    </a:lnTo>
                    <a:lnTo>
                      <a:pt x="326" y="220"/>
                    </a:lnTo>
                    <a:lnTo>
                      <a:pt x="328" y="220"/>
                    </a:lnTo>
                    <a:lnTo>
                      <a:pt x="332" y="222"/>
                    </a:lnTo>
                    <a:lnTo>
                      <a:pt x="332" y="224"/>
                    </a:lnTo>
                    <a:lnTo>
                      <a:pt x="334" y="228"/>
                    </a:lnTo>
                    <a:lnTo>
                      <a:pt x="334" y="230"/>
                    </a:lnTo>
                    <a:lnTo>
                      <a:pt x="326" y="230"/>
                    </a:lnTo>
                    <a:lnTo>
                      <a:pt x="326" y="234"/>
                    </a:lnTo>
                    <a:lnTo>
                      <a:pt x="332" y="234"/>
                    </a:lnTo>
                    <a:lnTo>
                      <a:pt x="340" y="234"/>
                    </a:lnTo>
                    <a:lnTo>
                      <a:pt x="342" y="232"/>
                    </a:lnTo>
                    <a:lnTo>
                      <a:pt x="344" y="230"/>
                    </a:lnTo>
                    <a:lnTo>
                      <a:pt x="345" y="234"/>
                    </a:lnTo>
                    <a:lnTo>
                      <a:pt x="349" y="236"/>
                    </a:lnTo>
                    <a:lnTo>
                      <a:pt x="349" y="232"/>
                    </a:lnTo>
                    <a:lnTo>
                      <a:pt x="349" y="230"/>
                    </a:lnTo>
                    <a:lnTo>
                      <a:pt x="353" y="226"/>
                    </a:lnTo>
                    <a:lnTo>
                      <a:pt x="361" y="222"/>
                    </a:lnTo>
                    <a:lnTo>
                      <a:pt x="370" y="224"/>
                    </a:lnTo>
                    <a:lnTo>
                      <a:pt x="376" y="228"/>
                    </a:lnTo>
                    <a:lnTo>
                      <a:pt x="378" y="228"/>
                    </a:lnTo>
                    <a:lnTo>
                      <a:pt x="382" y="228"/>
                    </a:lnTo>
                    <a:lnTo>
                      <a:pt x="382" y="224"/>
                    </a:lnTo>
                    <a:lnTo>
                      <a:pt x="380" y="222"/>
                    </a:lnTo>
                    <a:lnTo>
                      <a:pt x="382" y="222"/>
                    </a:lnTo>
                    <a:lnTo>
                      <a:pt x="384" y="224"/>
                    </a:lnTo>
                    <a:lnTo>
                      <a:pt x="392" y="222"/>
                    </a:lnTo>
                    <a:lnTo>
                      <a:pt x="401" y="218"/>
                    </a:lnTo>
                    <a:lnTo>
                      <a:pt x="399" y="220"/>
                    </a:lnTo>
                    <a:lnTo>
                      <a:pt x="397" y="222"/>
                    </a:lnTo>
                    <a:lnTo>
                      <a:pt x="399" y="224"/>
                    </a:lnTo>
                    <a:lnTo>
                      <a:pt x="399" y="228"/>
                    </a:lnTo>
                    <a:lnTo>
                      <a:pt x="405" y="232"/>
                    </a:lnTo>
                    <a:lnTo>
                      <a:pt x="407" y="236"/>
                    </a:lnTo>
                    <a:lnTo>
                      <a:pt x="407" y="230"/>
                    </a:lnTo>
                    <a:lnTo>
                      <a:pt x="407" y="226"/>
                    </a:lnTo>
                    <a:lnTo>
                      <a:pt x="409" y="224"/>
                    </a:lnTo>
                    <a:lnTo>
                      <a:pt x="411" y="224"/>
                    </a:lnTo>
                    <a:lnTo>
                      <a:pt x="413" y="226"/>
                    </a:lnTo>
                    <a:lnTo>
                      <a:pt x="415" y="228"/>
                    </a:lnTo>
                    <a:lnTo>
                      <a:pt x="418" y="226"/>
                    </a:lnTo>
                    <a:lnTo>
                      <a:pt x="420" y="226"/>
                    </a:lnTo>
                    <a:lnTo>
                      <a:pt x="420" y="218"/>
                    </a:lnTo>
                    <a:lnTo>
                      <a:pt x="420" y="213"/>
                    </a:lnTo>
                    <a:lnTo>
                      <a:pt x="418" y="211"/>
                    </a:lnTo>
                    <a:lnTo>
                      <a:pt x="417" y="205"/>
                    </a:lnTo>
                    <a:lnTo>
                      <a:pt x="418" y="203"/>
                    </a:lnTo>
                    <a:lnTo>
                      <a:pt x="418" y="201"/>
                    </a:lnTo>
                    <a:lnTo>
                      <a:pt x="428" y="201"/>
                    </a:lnTo>
                    <a:lnTo>
                      <a:pt x="438" y="203"/>
                    </a:lnTo>
                    <a:lnTo>
                      <a:pt x="438" y="199"/>
                    </a:lnTo>
                    <a:lnTo>
                      <a:pt x="440" y="197"/>
                    </a:lnTo>
                    <a:lnTo>
                      <a:pt x="443" y="199"/>
                    </a:lnTo>
                    <a:lnTo>
                      <a:pt x="445" y="201"/>
                    </a:lnTo>
                    <a:lnTo>
                      <a:pt x="457" y="201"/>
                    </a:lnTo>
                    <a:lnTo>
                      <a:pt x="470" y="203"/>
                    </a:lnTo>
                    <a:lnTo>
                      <a:pt x="468" y="209"/>
                    </a:lnTo>
                    <a:lnTo>
                      <a:pt x="468" y="214"/>
                    </a:lnTo>
                    <a:lnTo>
                      <a:pt x="472" y="213"/>
                    </a:lnTo>
                    <a:lnTo>
                      <a:pt x="472" y="207"/>
                    </a:lnTo>
                    <a:lnTo>
                      <a:pt x="474" y="209"/>
                    </a:lnTo>
                    <a:lnTo>
                      <a:pt x="476" y="211"/>
                    </a:lnTo>
                    <a:lnTo>
                      <a:pt x="480" y="211"/>
                    </a:lnTo>
                    <a:lnTo>
                      <a:pt x="484" y="211"/>
                    </a:lnTo>
                    <a:lnTo>
                      <a:pt x="482" y="213"/>
                    </a:lnTo>
                    <a:lnTo>
                      <a:pt x="484" y="216"/>
                    </a:lnTo>
                    <a:lnTo>
                      <a:pt x="488" y="216"/>
                    </a:lnTo>
                    <a:lnTo>
                      <a:pt x="491" y="216"/>
                    </a:lnTo>
                    <a:lnTo>
                      <a:pt x="499" y="226"/>
                    </a:lnTo>
                    <a:lnTo>
                      <a:pt x="507" y="238"/>
                    </a:lnTo>
                    <a:lnTo>
                      <a:pt x="512" y="228"/>
                    </a:lnTo>
                    <a:lnTo>
                      <a:pt x="516" y="218"/>
                    </a:lnTo>
                    <a:lnTo>
                      <a:pt x="511" y="220"/>
                    </a:lnTo>
                    <a:lnTo>
                      <a:pt x="511" y="211"/>
                    </a:lnTo>
                    <a:lnTo>
                      <a:pt x="511" y="201"/>
                    </a:lnTo>
                    <a:lnTo>
                      <a:pt x="505" y="201"/>
                    </a:lnTo>
                    <a:lnTo>
                      <a:pt x="497" y="199"/>
                    </a:lnTo>
                    <a:lnTo>
                      <a:pt x="497" y="193"/>
                    </a:lnTo>
                    <a:lnTo>
                      <a:pt x="497" y="188"/>
                    </a:lnTo>
                    <a:lnTo>
                      <a:pt x="503" y="186"/>
                    </a:lnTo>
                    <a:lnTo>
                      <a:pt x="503" y="182"/>
                    </a:lnTo>
                    <a:lnTo>
                      <a:pt x="501" y="172"/>
                    </a:lnTo>
                    <a:lnTo>
                      <a:pt x="499" y="157"/>
                    </a:lnTo>
                    <a:lnTo>
                      <a:pt x="503" y="155"/>
                    </a:lnTo>
                    <a:lnTo>
                      <a:pt x="507" y="155"/>
                    </a:lnTo>
                    <a:lnTo>
                      <a:pt x="512" y="145"/>
                    </a:lnTo>
                    <a:lnTo>
                      <a:pt x="520" y="136"/>
                    </a:lnTo>
                    <a:lnTo>
                      <a:pt x="522" y="136"/>
                    </a:lnTo>
                    <a:lnTo>
                      <a:pt x="526" y="126"/>
                    </a:lnTo>
                    <a:lnTo>
                      <a:pt x="530" y="119"/>
                    </a:lnTo>
                    <a:lnTo>
                      <a:pt x="537" y="117"/>
                    </a:lnTo>
                    <a:lnTo>
                      <a:pt x="549" y="115"/>
                    </a:lnTo>
                    <a:lnTo>
                      <a:pt x="560" y="117"/>
                    </a:lnTo>
                    <a:lnTo>
                      <a:pt x="568" y="120"/>
                    </a:lnTo>
                    <a:lnTo>
                      <a:pt x="570" y="126"/>
                    </a:lnTo>
                    <a:lnTo>
                      <a:pt x="570" y="136"/>
                    </a:lnTo>
                    <a:lnTo>
                      <a:pt x="570" y="145"/>
                    </a:lnTo>
                    <a:lnTo>
                      <a:pt x="568" y="153"/>
                    </a:lnTo>
                    <a:lnTo>
                      <a:pt x="564" y="155"/>
                    </a:lnTo>
                    <a:lnTo>
                      <a:pt x="562" y="159"/>
                    </a:lnTo>
                    <a:lnTo>
                      <a:pt x="560" y="163"/>
                    </a:lnTo>
                    <a:lnTo>
                      <a:pt x="560" y="167"/>
                    </a:lnTo>
                    <a:lnTo>
                      <a:pt x="562" y="168"/>
                    </a:lnTo>
                    <a:lnTo>
                      <a:pt x="562" y="172"/>
                    </a:lnTo>
                    <a:lnTo>
                      <a:pt x="568" y="178"/>
                    </a:lnTo>
                    <a:lnTo>
                      <a:pt x="572" y="184"/>
                    </a:lnTo>
                    <a:lnTo>
                      <a:pt x="568" y="197"/>
                    </a:lnTo>
                    <a:lnTo>
                      <a:pt x="566" y="214"/>
                    </a:lnTo>
                    <a:lnTo>
                      <a:pt x="572" y="222"/>
                    </a:lnTo>
                    <a:lnTo>
                      <a:pt x="578" y="228"/>
                    </a:lnTo>
                    <a:lnTo>
                      <a:pt x="578" y="238"/>
                    </a:lnTo>
                    <a:lnTo>
                      <a:pt x="578" y="249"/>
                    </a:lnTo>
                    <a:lnTo>
                      <a:pt x="568" y="257"/>
                    </a:lnTo>
                    <a:lnTo>
                      <a:pt x="570" y="259"/>
                    </a:lnTo>
                    <a:lnTo>
                      <a:pt x="570" y="262"/>
                    </a:lnTo>
                    <a:lnTo>
                      <a:pt x="566" y="262"/>
                    </a:lnTo>
                    <a:lnTo>
                      <a:pt x="564" y="264"/>
                    </a:lnTo>
                    <a:lnTo>
                      <a:pt x="562" y="262"/>
                    </a:lnTo>
                    <a:lnTo>
                      <a:pt x="559" y="261"/>
                    </a:lnTo>
                    <a:lnTo>
                      <a:pt x="555" y="264"/>
                    </a:lnTo>
                    <a:lnTo>
                      <a:pt x="549" y="268"/>
                    </a:lnTo>
                    <a:lnTo>
                      <a:pt x="537" y="268"/>
                    </a:lnTo>
                    <a:lnTo>
                      <a:pt x="528" y="268"/>
                    </a:lnTo>
                    <a:lnTo>
                      <a:pt x="534" y="274"/>
                    </a:lnTo>
                    <a:lnTo>
                      <a:pt x="541" y="278"/>
                    </a:lnTo>
                    <a:lnTo>
                      <a:pt x="551" y="276"/>
                    </a:lnTo>
                    <a:lnTo>
                      <a:pt x="560" y="278"/>
                    </a:lnTo>
                    <a:lnTo>
                      <a:pt x="564" y="284"/>
                    </a:lnTo>
                    <a:lnTo>
                      <a:pt x="566" y="289"/>
                    </a:lnTo>
                    <a:lnTo>
                      <a:pt x="570" y="289"/>
                    </a:lnTo>
                    <a:lnTo>
                      <a:pt x="572" y="289"/>
                    </a:lnTo>
                    <a:lnTo>
                      <a:pt x="572" y="284"/>
                    </a:lnTo>
                    <a:lnTo>
                      <a:pt x="570" y="276"/>
                    </a:lnTo>
                    <a:lnTo>
                      <a:pt x="568" y="274"/>
                    </a:lnTo>
                    <a:lnTo>
                      <a:pt x="564" y="272"/>
                    </a:lnTo>
                    <a:lnTo>
                      <a:pt x="578" y="266"/>
                    </a:lnTo>
                    <a:lnTo>
                      <a:pt x="585" y="262"/>
                    </a:lnTo>
                    <a:lnTo>
                      <a:pt x="587" y="259"/>
                    </a:lnTo>
                    <a:lnTo>
                      <a:pt x="589" y="255"/>
                    </a:lnTo>
                    <a:lnTo>
                      <a:pt x="591" y="249"/>
                    </a:lnTo>
                    <a:lnTo>
                      <a:pt x="593" y="239"/>
                    </a:lnTo>
                    <a:lnTo>
                      <a:pt x="595" y="236"/>
                    </a:lnTo>
                    <a:lnTo>
                      <a:pt x="593" y="232"/>
                    </a:lnTo>
                    <a:lnTo>
                      <a:pt x="591" y="232"/>
                    </a:lnTo>
                    <a:lnTo>
                      <a:pt x="591" y="228"/>
                    </a:lnTo>
                    <a:lnTo>
                      <a:pt x="593" y="224"/>
                    </a:lnTo>
                    <a:lnTo>
                      <a:pt x="595" y="222"/>
                    </a:lnTo>
                    <a:lnTo>
                      <a:pt x="599" y="220"/>
                    </a:lnTo>
                    <a:lnTo>
                      <a:pt x="603" y="218"/>
                    </a:lnTo>
                    <a:lnTo>
                      <a:pt x="612" y="214"/>
                    </a:lnTo>
                    <a:lnTo>
                      <a:pt x="620" y="213"/>
                    </a:lnTo>
                    <a:lnTo>
                      <a:pt x="624" y="222"/>
                    </a:lnTo>
                    <a:lnTo>
                      <a:pt x="626" y="230"/>
                    </a:lnTo>
                    <a:lnTo>
                      <a:pt x="628" y="239"/>
                    </a:lnTo>
                    <a:lnTo>
                      <a:pt x="626" y="253"/>
                    </a:lnTo>
                    <a:lnTo>
                      <a:pt x="631" y="255"/>
                    </a:lnTo>
                    <a:lnTo>
                      <a:pt x="631" y="257"/>
                    </a:lnTo>
                    <a:lnTo>
                      <a:pt x="635" y="259"/>
                    </a:lnTo>
                    <a:lnTo>
                      <a:pt x="635" y="255"/>
                    </a:lnTo>
                    <a:lnTo>
                      <a:pt x="635" y="253"/>
                    </a:lnTo>
                    <a:lnTo>
                      <a:pt x="647" y="255"/>
                    </a:lnTo>
                    <a:lnTo>
                      <a:pt x="658" y="257"/>
                    </a:lnTo>
                    <a:lnTo>
                      <a:pt x="656" y="255"/>
                    </a:lnTo>
                    <a:lnTo>
                      <a:pt x="656" y="253"/>
                    </a:lnTo>
                    <a:lnTo>
                      <a:pt x="647" y="251"/>
                    </a:lnTo>
                    <a:lnTo>
                      <a:pt x="637" y="249"/>
                    </a:lnTo>
                    <a:lnTo>
                      <a:pt x="635" y="247"/>
                    </a:lnTo>
                    <a:lnTo>
                      <a:pt x="633" y="245"/>
                    </a:lnTo>
                    <a:lnTo>
                      <a:pt x="633" y="241"/>
                    </a:lnTo>
                    <a:lnTo>
                      <a:pt x="633" y="238"/>
                    </a:lnTo>
                    <a:lnTo>
                      <a:pt x="637" y="234"/>
                    </a:lnTo>
                    <a:lnTo>
                      <a:pt x="641" y="232"/>
                    </a:lnTo>
                    <a:lnTo>
                      <a:pt x="637" y="224"/>
                    </a:lnTo>
                    <a:lnTo>
                      <a:pt x="633" y="216"/>
                    </a:lnTo>
                    <a:lnTo>
                      <a:pt x="628" y="209"/>
                    </a:lnTo>
                    <a:lnTo>
                      <a:pt x="620" y="207"/>
                    </a:lnTo>
                    <a:lnTo>
                      <a:pt x="618" y="207"/>
                    </a:lnTo>
                    <a:lnTo>
                      <a:pt x="616" y="209"/>
                    </a:lnTo>
                    <a:lnTo>
                      <a:pt x="612" y="207"/>
                    </a:lnTo>
                    <a:lnTo>
                      <a:pt x="608" y="205"/>
                    </a:lnTo>
                    <a:lnTo>
                      <a:pt x="605" y="207"/>
                    </a:lnTo>
                    <a:lnTo>
                      <a:pt x="601" y="211"/>
                    </a:lnTo>
                    <a:lnTo>
                      <a:pt x="593" y="211"/>
                    </a:lnTo>
                    <a:lnTo>
                      <a:pt x="587" y="213"/>
                    </a:lnTo>
                    <a:lnTo>
                      <a:pt x="583" y="203"/>
                    </a:lnTo>
                    <a:lnTo>
                      <a:pt x="583" y="193"/>
                    </a:lnTo>
                    <a:lnTo>
                      <a:pt x="585" y="190"/>
                    </a:lnTo>
                    <a:lnTo>
                      <a:pt x="587" y="182"/>
                    </a:lnTo>
                    <a:lnTo>
                      <a:pt x="582" y="176"/>
                    </a:lnTo>
                    <a:lnTo>
                      <a:pt x="578" y="170"/>
                    </a:lnTo>
                    <a:lnTo>
                      <a:pt x="580" y="168"/>
                    </a:lnTo>
                    <a:lnTo>
                      <a:pt x="582" y="167"/>
                    </a:lnTo>
                    <a:lnTo>
                      <a:pt x="582" y="161"/>
                    </a:lnTo>
                    <a:lnTo>
                      <a:pt x="583" y="157"/>
                    </a:lnTo>
                    <a:lnTo>
                      <a:pt x="589" y="153"/>
                    </a:lnTo>
                    <a:lnTo>
                      <a:pt x="593" y="147"/>
                    </a:lnTo>
                    <a:lnTo>
                      <a:pt x="593" y="134"/>
                    </a:lnTo>
                    <a:lnTo>
                      <a:pt x="591" y="122"/>
                    </a:lnTo>
                    <a:lnTo>
                      <a:pt x="599" y="128"/>
                    </a:lnTo>
                    <a:lnTo>
                      <a:pt x="599" y="142"/>
                    </a:lnTo>
                    <a:lnTo>
                      <a:pt x="597" y="153"/>
                    </a:lnTo>
                    <a:lnTo>
                      <a:pt x="601" y="157"/>
                    </a:lnTo>
                    <a:lnTo>
                      <a:pt x="601" y="163"/>
                    </a:lnTo>
                    <a:lnTo>
                      <a:pt x="601" y="167"/>
                    </a:lnTo>
                    <a:lnTo>
                      <a:pt x="603" y="168"/>
                    </a:lnTo>
                    <a:lnTo>
                      <a:pt x="606" y="172"/>
                    </a:lnTo>
                    <a:lnTo>
                      <a:pt x="612" y="170"/>
                    </a:lnTo>
                    <a:lnTo>
                      <a:pt x="616" y="168"/>
                    </a:lnTo>
                    <a:lnTo>
                      <a:pt x="618" y="170"/>
                    </a:lnTo>
                    <a:lnTo>
                      <a:pt x="620" y="172"/>
                    </a:lnTo>
                    <a:lnTo>
                      <a:pt x="626" y="172"/>
                    </a:lnTo>
                    <a:lnTo>
                      <a:pt x="631" y="170"/>
                    </a:lnTo>
                    <a:lnTo>
                      <a:pt x="633" y="170"/>
                    </a:lnTo>
                    <a:lnTo>
                      <a:pt x="635" y="168"/>
                    </a:lnTo>
                    <a:lnTo>
                      <a:pt x="633" y="167"/>
                    </a:lnTo>
                    <a:lnTo>
                      <a:pt x="631" y="165"/>
                    </a:lnTo>
                    <a:lnTo>
                      <a:pt x="626" y="161"/>
                    </a:lnTo>
                    <a:lnTo>
                      <a:pt x="620" y="157"/>
                    </a:lnTo>
                    <a:lnTo>
                      <a:pt x="616" y="157"/>
                    </a:lnTo>
                    <a:lnTo>
                      <a:pt x="614" y="157"/>
                    </a:lnTo>
                    <a:lnTo>
                      <a:pt x="618" y="151"/>
                    </a:lnTo>
                    <a:lnTo>
                      <a:pt x="620" y="147"/>
                    </a:lnTo>
                    <a:lnTo>
                      <a:pt x="622" y="147"/>
                    </a:lnTo>
                    <a:lnTo>
                      <a:pt x="628" y="147"/>
                    </a:lnTo>
                    <a:lnTo>
                      <a:pt x="630" y="149"/>
                    </a:lnTo>
                    <a:lnTo>
                      <a:pt x="633" y="151"/>
                    </a:lnTo>
                    <a:lnTo>
                      <a:pt x="635" y="153"/>
                    </a:lnTo>
                    <a:lnTo>
                      <a:pt x="639" y="153"/>
                    </a:lnTo>
                    <a:lnTo>
                      <a:pt x="641" y="149"/>
                    </a:lnTo>
                    <a:lnTo>
                      <a:pt x="643" y="147"/>
                    </a:lnTo>
                    <a:lnTo>
                      <a:pt x="641" y="145"/>
                    </a:lnTo>
                    <a:lnTo>
                      <a:pt x="641" y="143"/>
                    </a:lnTo>
                    <a:lnTo>
                      <a:pt x="635" y="143"/>
                    </a:lnTo>
                    <a:lnTo>
                      <a:pt x="633" y="142"/>
                    </a:lnTo>
                    <a:lnTo>
                      <a:pt x="635" y="140"/>
                    </a:lnTo>
                    <a:lnTo>
                      <a:pt x="639" y="138"/>
                    </a:lnTo>
                    <a:lnTo>
                      <a:pt x="645" y="136"/>
                    </a:lnTo>
                    <a:lnTo>
                      <a:pt x="651" y="134"/>
                    </a:lnTo>
                    <a:lnTo>
                      <a:pt x="656" y="136"/>
                    </a:lnTo>
                    <a:lnTo>
                      <a:pt x="662" y="138"/>
                    </a:lnTo>
                    <a:lnTo>
                      <a:pt x="666" y="142"/>
                    </a:lnTo>
                    <a:lnTo>
                      <a:pt x="668" y="140"/>
                    </a:lnTo>
                    <a:lnTo>
                      <a:pt x="670" y="140"/>
                    </a:lnTo>
                    <a:lnTo>
                      <a:pt x="672" y="145"/>
                    </a:lnTo>
                    <a:lnTo>
                      <a:pt x="676" y="151"/>
                    </a:lnTo>
                    <a:lnTo>
                      <a:pt x="679" y="151"/>
                    </a:lnTo>
                    <a:lnTo>
                      <a:pt x="678" y="147"/>
                    </a:lnTo>
                    <a:lnTo>
                      <a:pt x="687" y="149"/>
                    </a:lnTo>
                    <a:lnTo>
                      <a:pt x="699" y="151"/>
                    </a:lnTo>
                    <a:lnTo>
                      <a:pt x="693" y="161"/>
                    </a:lnTo>
                    <a:lnTo>
                      <a:pt x="689" y="168"/>
                    </a:lnTo>
                    <a:lnTo>
                      <a:pt x="685" y="180"/>
                    </a:lnTo>
                    <a:lnTo>
                      <a:pt x="683" y="191"/>
                    </a:lnTo>
                    <a:lnTo>
                      <a:pt x="687" y="191"/>
                    </a:lnTo>
                    <a:lnTo>
                      <a:pt x="689" y="190"/>
                    </a:lnTo>
                    <a:lnTo>
                      <a:pt x="689" y="188"/>
                    </a:lnTo>
                    <a:lnTo>
                      <a:pt x="691" y="188"/>
                    </a:lnTo>
                    <a:lnTo>
                      <a:pt x="693" y="188"/>
                    </a:lnTo>
                    <a:lnTo>
                      <a:pt x="699" y="191"/>
                    </a:lnTo>
                    <a:lnTo>
                      <a:pt x="701" y="195"/>
                    </a:lnTo>
                    <a:lnTo>
                      <a:pt x="701" y="199"/>
                    </a:lnTo>
                    <a:lnTo>
                      <a:pt x="716" y="199"/>
                    </a:lnTo>
                    <a:lnTo>
                      <a:pt x="727" y="199"/>
                    </a:lnTo>
                    <a:lnTo>
                      <a:pt x="729" y="207"/>
                    </a:lnTo>
                    <a:lnTo>
                      <a:pt x="733" y="207"/>
                    </a:lnTo>
                    <a:lnTo>
                      <a:pt x="731" y="197"/>
                    </a:lnTo>
                    <a:lnTo>
                      <a:pt x="725" y="193"/>
                    </a:lnTo>
                    <a:lnTo>
                      <a:pt x="718" y="193"/>
                    </a:lnTo>
                    <a:lnTo>
                      <a:pt x="716" y="195"/>
                    </a:lnTo>
                    <a:lnTo>
                      <a:pt x="710" y="197"/>
                    </a:lnTo>
                    <a:lnTo>
                      <a:pt x="704" y="193"/>
                    </a:lnTo>
                    <a:lnTo>
                      <a:pt x="699" y="190"/>
                    </a:lnTo>
                    <a:lnTo>
                      <a:pt x="699" y="186"/>
                    </a:lnTo>
                    <a:lnTo>
                      <a:pt x="699" y="184"/>
                    </a:lnTo>
                    <a:lnTo>
                      <a:pt x="702" y="184"/>
                    </a:lnTo>
                    <a:lnTo>
                      <a:pt x="706" y="184"/>
                    </a:lnTo>
                    <a:lnTo>
                      <a:pt x="708" y="180"/>
                    </a:lnTo>
                    <a:lnTo>
                      <a:pt x="706" y="178"/>
                    </a:lnTo>
                    <a:lnTo>
                      <a:pt x="706" y="174"/>
                    </a:lnTo>
                    <a:lnTo>
                      <a:pt x="704" y="172"/>
                    </a:lnTo>
                    <a:lnTo>
                      <a:pt x="706" y="159"/>
                    </a:lnTo>
                    <a:lnTo>
                      <a:pt x="708" y="149"/>
                    </a:lnTo>
                    <a:lnTo>
                      <a:pt x="702" y="147"/>
                    </a:lnTo>
                    <a:lnTo>
                      <a:pt x="699" y="145"/>
                    </a:lnTo>
                    <a:lnTo>
                      <a:pt x="695" y="142"/>
                    </a:lnTo>
                    <a:lnTo>
                      <a:pt x="693" y="138"/>
                    </a:lnTo>
                    <a:lnTo>
                      <a:pt x="689" y="138"/>
                    </a:lnTo>
                    <a:lnTo>
                      <a:pt x="685" y="140"/>
                    </a:lnTo>
                    <a:lnTo>
                      <a:pt x="681" y="138"/>
                    </a:lnTo>
                    <a:lnTo>
                      <a:pt x="678" y="134"/>
                    </a:lnTo>
                    <a:lnTo>
                      <a:pt x="676" y="130"/>
                    </a:lnTo>
                    <a:lnTo>
                      <a:pt x="674" y="124"/>
                    </a:lnTo>
                    <a:lnTo>
                      <a:pt x="674" y="113"/>
                    </a:lnTo>
                    <a:lnTo>
                      <a:pt x="678" y="103"/>
                    </a:lnTo>
                    <a:lnTo>
                      <a:pt x="679" y="101"/>
                    </a:lnTo>
                    <a:lnTo>
                      <a:pt x="683" y="99"/>
                    </a:lnTo>
                    <a:lnTo>
                      <a:pt x="718" y="94"/>
                    </a:lnTo>
                    <a:lnTo>
                      <a:pt x="722" y="96"/>
                    </a:lnTo>
                    <a:lnTo>
                      <a:pt x="727" y="97"/>
                    </a:lnTo>
                    <a:lnTo>
                      <a:pt x="735" y="96"/>
                    </a:lnTo>
                    <a:lnTo>
                      <a:pt x="745" y="94"/>
                    </a:lnTo>
                    <a:lnTo>
                      <a:pt x="745" y="96"/>
                    </a:lnTo>
                    <a:lnTo>
                      <a:pt x="749" y="97"/>
                    </a:lnTo>
                    <a:lnTo>
                      <a:pt x="749" y="99"/>
                    </a:lnTo>
                    <a:lnTo>
                      <a:pt x="747" y="101"/>
                    </a:lnTo>
                    <a:lnTo>
                      <a:pt x="747" y="103"/>
                    </a:lnTo>
                    <a:lnTo>
                      <a:pt x="750" y="103"/>
                    </a:lnTo>
                    <a:lnTo>
                      <a:pt x="756" y="103"/>
                    </a:lnTo>
                    <a:lnTo>
                      <a:pt x="750" y="90"/>
                    </a:lnTo>
                    <a:lnTo>
                      <a:pt x="743" y="80"/>
                    </a:lnTo>
                    <a:lnTo>
                      <a:pt x="747" y="78"/>
                    </a:lnTo>
                    <a:lnTo>
                      <a:pt x="750" y="78"/>
                    </a:lnTo>
                    <a:lnTo>
                      <a:pt x="749" y="74"/>
                    </a:lnTo>
                    <a:lnTo>
                      <a:pt x="743" y="72"/>
                    </a:lnTo>
                    <a:lnTo>
                      <a:pt x="743" y="71"/>
                    </a:lnTo>
                    <a:lnTo>
                      <a:pt x="745" y="69"/>
                    </a:lnTo>
                    <a:lnTo>
                      <a:pt x="747" y="69"/>
                    </a:lnTo>
                    <a:lnTo>
                      <a:pt x="750" y="69"/>
                    </a:lnTo>
                    <a:lnTo>
                      <a:pt x="752" y="71"/>
                    </a:lnTo>
                    <a:lnTo>
                      <a:pt x="754" y="74"/>
                    </a:lnTo>
                    <a:lnTo>
                      <a:pt x="756" y="71"/>
                    </a:lnTo>
                    <a:lnTo>
                      <a:pt x="756" y="65"/>
                    </a:lnTo>
                    <a:lnTo>
                      <a:pt x="760" y="63"/>
                    </a:lnTo>
                    <a:lnTo>
                      <a:pt x="762" y="61"/>
                    </a:lnTo>
                    <a:lnTo>
                      <a:pt x="760" y="57"/>
                    </a:lnTo>
                    <a:lnTo>
                      <a:pt x="756" y="55"/>
                    </a:lnTo>
                    <a:lnTo>
                      <a:pt x="766" y="55"/>
                    </a:lnTo>
                    <a:lnTo>
                      <a:pt x="775" y="55"/>
                    </a:lnTo>
                    <a:lnTo>
                      <a:pt x="779" y="51"/>
                    </a:lnTo>
                    <a:lnTo>
                      <a:pt x="783" y="49"/>
                    </a:lnTo>
                    <a:lnTo>
                      <a:pt x="789" y="49"/>
                    </a:lnTo>
                    <a:lnTo>
                      <a:pt x="798" y="51"/>
                    </a:lnTo>
                    <a:lnTo>
                      <a:pt x="814" y="48"/>
                    </a:lnTo>
                    <a:lnTo>
                      <a:pt x="829" y="46"/>
                    </a:lnTo>
                    <a:lnTo>
                      <a:pt x="829" y="42"/>
                    </a:lnTo>
                    <a:lnTo>
                      <a:pt x="829" y="40"/>
                    </a:lnTo>
                    <a:lnTo>
                      <a:pt x="833" y="40"/>
                    </a:lnTo>
                    <a:lnTo>
                      <a:pt x="835" y="42"/>
                    </a:lnTo>
                    <a:lnTo>
                      <a:pt x="848" y="42"/>
                    </a:lnTo>
                    <a:lnTo>
                      <a:pt x="862" y="42"/>
                    </a:lnTo>
                    <a:lnTo>
                      <a:pt x="862" y="40"/>
                    </a:lnTo>
                    <a:lnTo>
                      <a:pt x="864" y="38"/>
                    </a:lnTo>
                    <a:lnTo>
                      <a:pt x="860" y="38"/>
                    </a:lnTo>
                    <a:lnTo>
                      <a:pt x="858" y="38"/>
                    </a:lnTo>
                    <a:lnTo>
                      <a:pt x="858" y="34"/>
                    </a:lnTo>
                    <a:lnTo>
                      <a:pt x="858" y="32"/>
                    </a:lnTo>
                    <a:lnTo>
                      <a:pt x="873" y="32"/>
                    </a:lnTo>
                    <a:lnTo>
                      <a:pt x="871" y="36"/>
                    </a:lnTo>
                    <a:lnTo>
                      <a:pt x="871" y="38"/>
                    </a:lnTo>
                    <a:lnTo>
                      <a:pt x="869" y="38"/>
                    </a:lnTo>
                    <a:lnTo>
                      <a:pt x="866" y="38"/>
                    </a:lnTo>
                    <a:lnTo>
                      <a:pt x="869" y="42"/>
                    </a:lnTo>
                    <a:lnTo>
                      <a:pt x="869" y="44"/>
                    </a:lnTo>
                    <a:lnTo>
                      <a:pt x="866" y="46"/>
                    </a:lnTo>
                    <a:lnTo>
                      <a:pt x="862" y="49"/>
                    </a:lnTo>
                    <a:lnTo>
                      <a:pt x="862" y="49"/>
                    </a:lnTo>
                    <a:lnTo>
                      <a:pt x="860" y="53"/>
                    </a:lnTo>
                    <a:lnTo>
                      <a:pt x="860" y="55"/>
                    </a:lnTo>
                    <a:lnTo>
                      <a:pt x="862" y="55"/>
                    </a:lnTo>
                    <a:lnTo>
                      <a:pt x="866" y="51"/>
                    </a:lnTo>
                    <a:lnTo>
                      <a:pt x="871" y="49"/>
                    </a:lnTo>
                    <a:lnTo>
                      <a:pt x="875" y="48"/>
                    </a:lnTo>
                    <a:lnTo>
                      <a:pt x="875" y="49"/>
                    </a:lnTo>
                    <a:lnTo>
                      <a:pt x="877" y="51"/>
                    </a:lnTo>
                    <a:lnTo>
                      <a:pt x="883" y="48"/>
                    </a:lnTo>
                    <a:lnTo>
                      <a:pt x="889" y="46"/>
                    </a:lnTo>
                    <a:lnTo>
                      <a:pt x="889" y="42"/>
                    </a:lnTo>
                    <a:lnTo>
                      <a:pt x="889" y="40"/>
                    </a:lnTo>
                    <a:lnTo>
                      <a:pt x="894" y="38"/>
                    </a:lnTo>
                    <a:lnTo>
                      <a:pt x="900" y="38"/>
                    </a:lnTo>
                    <a:lnTo>
                      <a:pt x="898" y="36"/>
                    </a:lnTo>
                    <a:lnTo>
                      <a:pt x="896" y="30"/>
                    </a:lnTo>
                    <a:lnTo>
                      <a:pt x="912" y="30"/>
                    </a:lnTo>
                    <a:lnTo>
                      <a:pt x="927" y="34"/>
                    </a:lnTo>
                    <a:lnTo>
                      <a:pt x="923" y="30"/>
                    </a:lnTo>
                    <a:lnTo>
                      <a:pt x="919" y="26"/>
                    </a:lnTo>
                    <a:lnTo>
                      <a:pt x="919" y="23"/>
                    </a:lnTo>
                    <a:lnTo>
                      <a:pt x="919" y="21"/>
                    </a:lnTo>
                    <a:lnTo>
                      <a:pt x="921" y="19"/>
                    </a:lnTo>
                    <a:lnTo>
                      <a:pt x="925" y="19"/>
                    </a:lnTo>
                    <a:lnTo>
                      <a:pt x="925" y="15"/>
                    </a:lnTo>
                    <a:lnTo>
                      <a:pt x="933" y="9"/>
                    </a:lnTo>
                    <a:lnTo>
                      <a:pt x="937" y="5"/>
                    </a:lnTo>
                    <a:lnTo>
                      <a:pt x="942" y="5"/>
                    </a:lnTo>
                    <a:lnTo>
                      <a:pt x="954" y="5"/>
                    </a:lnTo>
                    <a:lnTo>
                      <a:pt x="956" y="0"/>
                    </a:lnTo>
                    <a:lnTo>
                      <a:pt x="969" y="1"/>
                    </a:lnTo>
                    <a:lnTo>
                      <a:pt x="981" y="7"/>
                    </a:lnTo>
                    <a:lnTo>
                      <a:pt x="977" y="11"/>
                    </a:lnTo>
                    <a:lnTo>
                      <a:pt x="975" y="17"/>
                    </a:lnTo>
                    <a:lnTo>
                      <a:pt x="986" y="17"/>
                    </a:lnTo>
                    <a:lnTo>
                      <a:pt x="1000" y="21"/>
                    </a:lnTo>
                    <a:lnTo>
                      <a:pt x="996" y="26"/>
                    </a:lnTo>
                    <a:lnTo>
                      <a:pt x="994" y="34"/>
                    </a:lnTo>
                    <a:lnTo>
                      <a:pt x="1000" y="34"/>
                    </a:lnTo>
                    <a:lnTo>
                      <a:pt x="1004" y="34"/>
                    </a:lnTo>
                    <a:lnTo>
                      <a:pt x="1008" y="28"/>
                    </a:lnTo>
                    <a:lnTo>
                      <a:pt x="1017" y="23"/>
                    </a:lnTo>
                    <a:lnTo>
                      <a:pt x="1025" y="21"/>
                    </a:lnTo>
                    <a:lnTo>
                      <a:pt x="1033" y="21"/>
                    </a:lnTo>
                    <a:lnTo>
                      <a:pt x="1034" y="24"/>
                    </a:lnTo>
                    <a:lnTo>
                      <a:pt x="1040" y="21"/>
                    </a:lnTo>
                    <a:lnTo>
                      <a:pt x="1048" y="19"/>
                    </a:lnTo>
                    <a:lnTo>
                      <a:pt x="1050" y="19"/>
                    </a:lnTo>
                    <a:lnTo>
                      <a:pt x="1054" y="21"/>
                    </a:lnTo>
                    <a:lnTo>
                      <a:pt x="1056" y="28"/>
                    </a:lnTo>
                    <a:lnTo>
                      <a:pt x="1059" y="34"/>
                    </a:lnTo>
                    <a:lnTo>
                      <a:pt x="1065" y="34"/>
                    </a:lnTo>
                    <a:lnTo>
                      <a:pt x="1071" y="36"/>
                    </a:lnTo>
                    <a:lnTo>
                      <a:pt x="1071" y="40"/>
                    </a:lnTo>
                    <a:lnTo>
                      <a:pt x="1071" y="44"/>
                    </a:lnTo>
                    <a:lnTo>
                      <a:pt x="1075" y="46"/>
                    </a:lnTo>
                    <a:lnTo>
                      <a:pt x="1079" y="49"/>
                    </a:lnTo>
                    <a:lnTo>
                      <a:pt x="1079" y="51"/>
                    </a:lnTo>
                    <a:lnTo>
                      <a:pt x="1079" y="55"/>
                    </a:lnTo>
                    <a:lnTo>
                      <a:pt x="1075" y="57"/>
                    </a:lnTo>
                    <a:lnTo>
                      <a:pt x="1075" y="57"/>
                    </a:lnTo>
                    <a:lnTo>
                      <a:pt x="1071" y="55"/>
                    </a:lnTo>
                    <a:lnTo>
                      <a:pt x="1069" y="55"/>
                    </a:lnTo>
                    <a:lnTo>
                      <a:pt x="1069" y="57"/>
                    </a:lnTo>
                    <a:lnTo>
                      <a:pt x="1069" y="57"/>
                    </a:lnTo>
                    <a:lnTo>
                      <a:pt x="1073" y="61"/>
                    </a:lnTo>
                    <a:lnTo>
                      <a:pt x="1075" y="63"/>
                    </a:lnTo>
                    <a:lnTo>
                      <a:pt x="1077" y="63"/>
                    </a:lnTo>
                    <a:lnTo>
                      <a:pt x="1079" y="67"/>
                    </a:lnTo>
                    <a:lnTo>
                      <a:pt x="1079" y="72"/>
                    </a:lnTo>
                    <a:lnTo>
                      <a:pt x="1052" y="80"/>
                    </a:lnTo>
                    <a:lnTo>
                      <a:pt x="1023" y="88"/>
                    </a:lnTo>
                    <a:lnTo>
                      <a:pt x="1019" y="97"/>
                    </a:lnTo>
                    <a:lnTo>
                      <a:pt x="1015" y="105"/>
                    </a:lnTo>
                    <a:lnTo>
                      <a:pt x="1008" y="113"/>
                    </a:lnTo>
                    <a:lnTo>
                      <a:pt x="1000" y="117"/>
                    </a:lnTo>
                    <a:lnTo>
                      <a:pt x="994" y="117"/>
                    </a:lnTo>
                    <a:lnTo>
                      <a:pt x="988" y="119"/>
                    </a:lnTo>
                    <a:lnTo>
                      <a:pt x="986" y="122"/>
                    </a:lnTo>
                    <a:lnTo>
                      <a:pt x="986" y="126"/>
                    </a:lnTo>
                    <a:lnTo>
                      <a:pt x="973" y="130"/>
                    </a:lnTo>
                    <a:lnTo>
                      <a:pt x="965" y="132"/>
                    </a:lnTo>
                    <a:lnTo>
                      <a:pt x="975" y="136"/>
                    </a:lnTo>
                    <a:lnTo>
                      <a:pt x="983" y="136"/>
                    </a:lnTo>
                    <a:lnTo>
                      <a:pt x="988" y="130"/>
                    </a:lnTo>
                    <a:lnTo>
                      <a:pt x="990" y="124"/>
                    </a:lnTo>
                    <a:lnTo>
                      <a:pt x="1006" y="122"/>
                    </a:lnTo>
                    <a:lnTo>
                      <a:pt x="1019" y="120"/>
                    </a:lnTo>
                    <a:lnTo>
                      <a:pt x="1021" y="117"/>
                    </a:lnTo>
                    <a:lnTo>
                      <a:pt x="1019" y="113"/>
                    </a:lnTo>
                    <a:lnTo>
                      <a:pt x="1023" y="115"/>
                    </a:lnTo>
                    <a:lnTo>
                      <a:pt x="1029" y="117"/>
                    </a:lnTo>
                    <a:lnTo>
                      <a:pt x="1029" y="115"/>
                    </a:lnTo>
                    <a:lnTo>
                      <a:pt x="1031" y="113"/>
                    </a:lnTo>
                    <a:lnTo>
                      <a:pt x="1027" y="111"/>
                    </a:lnTo>
                    <a:lnTo>
                      <a:pt x="1025" y="109"/>
                    </a:lnTo>
                    <a:lnTo>
                      <a:pt x="1025" y="107"/>
                    </a:lnTo>
                    <a:lnTo>
                      <a:pt x="1025" y="105"/>
                    </a:lnTo>
                    <a:lnTo>
                      <a:pt x="1027" y="101"/>
                    </a:lnTo>
                    <a:lnTo>
                      <a:pt x="1031" y="97"/>
                    </a:lnTo>
                    <a:lnTo>
                      <a:pt x="1034" y="99"/>
                    </a:lnTo>
                    <a:lnTo>
                      <a:pt x="1038" y="101"/>
                    </a:lnTo>
                    <a:lnTo>
                      <a:pt x="1040" y="97"/>
                    </a:lnTo>
                    <a:lnTo>
                      <a:pt x="1040" y="96"/>
                    </a:lnTo>
                    <a:lnTo>
                      <a:pt x="1044" y="101"/>
                    </a:lnTo>
                    <a:lnTo>
                      <a:pt x="1046" y="105"/>
                    </a:lnTo>
                    <a:lnTo>
                      <a:pt x="1052" y="105"/>
                    </a:lnTo>
                    <a:lnTo>
                      <a:pt x="1061" y="107"/>
                    </a:lnTo>
                    <a:lnTo>
                      <a:pt x="1061" y="103"/>
                    </a:lnTo>
                    <a:lnTo>
                      <a:pt x="1061" y="99"/>
                    </a:lnTo>
                    <a:lnTo>
                      <a:pt x="1063" y="101"/>
                    </a:lnTo>
                    <a:lnTo>
                      <a:pt x="1067" y="101"/>
                    </a:lnTo>
                    <a:lnTo>
                      <a:pt x="1067" y="111"/>
                    </a:lnTo>
                    <a:lnTo>
                      <a:pt x="1069" y="117"/>
                    </a:lnTo>
                    <a:lnTo>
                      <a:pt x="1069" y="113"/>
                    </a:lnTo>
                    <a:lnTo>
                      <a:pt x="1069" y="111"/>
                    </a:lnTo>
                    <a:lnTo>
                      <a:pt x="1073" y="107"/>
                    </a:lnTo>
                    <a:lnTo>
                      <a:pt x="1081" y="101"/>
                    </a:lnTo>
                    <a:lnTo>
                      <a:pt x="1088" y="97"/>
                    </a:lnTo>
                    <a:lnTo>
                      <a:pt x="1096" y="96"/>
                    </a:lnTo>
                    <a:lnTo>
                      <a:pt x="1102" y="99"/>
                    </a:lnTo>
                    <a:lnTo>
                      <a:pt x="1105" y="97"/>
                    </a:lnTo>
                    <a:lnTo>
                      <a:pt x="1109" y="97"/>
                    </a:lnTo>
                    <a:lnTo>
                      <a:pt x="1111" y="101"/>
                    </a:lnTo>
                    <a:lnTo>
                      <a:pt x="1123" y="99"/>
                    </a:lnTo>
                    <a:lnTo>
                      <a:pt x="1130" y="99"/>
                    </a:lnTo>
                    <a:lnTo>
                      <a:pt x="1132" y="103"/>
                    </a:lnTo>
                    <a:lnTo>
                      <a:pt x="1132" y="107"/>
                    </a:lnTo>
                    <a:lnTo>
                      <a:pt x="1132" y="111"/>
                    </a:lnTo>
                    <a:lnTo>
                      <a:pt x="1130" y="113"/>
                    </a:lnTo>
                    <a:lnTo>
                      <a:pt x="1132" y="115"/>
                    </a:lnTo>
                    <a:lnTo>
                      <a:pt x="1134" y="117"/>
                    </a:lnTo>
                    <a:lnTo>
                      <a:pt x="1142" y="119"/>
                    </a:lnTo>
                    <a:lnTo>
                      <a:pt x="1148" y="119"/>
                    </a:lnTo>
                    <a:lnTo>
                      <a:pt x="1150" y="122"/>
                    </a:lnTo>
                    <a:lnTo>
                      <a:pt x="1161" y="120"/>
                    </a:lnTo>
                    <a:lnTo>
                      <a:pt x="1173" y="120"/>
                    </a:lnTo>
                    <a:lnTo>
                      <a:pt x="1184" y="124"/>
                    </a:lnTo>
                    <a:lnTo>
                      <a:pt x="1200" y="128"/>
                    </a:lnTo>
                    <a:lnTo>
                      <a:pt x="1198" y="122"/>
                    </a:lnTo>
                    <a:lnTo>
                      <a:pt x="1205" y="124"/>
                    </a:lnTo>
                    <a:lnTo>
                      <a:pt x="1205" y="122"/>
                    </a:lnTo>
                    <a:lnTo>
                      <a:pt x="1203" y="119"/>
                    </a:lnTo>
                    <a:lnTo>
                      <a:pt x="1207" y="117"/>
                    </a:lnTo>
                    <a:lnTo>
                      <a:pt x="1207" y="115"/>
                    </a:lnTo>
                    <a:lnTo>
                      <a:pt x="1201" y="115"/>
                    </a:lnTo>
                    <a:lnTo>
                      <a:pt x="1194" y="113"/>
                    </a:lnTo>
                    <a:lnTo>
                      <a:pt x="1194" y="109"/>
                    </a:lnTo>
                    <a:lnTo>
                      <a:pt x="1190" y="105"/>
                    </a:lnTo>
                    <a:lnTo>
                      <a:pt x="1188" y="103"/>
                    </a:lnTo>
                    <a:lnTo>
                      <a:pt x="1188" y="99"/>
                    </a:lnTo>
                    <a:lnTo>
                      <a:pt x="1190" y="96"/>
                    </a:lnTo>
                    <a:lnTo>
                      <a:pt x="1194" y="96"/>
                    </a:lnTo>
                    <a:lnTo>
                      <a:pt x="1196" y="96"/>
                    </a:lnTo>
                    <a:lnTo>
                      <a:pt x="1201" y="92"/>
                    </a:lnTo>
                    <a:lnTo>
                      <a:pt x="1211" y="92"/>
                    </a:lnTo>
                    <a:lnTo>
                      <a:pt x="1217" y="96"/>
                    </a:lnTo>
                    <a:lnTo>
                      <a:pt x="1221" y="99"/>
                    </a:lnTo>
                    <a:lnTo>
                      <a:pt x="1226" y="101"/>
                    </a:lnTo>
                    <a:lnTo>
                      <a:pt x="1234" y="103"/>
                    </a:lnTo>
                    <a:lnTo>
                      <a:pt x="1230" y="109"/>
                    </a:lnTo>
                    <a:lnTo>
                      <a:pt x="1226" y="115"/>
                    </a:lnTo>
                    <a:lnTo>
                      <a:pt x="1221" y="117"/>
                    </a:lnTo>
                    <a:lnTo>
                      <a:pt x="1213" y="119"/>
                    </a:lnTo>
                    <a:lnTo>
                      <a:pt x="1213" y="122"/>
                    </a:lnTo>
                    <a:lnTo>
                      <a:pt x="1211" y="124"/>
                    </a:lnTo>
                    <a:lnTo>
                      <a:pt x="1211" y="124"/>
                    </a:lnTo>
                    <a:lnTo>
                      <a:pt x="1213" y="126"/>
                    </a:lnTo>
                    <a:lnTo>
                      <a:pt x="1217" y="126"/>
                    </a:lnTo>
                    <a:lnTo>
                      <a:pt x="1215" y="126"/>
                    </a:lnTo>
                    <a:lnTo>
                      <a:pt x="1215" y="128"/>
                    </a:lnTo>
                    <a:lnTo>
                      <a:pt x="1215" y="130"/>
                    </a:lnTo>
                    <a:lnTo>
                      <a:pt x="1217" y="134"/>
                    </a:lnTo>
                    <a:lnTo>
                      <a:pt x="1221" y="132"/>
                    </a:lnTo>
                    <a:lnTo>
                      <a:pt x="1226" y="130"/>
                    </a:lnTo>
                    <a:lnTo>
                      <a:pt x="1230" y="130"/>
                    </a:lnTo>
                    <a:lnTo>
                      <a:pt x="1230" y="134"/>
                    </a:lnTo>
                    <a:lnTo>
                      <a:pt x="1228" y="136"/>
                    </a:lnTo>
                    <a:lnTo>
                      <a:pt x="1226" y="138"/>
                    </a:lnTo>
                    <a:lnTo>
                      <a:pt x="1230" y="138"/>
                    </a:lnTo>
                    <a:lnTo>
                      <a:pt x="1234" y="138"/>
                    </a:lnTo>
                    <a:lnTo>
                      <a:pt x="1236" y="134"/>
                    </a:lnTo>
                    <a:lnTo>
                      <a:pt x="1238" y="132"/>
                    </a:lnTo>
                    <a:lnTo>
                      <a:pt x="1238" y="136"/>
                    </a:lnTo>
                    <a:lnTo>
                      <a:pt x="1238" y="140"/>
                    </a:lnTo>
                    <a:lnTo>
                      <a:pt x="1238" y="142"/>
                    </a:lnTo>
                    <a:lnTo>
                      <a:pt x="1238" y="143"/>
                    </a:lnTo>
                    <a:lnTo>
                      <a:pt x="1240" y="145"/>
                    </a:lnTo>
                    <a:lnTo>
                      <a:pt x="1242" y="136"/>
                    </a:lnTo>
                    <a:lnTo>
                      <a:pt x="1249" y="140"/>
                    </a:lnTo>
                    <a:lnTo>
                      <a:pt x="1257" y="143"/>
                    </a:lnTo>
                    <a:lnTo>
                      <a:pt x="1259" y="147"/>
                    </a:lnTo>
                    <a:lnTo>
                      <a:pt x="1259" y="151"/>
                    </a:lnTo>
                    <a:lnTo>
                      <a:pt x="1265" y="149"/>
                    </a:lnTo>
                    <a:lnTo>
                      <a:pt x="1267" y="149"/>
                    </a:lnTo>
                    <a:lnTo>
                      <a:pt x="1269" y="151"/>
                    </a:lnTo>
                    <a:lnTo>
                      <a:pt x="1269" y="153"/>
                    </a:lnTo>
                    <a:lnTo>
                      <a:pt x="1267" y="153"/>
                    </a:lnTo>
                    <a:lnTo>
                      <a:pt x="1263" y="153"/>
                    </a:lnTo>
                    <a:lnTo>
                      <a:pt x="1263" y="155"/>
                    </a:lnTo>
                    <a:lnTo>
                      <a:pt x="1263" y="159"/>
                    </a:lnTo>
                    <a:lnTo>
                      <a:pt x="1267" y="159"/>
                    </a:lnTo>
                    <a:lnTo>
                      <a:pt x="1269" y="157"/>
                    </a:lnTo>
                    <a:lnTo>
                      <a:pt x="1274" y="163"/>
                    </a:lnTo>
                    <a:lnTo>
                      <a:pt x="1276" y="165"/>
                    </a:lnTo>
                    <a:lnTo>
                      <a:pt x="1280" y="165"/>
                    </a:lnTo>
                    <a:lnTo>
                      <a:pt x="1284" y="165"/>
                    </a:lnTo>
                    <a:lnTo>
                      <a:pt x="1286" y="167"/>
                    </a:lnTo>
                    <a:lnTo>
                      <a:pt x="1290" y="170"/>
                    </a:lnTo>
                    <a:lnTo>
                      <a:pt x="1294" y="168"/>
                    </a:lnTo>
                    <a:lnTo>
                      <a:pt x="1295" y="168"/>
                    </a:lnTo>
                    <a:lnTo>
                      <a:pt x="1295" y="170"/>
                    </a:lnTo>
                    <a:lnTo>
                      <a:pt x="1294" y="172"/>
                    </a:lnTo>
                    <a:lnTo>
                      <a:pt x="1294" y="174"/>
                    </a:lnTo>
                    <a:lnTo>
                      <a:pt x="1294" y="178"/>
                    </a:lnTo>
                    <a:lnTo>
                      <a:pt x="1294" y="178"/>
                    </a:lnTo>
                    <a:lnTo>
                      <a:pt x="1294" y="180"/>
                    </a:lnTo>
                    <a:lnTo>
                      <a:pt x="1295" y="180"/>
                    </a:lnTo>
                    <a:lnTo>
                      <a:pt x="1297" y="180"/>
                    </a:lnTo>
                    <a:lnTo>
                      <a:pt x="1303" y="174"/>
                    </a:lnTo>
                    <a:lnTo>
                      <a:pt x="1307" y="163"/>
                    </a:lnTo>
                    <a:lnTo>
                      <a:pt x="1309" y="151"/>
                    </a:lnTo>
                    <a:lnTo>
                      <a:pt x="1311" y="143"/>
                    </a:lnTo>
                    <a:lnTo>
                      <a:pt x="1313" y="147"/>
                    </a:lnTo>
                    <a:lnTo>
                      <a:pt x="1315" y="151"/>
                    </a:lnTo>
                    <a:lnTo>
                      <a:pt x="1318" y="151"/>
                    </a:lnTo>
                    <a:lnTo>
                      <a:pt x="1318" y="155"/>
                    </a:lnTo>
                    <a:lnTo>
                      <a:pt x="1317" y="161"/>
                    </a:lnTo>
                    <a:lnTo>
                      <a:pt x="1324" y="159"/>
                    </a:lnTo>
                    <a:lnTo>
                      <a:pt x="1330" y="157"/>
                    </a:lnTo>
                    <a:lnTo>
                      <a:pt x="1334" y="153"/>
                    </a:lnTo>
                    <a:lnTo>
                      <a:pt x="1338" y="149"/>
                    </a:lnTo>
                    <a:lnTo>
                      <a:pt x="1342" y="149"/>
                    </a:lnTo>
                    <a:lnTo>
                      <a:pt x="1343" y="149"/>
                    </a:lnTo>
                    <a:lnTo>
                      <a:pt x="1345" y="151"/>
                    </a:lnTo>
                    <a:lnTo>
                      <a:pt x="1345" y="153"/>
                    </a:lnTo>
                    <a:lnTo>
                      <a:pt x="1353" y="155"/>
                    </a:lnTo>
                    <a:lnTo>
                      <a:pt x="1359" y="157"/>
                    </a:lnTo>
                    <a:lnTo>
                      <a:pt x="1365" y="163"/>
                    </a:lnTo>
                    <a:lnTo>
                      <a:pt x="1372" y="167"/>
                    </a:lnTo>
                    <a:lnTo>
                      <a:pt x="1382" y="159"/>
                    </a:lnTo>
                    <a:lnTo>
                      <a:pt x="1390" y="153"/>
                    </a:lnTo>
                    <a:lnTo>
                      <a:pt x="1390" y="157"/>
                    </a:lnTo>
                    <a:lnTo>
                      <a:pt x="1390" y="161"/>
                    </a:lnTo>
                    <a:lnTo>
                      <a:pt x="1393" y="161"/>
                    </a:lnTo>
                    <a:lnTo>
                      <a:pt x="1393" y="159"/>
                    </a:lnTo>
                    <a:lnTo>
                      <a:pt x="1395" y="161"/>
                    </a:lnTo>
                    <a:lnTo>
                      <a:pt x="1403" y="157"/>
                    </a:lnTo>
                    <a:lnTo>
                      <a:pt x="1403" y="155"/>
                    </a:lnTo>
                    <a:lnTo>
                      <a:pt x="1401" y="151"/>
                    </a:lnTo>
                    <a:lnTo>
                      <a:pt x="1399" y="147"/>
                    </a:lnTo>
                    <a:lnTo>
                      <a:pt x="1397" y="143"/>
                    </a:lnTo>
                    <a:lnTo>
                      <a:pt x="1399" y="140"/>
                    </a:lnTo>
                    <a:lnTo>
                      <a:pt x="1403" y="140"/>
                    </a:lnTo>
                    <a:lnTo>
                      <a:pt x="1405" y="138"/>
                    </a:lnTo>
                    <a:lnTo>
                      <a:pt x="1403" y="136"/>
                    </a:lnTo>
                    <a:lnTo>
                      <a:pt x="1399" y="136"/>
                    </a:lnTo>
                    <a:lnTo>
                      <a:pt x="1401" y="130"/>
                    </a:lnTo>
                    <a:lnTo>
                      <a:pt x="1407" y="130"/>
                    </a:lnTo>
                    <a:lnTo>
                      <a:pt x="1414" y="130"/>
                    </a:lnTo>
                    <a:lnTo>
                      <a:pt x="1413" y="126"/>
                    </a:lnTo>
                    <a:lnTo>
                      <a:pt x="1409" y="124"/>
                    </a:lnTo>
                    <a:lnTo>
                      <a:pt x="1409" y="120"/>
                    </a:lnTo>
                    <a:lnTo>
                      <a:pt x="1413" y="120"/>
                    </a:lnTo>
                    <a:lnTo>
                      <a:pt x="1416" y="120"/>
                    </a:lnTo>
                    <a:lnTo>
                      <a:pt x="1418" y="122"/>
                    </a:lnTo>
                    <a:lnTo>
                      <a:pt x="1420" y="126"/>
                    </a:lnTo>
                    <a:lnTo>
                      <a:pt x="1441" y="130"/>
                    </a:lnTo>
                    <a:lnTo>
                      <a:pt x="1464" y="132"/>
                    </a:lnTo>
                    <a:lnTo>
                      <a:pt x="1472" y="134"/>
                    </a:lnTo>
                    <a:lnTo>
                      <a:pt x="1470" y="136"/>
                    </a:lnTo>
                    <a:lnTo>
                      <a:pt x="1464" y="136"/>
                    </a:lnTo>
                    <a:lnTo>
                      <a:pt x="1457" y="136"/>
                    </a:lnTo>
                    <a:lnTo>
                      <a:pt x="1459" y="140"/>
                    </a:lnTo>
                    <a:lnTo>
                      <a:pt x="1459" y="143"/>
                    </a:lnTo>
                    <a:lnTo>
                      <a:pt x="1472" y="142"/>
                    </a:lnTo>
                    <a:lnTo>
                      <a:pt x="1485" y="142"/>
                    </a:lnTo>
                    <a:lnTo>
                      <a:pt x="1484" y="145"/>
                    </a:lnTo>
                    <a:lnTo>
                      <a:pt x="1484" y="149"/>
                    </a:lnTo>
                    <a:lnTo>
                      <a:pt x="1480" y="147"/>
                    </a:lnTo>
                    <a:lnTo>
                      <a:pt x="1478" y="143"/>
                    </a:lnTo>
                    <a:lnTo>
                      <a:pt x="1478" y="145"/>
                    </a:lnTo>
                    <a:lnTo>
                      <a:pt x="1474" y="149"/>
                    </a:lnTo>
                    <a:lnTo>
                      <a:pt x="1468" y="153"/>
                    </a:lnTo>
                    <a:lnTo>
                      <a:pt x="1470" y="155"/>
                    </a:lnTo>
                    <a:lnTo>
                      <a:pt x="1472" y="157"/>
                    </a:lnTo>
                    <a:lnTo>
                      <a:pt x="1470" y="159"/>
                    </a:lnTo>
                    <a:lnTo>
                      <a:pt x="1466" y="161"/>
                    </a:lnTo>
                    <a:lnTo>
                      <a:pt x="1466" y="163"/>
                    </a:lnTo>
                    <a:lnTo>
                      <a:pt x="1474" y="163"/>
                    </a:lnTo>
                    <a:lnTo>
                      <a:pt x="1480" y="161"/>
                    </a:lnTo>
                    <a:lnTo>
                      <a:pt x="1484" y="157"/>
                    </a:lnTo>
                    <a:lnTo>
                      <a:pt x="1485" y="151"/>
                    </a:lnTo>
                    <a:lnTo>
                      <a:pt x="1487" y="147"/>
                    </a:lnTo>
                    <a:lnTo>
                      <a:pt x="1487" y="143"/>
                    </a:lnTo>
                    <a:lnTo>
                      <a:pt x="1487" y="142"/>
                    </a:lnTo>
                    <a:lnTo>
                      <a:pt x="1495" y="140"/>
                    </a:lnTo>
                    <a:lnTo>
                      <a:pt x="1503" y="140"/>
                    </a:lnTo>
                    <a:lnTo>
                      <a:pt x="1503" y="138"/>
                    </a:lnTo>
                    <a:lnTo>
                      <a:pt x="1507" y="138"/>
                    </a:lnTo>
                    <a:lnTo>
                      <a:pt x="1518" y="142"/>
                    </a:lnTo>
                    <a:lnTo>
                      <a:pt x="1530" y="147"/>
                    </a:lnTo>
                    <a:lnTo>
                      <a:pt x="1528" y="151"/>
                    </a:lnTo>
                    <a:lnTo>
                      <a:pt x="1526" y="157"/>
                    </a:lnTo>
                    <a:lnTo>
                      <a:pt x="1520" y="155"/>
                    </a:lnTo>
                    <a:lnTo>
                      <a:pt x="1518" y="155"/>
                    </a:lnTo>
                    <a:lnTo>
                      <a:pt x="1516" y="155"/>
                    </a:lnTo>
                    <a:lnTo>
                      <a:pt x="1516" y="159"/>
                    </a:lnTo>
                    <a:lnTo>
                      <a:pt x="1520" y="161"/>
                    </a:lnTo>
                    <a:lnTo>
                      <a:pt x="1524" y="163"/>
                    </a:lnTo>
                    <a:lnTo>
                      <a:pt x="1528" y="163"/>
                    </a:lnTo>
                    <a:lnTo>
                      <a:pt x="1530" y="163"/>
                    </a:lnTo>
                    <a:lnTo>
                      <a:pt x="1530" y="161"/>
                    </a:lnTo>
                    <a:lnTo>
                      <a:pt x="1532" y="159"/>
                    </a:lnTo>
                    <a:lnTo>
                      <a:pt x="1537" y="153"/>
                    </a:lnTo>
                    <a:lnTo>
                      <a:pt x="1539" y="153"/>
                    </a:lnTo>
                    <a:lnTo>
                      <a:pt x="1539" y="153"/>
                    </a:lnTo>
                    <a:lnTo>
                      <a:pt x="1539" y="155"/>
                    </a:lnTo>
                    <a:lnTo>
                      <a:pt x="1537" y="159"/>
                    </a:lnTo>
                    <a:lnTo>
                      <a:pt x="1532" y="167"/>
                    </a:lnTo>
                    <a:lnTo>
                      <a:pt x="1524" y="172"/>
                    </a:lnTo>
                    <a:lnTo>
                      <a:pt x="1520" y="172"/>
                    </a:lnTo>
                    <a:lnTo>
                      <a:pt x="1516" y="170"/>
                    </a:lnTo>
                    <a:lnTo>
                      <a:pt x="1514" y="172"/>
                    </a:lnTo>
                    <a:lnTo>
                      <a:pt x="1512" y="174"/>
                    </a:lnTo>
                    <a:lnTo>
                      <a:pt x="1535" y="176"/>
                    </a:lnTo>
                    <a:lnTo>
                      <a:pt x="1562" y="174"/>
                    </a:lnTo>
                    <a:lnTo>
                      <a:pt x="1566" y="170"/>
                    </a:lnTo>
                    <a:lnTo>
                      <a:pt x="1576" y="172"/>
                    </a:lnTo>
                    <a:lnTo>
                      <a:pt x="1583" y="172"/>
                    </a:lnTo>
                    <a:lnTo>
                      <a:pt x="1589" y="168"/>
                    </a:lnTo>
                    <a:lnTo>
                      <a:pt x="1599" y="168"/>
                    </a:lnTo>
                    <a:lnTo>
                      <a:pt x="1606" y="168"/>
                    </a:lnTo>
                    <a:lnTo>
                      <a:pt x="1608" y="170"/>
                    </a:lnTo>
                    <a:lnTo>
                      <a:pt x="1610" y="172"/>
                    </a:lnTo>
                    <a:lnTo>
                      <a:pt x="1622" y="168"/>
                    </a:lnTo>
                    <a:lnTo>
                      <a:pt x="1629" y="167"/>
                    </a:lnTo>
                    <a:lnTo>
                      <a:pt x="1633" y="170"/>
                    </a:lnTo>
                    <a:lnTo>
                      <a:pt x="1639" y="170"/>
                    </a:lnTo>
                    <a:lnTo>
                      <a:pt x="1645" y="172"/>
                    </a:lnTo>
                    <a:lnTo>
                      <a:pt x="1647" y="174"/>
                    </a:lnTo>
                    <a:lnTo>
                      <a:pt x="1647" y="178"/>
                    </a:lnTo>
                    <a:lnTo>
                      <a:pt x="1652" y="182"/>
                    </a:lnTo>
                    <a:lnTo>
                      <a:pt x="1658" y="186"/>
                    </a:lnTo>
                    <a:lnTo>
                      <a:pt x="1658" y="188"/>
                    </a:lnTo>
                    <a:lnTo>
                      <a:pt x="1654" y="188"/>
                    </a:lnTo>
                    <a:lnTo>
                      <a:pt x="1656" y="191"/>
                    </a:lnTo>
                    <a:lnTo>
                      <a:pt x="1654" y="197"/>
                    </a:lnTo>
                    <a:lnTo>
                      <a:pt x="1658" y="199"/>
                    </a:lnTo>
                    <a:lnTo>
                      <a:pt x="1662" y="199"/>
                    </a:lnTo>
                    <a:lnTo>
                      <a:pt x="1666" y="209"/>
                    </a:lnTo>
                    <a:lnTo>
                      <a:pt x="1668" y="216"/>
                    </a:lnTo>
                    <a:lnTo>
                      <a:pt x="1670" y="209"/>
                    </a:lnTo>
                    <a:lnTo>
                      <a:pt x="1674" y="203"/>
                    </a:lnTo>
                    <a:lnTo>
                      <a:pt x="1677" y="199"/>
                    </a:lnTo>
                    <a:lnTo>
                      <a:pt x="1681" y="197"/>
                    </a:lnTo>
                    <a:lnTo>
                      <a:pt x="1695" y="195"/>
                    </a:lnTo>
                    <a:lnTo>
                      <a:pt x="1712" y="195"/>
                    </a:lnTo>
                    <a:lnTo>
                      <a:pt x="1712" y="199"/>
                    </a:lnTo>
                    <a:lnTo>
                      <a:pt x="1714" y="201"/>
                    </a:lnTo>
                    <a:lnTo>
                      <a:pt x="1718" y="199"/>
                    </a:lnTo>
                    <a:lnTo>
                      <a:pt x="1720" y="197"/>
                    </a:lnTo>
                    <a:lnTo>
                      <a:pt x="1729" y="197"/>
                    </a:lnTo>
                    <a:lnTo>
                      <a:pt x="1739" y="199"/>
                    </a:lnTo>
                    <a:lnTo>
                      <a:pt x="1737" y="199"/>
                    </a:lnTo>
                    <a:lnTo>
                      <a:pt x="1737" y="201"/>
                    </a:lnTo>
                    <a:lnTo>
                      <a:pt x="1739" y="203"/>
                    </a:lnTo>
                    <a:lnTo>
                      <a:pt x="1743" y="203"/>
                    </a:lnTo>
                    <a:lnTo>
                      <a:pt x="1750" y="199"/>
                    </a:lnTo>
                    <a:lnTo>
                      <a:pt x="1758" y="195"/>
                    </a:lnTo>
                    <a:lnTo>
                      <a:pt x="1760" y="201"/>
                    </a:lnTo>
                    <a:lnTo>
                      <a:pt x="1758" y="205"/>
                    </a:lnTo>
                    <a:lnTo>
                      <a:pt x="1764" y="207"/>
                    </a:lnTo>
                    <a:lnTo>
                      <a:pt x="1766" y="213"/>
                    </a:lnTo>
                    <a:lnTo>
                      <a:pt x="1766" y="220"/>
                    </a:lnTo>
                    <a:lnTo>
                      <a:pt x="1771" y="220"/>
                    </a:lnTo>
                    <a:lnTo>
                      <a:pt x="1775" y="220"/>
                    </a:lnTo>
                    <a:lnTo>
                      <a:pt x="1777" y="218"/>
                    </a:lnTo>
                    <a:lnTo>
                      <a:pt x="1777" y="216"/>
                    </a:lnTo>
                    <a:lnTo>
                      <a:pt x="1779" y="216"/>
                    </a:lnTo>
                    <a:lnTo>
                      <a:pt x="1783" y="218"/>
                    </a:lnTo>
                    <a:lnTo>
                      <a:pt x="1787" y="214"/>
                    </a:lnTo>
                    <a:lnTo>
                      <a:pt x="1789" y="211"/>
                    </a:lnTo>
                    <a:lnTo>
                      <a:pt x="1791" y="209"/>
                    </a:lnTo>
                    <a:lnTo>
                      <a:pt x="1793" y="209"/>
                    </a:lnTo>
                    <a:lnTo>
                      <a:pt x="1791" y="203"/>
                    </a:lnTo>
                    <a:lnTo>
                      <a:pt x="1791" y="201"/>
                    </a:lnTo>
                    <a:lnTo>
                      <a:pt x="1793" y="199"/>
                    </a:lnTo>
                    <a:lnTo>
                      <a:pt x="1789" y="197"/>
                    </a:lnTo>
                    <a:lnTo>
                      <a:pt x="1785" y="193"/>
                    </a:lnTo>
                    <a:lnTo>
                      <a:pt x="1787" y="182"/>
                    </a:lnTo>
                    <a:lnTo>
                      <a:pt x="1791" y="184"/>
                    </a:lnTo>
                    <a:lnTo>
                      <a:pt x="1793" y="186"/>
                    </a:lnTo>
                    <a:lnTo>
                      <a:pt x="1802" y="186"/>
                    </a:lnTo>
                    <a:lnTo>
                      <a:pt x="1810" y="184"/>
                    </a:lnTo>
                    <a:lnTo>
                      <a:pt x="1812" y="188"/>
                    </a:lnTo>
                    <a:lnTo>
                      <a:pt x="1829" y="186"/>
                    </a:lnTo>
                    <a:lnTo>
                      <a:pt x="1844" y="186"/>
                    </a:lnTo>
                    <a:lnTo>
                      <a:pt x="1846" y="188"/>
                    </a:lnTo>
                    <a:lnTo>
                      <a:pt x="1848" y="191"/>
                    </a:lnTo>
                    <a:lnTo>
                      <a:pt x="1854" y="191"/>
                    </a:lnTo>
                    <a:lnTo>
                      <a:pt x="1860" y="193"/>
                    </a:lnTo>
                    <a:lnTo>
                      <a:pt x="1864" y="199"/>
                    </a:lnTo>
                    <a:lnTo>
                      <a:pt x="1869" y="203"/>
                    </a:lnTo>
                    <a:lnTo>
                      <a:pt x="1873" y="201"/>
                    </a:lnTo>
                    <a:lnTo>
                      <a:pt x="1877" y="201"/>
                    </a:lnTo>
                    <a:lnTo>
                      <a:pt x="1883" y="199"/>
                    </a:lnTo>
                    <a:lnTo>
                      <a:pt x="1888" y="203"/>
                    </a:lnTo>
                    <a:lnTo>
                      <a:pt x="1890" y="205"/>
                    </a:lnTo>
                    <a:lnTo>
                      <a:pt x="1890" y="209"/>
                    </a:lnTo>
                    <a:lnTo>
                      <a:pt x="1898" y="214"/>
                    </a:lnTo>
                    <a:lnTo>
                      <a:pt x="1904" y="220"/>
                    </a:lnTo>
                    <a:lnTo>
                      <a:pt x="1908" y="220"/>
                    </a:lnTo>
                    <a:lnTo>
                      <a:pt x="1912" y="220"/>
                    </a:lnTo>
                    <a:lnTo>
                      <a:pt x="1917" y="226"/>
                    </a:lnTo>
                    <a:lnTo>
                      <a:pt x="1921" y="232"/>
                    </a:lnTo>
                    <a:lnTo>
                      <a:pt x="1927" y="232"/>
                    </a:lnTo>
                    <a:lnTo>
                      <a:pt x="1931" y="234"/>
                    </a:lnTo>
                    <a:lnTo>
                      <a:pt x="1931" y="238"/>
                    </a:lnTo>
                    <a:lnTo>
                      <a:pt x="1935" y="238"/>
                    </a:lnTo>
                    <a:lnTo>
                      <a:pt x="1936" y="239"/>
                    </a:lnTo>
                    <a:lnTo>
                      <a:pt x="1936" y="241"/>
                    </a:lnTo>
                    <a:lnTo>
                      <a:pt x="1936" y="245"/>
                    </a:lnTo>
                    <a:lnTo>
                      <a:pt x="1942" y="245"/>
                    </a:lnTo>
                    <a:lnTo>
                      <a:pt x="1948" y="245"/>
                    </a:lnTo>
                    <a:lnTo>
                      <a:pt x="1950" y="247"/>
                    </a:lnTo>
                    <a:lnTo>
                      <a:pt x="1952" y="251"/>
                    </a:lnTo>
                    <a:lnTo>
                      <a:pt x="1954" y="251"/>
                    </a:lnTo>
                    <a:lnTo>
                      <a:pt x="1956" y="249"/>
                    </a:lnTo>
                    <a:lnTo>
                      <a:pt x="1958" y="253"/>
                    </a:lnTo>
                    <a:lnTo>
                      <a:pt x="1963" y="261"/>
                    </a:lnTo>
                    <a:lnTo>
                      <a:pt x="1963" y="264"/>
                    </a:lnTo>
                    <a:lnTo>
                      <a:pt x="1965" y="268"/>
                    </a:lnTo>
                    <a:lnTo>
                      <a:pt x="1963" y="270"/>
                    </a:lnTo>
                    <a:lnTo>
                      <a:pt x="1961" y="272"/>
                    </a:lnTo>
                    <a:lnTo>
                      <a:pt x="1967" y="272"/>
                    </a:lnTo>
                    <a:lnTo>
                      <a:pt x="1967" y="272"/>
                    </a:lnTo>
                    <a:lnTo>
                      <a:pt x="1967" y="268"/>
                    </a:lnTo>
                    <a:lnTo>
                      <a:pt x="1965" y="266"/>
                    </a:lnTo>
                    <a:lnTo>
                      <a:pt x="1967" y="264"/>
                    </a:lnTo>
                    <a:lnTo>
                      <a:pt x="1969" y="262"/>
                    </a:lnTo>
                    <a:lnTo>
                      <a:pt x="1981" y="262"/>
                    </a:lnTo>
                    <a:lnTo>
                      <a:pt x="1990" y="262"/>
                    </a:lnTo>
                    <a:lnTo>
                      <a:pt x="2000" y="270"/>
                    </a:lnTo>
                    <a:lnTo>
                      <a:pt x="2007" y="280"/>
                    </a:lnTo>
                    <a:lnTo>
                      <a:pt x="2015" y="284"/>
                    </a:lnTo>
                    <a:lnTo>
                      <a:pt x="2023" y="287"/>
                    </a:lnTo>
                    <a:lnTo>
                      <a:pt x="2019" y="287"/>
                    </a:lnTo>
                    <a:lnTo>
                      <a:pt x="2019" y="291"/>
                    </a:lnTo>
                    <a:lnTo>
                      <a:pt x="2017" y="295"/>
                    </a:lnTo>
                    <a:lnTo>
                      <a:pt x="2013" y="295"/>
                    </a:lnTo>
                    <a:lnTo>
                      <a:pt x="2015" y="299"/>
                    </a:lnTo>
                    <a:lnTo>
                      <a:pt x="2015" y="303"/>
                    </a:lnTo>
                    <a:lnTo>
                      <a:pt x="2013" y="303"/>
                    </a:lnTo>
                    <a:lnTo>
                      <a:pt x="2013" y="301"/>
                    </a:lnTo>
                    <a:lnTo>
                      <a:pt x="2004" y="299"/>
                    </a:lnTo>
                    <a:lnTo>
                      <a:pt x="2002" y="299"/>
                    </a:lnTo>
                    <a:lnTo>
                      <a:pt x="2000" y="299"/>
                    </a:lnTo>
                    <a:lnTo>
                      <a:pt x="2000" y="297"/>
                    </a:lnTo>
                    <a:lnTo>
                      <a:pt x="1996" y="297"/>
                    </a:lnTo>
                    <a:lnTo>
                      <a:pt x="1992" y="297"/>
                    </a:lnTo>
                    <a:lnTo>
                      <a:pt x="1994" y="299"/>
                    </a:lnTo>
                    <a:lnTo>
                      <a:pt x="1994" y="301"/>
                    </a:lnTo>
                    <a:lnTo>
                      <a:pt x="1994" y="305"/>
                    </a:lnTo>
                    <a:lnTo>
                      <a:pt x="1996" y="305"/>
                    </a:lnTo>
                    <a:lnTo>
                      <a:pt x="2000" y="303"/>
                    </a:lnTo>
                    <a:lnTo>
                      <a:pt x="2000" y="307"/>
                    </a:lnTo>
                    <a:lnTo>
                      <a:pt x="2000" y="310"/>
                    </a:lnTo>
                    <a:lnTo>
                      <a:pt x="1996" y="310"/>
                    </a:lnTo>
                    <a:lnTo>
                      <a:pt x="1992" y="310"/>
                    </a:lnTo>
                    <a:lnTo>
                      <a:pt x="1992" y="314"/>
                    </a:lnTo>
                    <a:lnTo>
                      <a:pt x="1998" y="322"/>
                    </a:lnTo>
                    <a:lnTo>
                      <a:pt x="1998" y="324"/>
                    </a:lnTo>
                    <a:lnTo>
                      <a:pt x="1994" y="324"/>
                    </a:lnTo>
                    <a:lnTo>
                      <a:pt x="1986" y="324"/>
                    </a:lnTo>
                    <a:lnTo>
                      <a:pt x="1986" y="320"/>
                    </a:lnTo>
                    <a:lnTo>
                      <a:pt x="1983" y="322"/>
                    </a:lnTo>
                    <a:lnTo>
                      <a:pt x="1977" y="324"/>
                    </a:lnTo>
                    <a:lnTo>
                      <a:pt x="1977" y="320"/>
                    </a:lnTo>
                    <a:lnTo>
                      <a:pt x="1961" y="314"/>
                    </a:lnTo>
                    <a:lnTo>
                      <a:pt x="1950" y="310"/>
                    </a:lnTo>
                    <a:lnTo>
                      <a:pt x="1952" y="307"/>
                    </a:lnTo>
                    <a:lnTo>
                      <a:pt x="1952" y="303"/>
                    </a:lnTo>
                    <a:lnTo>
                      <a:pt x="1950" y="301"/>
                    </a:lnTo>
                    <a:lnTo>
                      <a:pt x="1946" y="299"/>
                    </a:lnTo>
                    <a:lnTo>
                      <a:pt x="1940" y="293"/>
                    </a:lnTo>
                    <a:lnTo>
                      <a:pt x="1935" y="291"/>
                    </a:lnTo>
                    <a:lnTo>
                      <a:pt x="1929" y="293"/>
                    </a:lnTo>
                    <a:lnTo>
                      <a:pt x="1921" y="297"/>
                    </a:lnTo>
                    <a:lnTo>
                      <a:pt x="1923" y="299"/>
                    </a:lnTo>
                    <a:lnTo>
                      <a:pt x="1921" y="301"/>
                    </a:lnTo>
                    <a:lnTo>
                      <a:pt x="1917" y="297"/>
                    </a:lnTo>
                    <a:lnTo>
                      <a:pt x="1912" y="293"/>
                    </a:lnTo>
                    <a:lnTo>
                      <a:pt x="1910" y="289"/>
                    </a:lnTo>
                    <a:lnTo>
                      <a:pt x="1910" y="287"/>
                    </a:lnTo>
                    <a:lnTo>
                      <a:pt x="1912" y="285"/>
                    </a:lnTo>
                    <a:lnTo>
                      <a:pt x="1913" y="284"/>
                    </a:lnTo>
                    <a:lnTo>
                      <a:pt x="1912" y="282"/>
                    </a:lnTo>
                    <a:lnTo>
                      <a:pt x="1910" y="282"/>
                    </a:lnTo>
                    <a:lnTo>
                      <a:pt x="1912" y="276"/>
                    </a:lnTo>
                    <a:lnTo>
                      <a:pt x="1908" y="276"/>
                    </a:lnTo>
                    <a:lnTo>
                      <a:pt x="1904" y="278"/>
                    </a:lnTo>
                    <a:lnTo>
                      <a:pt x="1904" y="282"/>
                    </a:lnTo>
                    <a:lnTo>
                      <a:pt x="1904" y="285"/>
                    </a:lnTo>
                    <a:lnTo>
                      <a:pt x="1902" y="287"/>
                    </a:lnTo>
                    <a:lnTo>
                      <a:pt x="1902" y="291"/>
                    </a:lnTo>
                    <a:lnTo>
                      <a:pt x="1906" y="291"/>
                    </a:lnTo>
                    <a:lnTo>
                      <a:pt x="1908" y="293"/>
                    </a:lnTo>
                    <a:lnTo>
                      <a:pt x="1908" y="301"/>
                    </a:lnTo>
                    <a:lnTo>
                      <a:pt x="1904" y="309"/>
                    </a:lnTo>
                    <a:lnTo>
                      <a:pt x="1896" y="314"/>
                    </a:lnTo>
                    <a:lnTo>
                      <a:pt x="1887" y="314"/>
                    </a:lnTo>
                    <a:lnTo>
                      <a:pt x="1873" y="312"/>
                    </a:lnTo>
                    <a:lnTo>
                      <a:pt x="1869" y="309"/>
                    </a:lnTo>
                    <a:lnTo>
                      <a:pt x="1864" y="309"/>
                    </a:lnTo>
                    <a:lnTo>
                      <a:pt x="1854" y="310"/>
                    </a:lnTo>
                    <a:lnTo>
                      <a:pt x="1854" y="314"/>
                    </a:lnTo>
                    <a:lnTo>
                      <a:pt x="1864" y="314"/>
                    </a:lnTo>
                    <a:lnTo>
                      <a:pt x="1871" y="314"/>
                    </a:lnTo>
                    <a:lnTo>
                      <a:pt x="1869" y="318"/>
                    </a:lnTo>
                    <a:lnTo>
                      <a:pt x="1867" y="320"/>
                    </a:lnTo>
                    <a:lnTo>
                      <a:pt x="1867" y="324"/>
                    </a:lnTo>
                    <a:lnTo>
                      <a:pt x="1871" y="322"/>
                    </a:lnTo>
                    <a:lnTo>
                      <a:pt x="1871" y="322"/>
                    </a:lnTo>
                    <a:lnTo>
                      <a:pt x="1875" y="320"/>
                    </a:lnTo>
                    <a:lnTo>
                      <a:pt x="1877" y="320"/>
                    </a:lnTo>
                    <a:lnTo>
                      <a:pt x="1877" y="322"/>
                    </a:lnTo>
                    <a:lnTo>
                      <a:pt x="1879" y="324"/>
                    </a:lnTo>
                    <a:lnTo>
                      <a:pt x="1883" y="335"/>
                    </a:lnTo>
                    <a:lnTo>
                      <a:pt x="1887" y="345"/>
                    </a:lnTo>
                    <a:lnTo>
                      <a:pt x="1890" y="345"/>
                    </a:lnTo>
                    <a:lnTo>
                      <a:pt x="1892" y="347"/>
                    </a:lnTo>
                    <a:lnTo>
                      <a:pt x="1892" y="351"/>
                    </a:lnTo>
                    <a:lnTo>
                      <a:pt x="1892" y="355"/>
                    </a:lnTo>
                    <a:lnTo>
                      <a:pt x="1890" y="356"/>
                    </a:lnTo>
                    <a:lnTo>
                      <a:pt x="1887" y="360"/>
                    </a:lnTo>
                    <a:lnTo>
                      <a:pt x="1875" y="358"/>
                    </a:lnTo>
                    <a:lnTo>
                      <a:pt x="1858" y="356"/>
                    </a:lnTo>
                    <a:lnTo>
                      <a:pt x="1848" y="360"/>
                    </a:lnTo>
                    <a:lnTo>
                      <a:pt x="1841" y="366"/>
                    </a:lnTo>
                    <a:lnTo>
                      <a:pt x="1835" y="366"/>
                    </a:lnTo>
                    <a:lnTo>
                      <a:pt x="1829" y="368"/>
                    </a:lnTo>
                    <a:lnTo>
                      <a:pt x="1827" y="370"/>
                    </a:lnTo>
                    <a:lnTo>
                      <a:pt x="1825" y="374"/>
                    </a:lnTo>
                    <a:lnTo>
                      <a:pt x="1821" y="372"/>
                    </a:lnTo>
                    <a:lnTo>
                      <a:pt x="1817" y="372"/>
                    </a:lnTo>
                    <a:lnTo>
                      <a:pt x="1819" y="376"/>
                    </a:lnTo>
                    <a:lnTo>
                      <a:pt x="1817" y="380"/>
                    </a:lnTo>
                    <a:lnTo>
                      <a:pt x="1814" y="378"/>
                    </a:lnTo>
                    <a:lnTo>
                      <a:pt x="1808" y="378"/>
                    </a:lnTo>
                    <a:lnTo>
                      <a:pt x="1808" y="380"/>
                    </a:lnTo>
                    <a:lnTo>
                      <a:pt x="1810" y="380"/>
                    </a:lnTo>
                    <a:lnTo>
                      <a:pt x="1810" y="383"/>
                    </a:lnTo>
                    <a:lnTo>
                      <a:pt x="1800" y="387"/>
                    </a:lnTo>
                    <a:lnTo>
                      <a:pt x="1793" y="393"/>
                    </a:lnTo>
                    <a:lnTo>
                      <a:pt x="1789" y="401"/>
                    </a:lnTo>
                    <a:lnTo>
                      <a:pt x="1783" y="410"/>
                    </a:lnTo>
                    <a:lnTo>
                      <a:pt x="1777" y="406"/>
                    </a:lnTo>
                    <a:lnTo>
                      <a:pt x="1771" y="404"/>
                    </a:lnTo>
                    <a:lnTo>
                      <a:pt x="1771" y="401"/>
                    </a:lnTo>
                    <a:lnTo>
                      <a:pt x="1771" y="399"/>
                    </a:lnTo>
                    <a:lnTo>
                      <a:pt x="1764" y="395"/>
                    </a:lnTo>
                    <a:lnTo>
                      <a:pt x="1758" y="393"/>
                    </a:lnTo>
                    <a:lnTo>
                      <a:pt x="1752" y="393"/>
                    </a:lnTo>
                    <a:lnTo>
                      <a:pt x="1745" y="397"/>
                    </a:lnTo>
                    <a:lnTo>
                      <a:pt x="1741" y="403"/>
                    </a:lnTo>
                    <a:lnTo>
                      <a:pt x="1737" y="410"/>
                    </a:lnTo>
                    <a:lnTo>
                      <a:pt x="1735" y="410"/>
                    </a:lnTo>
                    <a:lnTo>
                      <a:pt x="1733" y="412"/>
                    </a:lnTo>
                    <a:lnTo>
                      <a:pt x="1731" y="412"/>
                    </a:lnTo>
                    <a:lnTo>
                      <a:pt x="1729" y="410"/>
                    </a:lnTo>
                    <a:lnTo>
                      <a:pt x="1729" y="408"/>
                    </a:lnTo>
                    <a:lnTo>
                      <a:pt x="1729" y="406"/>
                    </a:lnTo>
                    <a:lnTo>
                      <a:pt x="1731" y="401"/>
                    </a:lnTo>
                    <a:lnTo>
                      <a:pt x="1731" y="397"/>
                    </a:lnTo>
                    <a:lnTo>
                      <a:pt x="1723" y="401"/>
                    </a:lnTo>
                    <a:lnTo>
                      <a:pt x="1718" y="404"/>
                    </a:lnTo>
                    <a:lnTo>
                      <a:pt x="1718" y="406"/>
                    </a:lnTo>
                    <a:lnTo>
                      <a:pt x="1718" y="410"/>
                    </a:lnTo>
                    <a:lnTo>
                      <a:pt x="1698" y="408"/>
                    </a:lnTo>
                    <a:lnTo>
                      <a:pt x="1697" y="412"/>
                    </a:lnTo>
                    <a:lnTo>
                      <a:pt x="1695" y="414"/>
                    </a:lnTo>
                    <a:lnTo>
                      <a:pt x="1697" y="416"/>
                    </a:lnTo>
                    <a:lnTo>
                      <a:pt x="1697" y="420"/>
                    </a:lnTo>
                    <a:lnTo>
                      <a:pt x="1693" y="420"/>
                    </a:lnTo>
                    <a:lnTo>
                      <a:pt x="1693" y="422"/>
                    </a:lnTo>
                    <a:lnTo>
                      <a:pt x="1693" y="426"/>
                    </a:lnTo>
                    <a:lnTo>
                      <a:pt x="1687" y="431"/>
                    </a:lnTo>
                    <a:lnTo>
                      <a:pt x="1679" y="437"/>
                    </a:lnTo>
                    <a:lnTo>
                      <a:pt x="1679" y="443"/>
                    </a:lnTo>
                    <a:lnTo>
                      <a:pt x="1679" y="451"/>
                    </a:lnTo>
                    <a:lnTo>
                      <a:pt x="1683" y="451"/>
                    </a:lnTo>
                    <a:lnTo>
                      <a:pt x="1687" y="452"/>
                    </a:lnTo>
                    <a:lnTo>
                      <a:pt x="1691" y="452"/>
                    </a:lnTo>
                    <a:lnTo>
                      <a:pt x="1693" y="452"/>
                    </a:lnTo>
                    <a:lnTo>
                      <a:pt x="1693" y="454"/>
                    </a:lnTo>
                    <a:lnTo>
                      <a:pt x="1691" y="456"/>
                    </a:lnTo>
                    <a:lnTo>
                      <a:pt x="1691" y="458"/>
                    </a:lnTo>
                    <a:lnTo>
                      <a:pt x="1691" y="462"/>
                    </a:lnTo>
                    <a:lnTo>
                      <a:pt x="1687" y="462"/>
                    </a:lnTo>
                    <a:lnTo>
                      <a:pt x="1685" y="468"/>
                    </a:lnTo>
                    <a:lnTo>
                      <a:pt x="1683" y="468"/>
                    </a:lnTo>
                    <a:lnTo>
                      <a:pt x="1685" y="474"/>
                    </a:lnTo>
                    <a:lnTo>
                      <a:pt x="1687" y="481"/>
                    </a:lnTo>
                    <a:lnTo>
                      <a:pt x="1691" y="479"/>
                    </a:lnTo>
                    <a:lnTo>
                      <a:pt x="1695" y="479"/>
                    </a:lnTo>
                    <a:lnTo>
                      <a:pt x="1695" y="483"/>
                    </a:lnTo>
                    <a:lnTo>
                      <a:pt x="1695" y="487"/>
                    </a:lnTo>
                    <a:lnTo>
                      <a:pt x="1687" y="487"/>
                    </a:lnTo>
                    <a:lnTo>
                      <a:pt x="1681" y="489"/>
                    </a:lnTo>
                    <a:lnTo>
                      <a:pt x="1677" y="493"/>
                    </a:lnTo>
                    <a:lnTo>
                      <a:pt x="1675" y="497"/>
                    </a:lnTo>
                    <a:lnTo>
                      <a:pt x="1674" y="500"/>
                    </a:lnTo>
                    <a:lnTo>
                      <a:pt x="1675" y="506"/>
                    </a:lnTo>
                    <a:lnTo>
                      <a:pt x="1677" y="512"/>
                    </a:lnTo>
                    <a:lnTo>
                      <a:pt x="1681" y="518"/>
                    </a:lnTo>
                    <a:lnTo>
                      <a:pt x="1677" y="522"/>
                    </a:lnTo>
                    <a:lnTo>
                      <a:pt x="1674" y="525"/>
                    </a:lnTo>
                    <a:lnTo>
                      <a:pt x="1672" y="525"/>
                    </a:lnTo>
                    <a:lnTo>
                      <a:pt x="1668" y="523"/>
                    </a:lnTo>
                    <a:lnTo>
                      <a:pt x="1664" y="523"/>
                    </a:lnTo>
                    <a:lnTo>
                      <a:pt x="1658" y="525"/>
                    </a:lnTo>
                    <a:lnTo>
                      <a:pt x="1658" y="529"/>
                    </a:lnTo>
                    <a:lnTo>
                      <a:pt x="1654" y="531"/>
                    </a:lnTo>
                    <a:lnTo>
                      <a:pt x="1651" y="535"/>
                    </a:lnTo>
                    <a:lnTo>
                      <a:pt x="1651" y="541"/>
                    </a:lnTo>
                    <a:lnTo>
                      <a:pt x="1651" y="545"/>
                    </a:lnTo>
                    <a:lnTo>
                      <a:pt x="1651" y="552"/>
                    </a:lnTo>
                    <a:lnTo>
                      <a:pt x="1639" y="556"/>
                    </a:lnTo>
                    <a:lnTo>
                      <a:pt x="1637" y="558"/>
                    </a:lnTo>
                    <a:lnTo>
                      <a:pt x="1637" y="562"/>
                    </a:lnTo>
                    <a:lnTo>
                      <a:pt x="1635" y="573"/>
                    </a:lnTo>
                    <a:lnTo>
                      <a:pt x="1626" y="583"/>
                    </a:lnTo>
                    <a:lnTo>
                      <a:pt x="1614" y="591"/>
                    </a:lnTo>
                    <a:lnTo>
                      <a:pt x="1610" y="564"/>
                    </a:lnTo>
                    <a:lnTo>
                      <a:pt x="1603" y="531"/>
                    </a:lnTo>
                    <a:lnTo>
                      <a:pt x="1601" y="514"/>
                    </a:lnTo>
                    <a:lnTo>
                      <a:pt x="1601" y="499"/>
                    </a:lnTo>
                    <a:lnTo>
                      <a:pt x="1601" y="485"/>
                    </a:lnTo>
                    <a:lnTo>
                      <a:pt x="1604" y="475"/>
                    </a:lnTo>
                    <a:lnTo>
                      <a:pt x="1606" y="474"/>
                    </a:lnTo>
                    <a:lnTo>
                      <a:pt x="1610" y="474"/>
                    </a:lnTo>
                    <a:lnTo>
                      <a:pt x="1614" y="472"/>
                    </a:lnTo>
                    <a:lnTo>
                      <a:pt x="1616" y="468"/>
                    </a:lnTo>
                    <a:lnTo>
                      <a:pt x="1616" y="464"/>
                    </a:lnTo>
                    <a:lnTo>
                      <a:pt x="1618" y="458"/>
                    </a:lnTo>
                    <a:lnTo>
                      <a:pt x="1616" y="458"/>
                    </a:lnTo>
                    <a:lnTo>
                      <a:pt x="1614" y="454"/>
                    </a:lnTo>
                    <a:lnTo>
                      <a:pt x="1620" y="454"/>
                    </a:lnTo>
                    <a:lnTo>
                      <a:pt x="1626" y="454"/>
                    </a:lnTo>
                    <a:lnTo>
                      <a:pt x="1627" y="451"/>
                    </a:lnTo>
                    <a:lnTo>
                      <a:pt x="1629" y="449"/>
                    </a:lnTo>
                    <a:lnTo>
                      <a:pt x="1631" y="451"/>
                    </a:lnTo>
                    <a:lnTo>
                      <a:pt x="1635" y="451"/>
                    </a:lnTo>
                    <a:lnTo>
                      <a:pt x="1635" y="449"/>
                    </a:lnTo>
                    <a:lnTo>
                      <a:pt x="1647" y="439"/>
                    </a:lnTo>
                    <a:lnTo>
                      <a:pt x="1654" y="426"/>
                    </a:lnTo>
                    <a:lnTo>
                      <a:pt x="1664" y="418"/>
                    </a:lnTo>
                    <a:lnTo>
                      <a:pt x="1672" y="412"/>
                    </a:lnTo>
                    <a:lnTo>
                      <a:pt x="1672" y="408"/>
                    </a:lnTo>
                    <a:lnTo>
                      <a:pt x="1672" y="406"/>
                    </a:lnTo>
                    <a:lnTo>
                      <a:pt x="1675" y="404"/>
                    </a:lnTo>
                    <a:lnTo>
                      <a:pt x="1677" y="404"/>
                    </a:lnTo>
                    <a:lnTo>
                      <a:pt x="1677" y="399"/>
                    </a:lnTo>
                    <a:lnTo>
                      <a:pt x="1677" y="395"/>
                    </a:lnTo>
                    <a:lnTo>
                      <a:pt x="1689" y="393"/>
                    </a:lnTo>
                    <a:lnTo>
                      <a:pt x="1697" y="391"/>
                    </a:lnTo>
                    <a:lnTo>
                      <a:pt x="1698" y="391"/>
                    </a:lnTo>
                    <a:lnTo>
                      <a:pt x="1702" y="389"/>
                    </a:lnTo>
                    <a:lnTo>
                      <a:pt x="1702" y="385"/>
                    </a:lnTo>
                    <a:lnTo>
                      <a:pt x="1704" y="380"/>
                    </a:lnTo>
                    <a:lnTo>
                      <a:pt x="1706" y="370"/>
                    </a:lnTo>
                    <a:lnTo>
                      <a:pt x="1706" y="360"/>
                    </a:lnTo>
                    <a:lnTo>
                      <a:pt x="1708" y="360"/>
                    </a:lnTo>
                    <a:lnTo>
                      <a:pt x="1710" y="358"/>
                    </a:lnTo>
                    <a:lnTo>
                      <a:pt x="1710" y="356"/>
                    </a:lnTo>
                    <a:lnTo>
                      <a:pt x="1714" y="356"/>
                    </a:lnTo>
                    <a:lnTo>
                      <a:pt x="1716" y="358"/>
                    </a:lnTo>
                    <a:lnTo>
                      <a:pt x="1722" y="358"/>
                    </a:lnTo>
                    <a:lnTo>
                      <a:pt x="1722" y="356"/>
                    </a:lnTo>
                    <a:lnTo>
                      <a:pt x="1712" y="353"/>
                    </a:lnTo>
                    <a:lnTo>
                      <a:pt x="1708" y="351"/>
                    </a:lnTo>
                    <a:lnTo>
                      <a:pt x="1702" y="353"/>
                    </a:lnTo>
                    <a:lnTo>
                      <a:pt x="1695" y="360"/>
                    </a:lnTo>
                    <a:lnTo>
                      <a:pt x="1695" y="364"/>
                    </a:lnTo>
                    <a:lnTo>
                      <a:pt x="1697" y="364"/>
                    </a:lnTo>
                    <a:lnTo>
                      <a:pt x="1697" y="368"/>
                    </a:lnTo>
                    <a:lnTo>
                      <a:pt x="1698" y="374"/>
                    </a:lnTo>
                    <a:lnTo>
                      <a:pt x="1695" y="374"/>
                    </a:lnTo>
                    <a:lnTo>
                      <a:pt x="1693" y="376"/>
                    </a:lnTo>
                    <a:lnTo>
                      <a:pt x="1693" y="374"/>
                    </a:lnTo>
                    <a:lnTo>
                      <a:pt x="1691" y="374"/>
                    </a:lnTo>
                    <a:lnTo>
                      <a:pt x="1687" y="372"/>
                    </a:lnTo>
                    <a:lnTo>
                      <a:pt x="1681" y="374"/>
                    </a:lnTo>
                    <a:lnTo>
                      <a:pt x="1674" y="381"/>
                    </a:lnTo>
                    <a:lnTo>
                      <a:pt x="1664" y="391"/>
                    </a:lnTo>
                    <a:lnTo>
                      <a:pt x="1662" y="393"/>
                    </a:lnTo>
                    <a:lnTo>
                      <a:pt x="1658" y="397"/>
                    </a:lnTo>
                    <a:lnTo>
                      <a:pt x="1658" y="391"/>
                    </a:lnTo>
                    <a:lnTo>
                      <a:pt x="1660" y="387"/>
                    </a:lnTo>
                    <a:lnTo>
                      <a:pt x="1658" y="387"/>
                    </a:lnTo>
                    <a:lnTo>
                      <a:pt x="1654" y="389"/>
                    </a:lnTo>
                    <a:lnTo>
                      <a:pt x="1652" y="387"/>
                    </a:lnTo>
                    <a:lnTo>
                      <a:pt x="1652" y="385"/>
                    </a:lnTo>
                    <a:lnTo>
                      <a:pt x="1658" y="380"/>
                    </a:lnTo>
                    <a:lnTo>
                      <a:pt x="1660" y="370"/>
                    </a:lnTo>
                    <a:lnTo>
                      <a:pt x="1656" y="372"/>
                    </a:lnTo>
                    <a:lnTo>
                      <a:pt x="1652" y="374"/>
                    </a:lnTo>
                    <a:lnTo>
                      <a:pt x="1652" y="376"/>
                    </a:lnTo>
                    <a:lnTo>
                      <a:pt x="1651" y="374"/>
                    </a:lnTo>
                    <a:lnTo>
                      <a:pt x="1647" y="374"/>
                    </a:lnTo>
                    <a:lnTo>
                      <a:pt x="1645" y="368"/>
                    </a:lnTo>
                    <a:lnTo>
                      <a:pt x="1639" y="370"/>
                    </a:lnTo>
                    <a:lnTo>
                      <a:pt x="1633" y="372"/>
                    </a:lnTo>
                    <a:lnTo>
                      <a:pt x="1624" y="372"/>
                    </a:lnTo>
                    <a:lnTo>
                      <a:pt x="1614" y="376"/>
                    </a:lnTo>
                    <a:lnTo>
                      <a:pt x="1612" y="380"/>
                    </a:lnTo>
                    <a:lnTo>
                      <a:pt x="1608" y="383"/>
                    </a:lnTo>
                    <a:lnTo>
                      <a:pt x="1606" y="383"/>
                    </a:lnTo>
                    <a:lnTo>
                      <a:pt x="1606" y="385"/>
                    </a:lnTo>
                    <a:lnTo>
                      <a:pt x="1606" y="389"/>
                    </a:lnTo>
                    <a:lnTo>
                      <a:pt x="1597" y="393"/>
                    </a:lnTo>
                    <a:lnTo>
                      <a:pt x="1587" y="399"/>
                    </a:lnTo>
                    <a:lnTo>
                      <a:pt x="1585" y="403"/>
                    </a:lnTo>
                    <a:lnTo>
                      <a:pt x="1585" y="408"/>
                    </a:lnTo>
                    <a:lnTo>
                      <a:pt x="1583" y="408"/>
                    </a:lnTo>
                    <a:lnTo>
                      <a:pt x="1581" y="406"/>
                    </a:lnTo>
                    <a:lnTo>
                      <a:pt x="1581" y="412"/>
                    </a:lnTo>
                    <a:lnTo>
                      <a:pt x="1581" y="420"/>
                    </a:lnTo>
                    <a:lnTo>
                      <a:pt x="1585" y="420"/>
                    </a:lnTo>
                    <a:lnTo>
                      <a:pt x="1585" y="418"/>
                    </a:lnTo>
                    <a:lnTo>
                      <a:pt x="1589" y="418"/>
                    </a:lnTo>
                    <a:lnTo>
                      <a:pt x="1593" y="418"/>
                    </a:lnTo>
                    <a:lnTo>
                      <a:pt x="1595" y="424"/>
                    </a:lnTo>
                    <a:lnTo>
                      <a:pt x="1591" y="424"/>
                    </a:lnTo>
                    <a:lnTo>
                      <a:pt x="1591" y="426"/>
                    </a:lnTo>
                    <a:lnTo>
                      <a:pt x="1581" y="426"/>
                    </a:lnTo>
                    <a:lnTo>
                      <a:pt x="1574" y="426"/>
                    </a:lnTo>
                    <a:lnTo>
                      <a:pt x="1572" y="431"/>
                    </a:lnTo>
                    <a:lnTo>
                      <a:pt x="1568" y="431"/>
                    </a:lnTo>
                    <a:lnTo>
                      <a:pt x="1568" y="433"/>
                    </a:lnTo>
                    <a:lnTo>
                      <a:pt x="1568" y="437"/>
                    </a:lnTo>
                    <a:lnTo>
                      <a:pt x="1564" y="435"/>
                    </a:lnTo>
                    <a:lnTo>
                      <a:pt x="1562" y="433"/>
                    </a:lnTo>
                    <a:lnTo>
                      <a:pt x="1560" y="435"/>
                    </a:lnTo>
                    <a:lnTo>
                      <a:pt x="1560" y="439"/>
                    </a:lnTo>
                    <a:lnTo>
                      <a:pt x="1555" y="439"/>
                    </a:lnTo>
                    <a:lnTo>
                      <a:pt x="1547" y="439"/>
                    </a:lnTo>
                    <a:lnTo>
                      <a:pt x="1547" y="435"/>
                    </a:lnTo>
                    <a:lnTo>
                      <a:pt x="1545" y="429"/>
                    </a:lnTo>
                    <a:lnTo>
                      <a:pt x="1553" y="429"/>
                    </a:lnTo>
                    <a:lnTo>
                      <a:pt x="1558" y="429"/>
                    </a:lnTo>
                    <a:lnTo>
                      <a:pt x="1558" y="426"/>
                    </a:lnTo>
                    <a:lnTo>
                      <a:pt x="1555" y="426"/>
                    </a:lnTo>
                    <a:lnTo>
                      <a:pt x="1553" y="420"/>
                    </a:lnTo>
                    <a:lnTo>
                      <a:pt x="1551" y="416"/>
                    </a:lnTo>
                    <a:lnTo>
                      <a:pt x="1547" y="416"/>
                    </a:lnTo>
                    <a:lnTo>
                      <a:pt x="1543" y="418"/>
                    </a:lnTo>
                    <a:lnTo>
                      <a:pt x="1543" y="422"/>
                    </a:lnTo>
                    <a:lnTo>
                      <a:pt x="1539" y="420"/>
                    </a:lnTo>
                    <a:lnTo>
                      <a:pt x="1539" y="418"/>
                    </a:lnTo>
                    <a:lnTo>
                      <a:pt x="1530" y="418"/>
                    </a:lnTo>
                    <a:lnTo>
                      <a:pt x="1518" y="416"/>
                    </a:lnTo>
                    <a:lnTo>
                      <a:pt x="1518" y="429"/>
                    </a:lnTo>
                    <a:lnTo>
                      <a:pt x="1512" y="427"/>
                    </a:lnTo>
                    <a:lnTo>
                      <a:pt x="1510" y="426"/>
                    </a:lnTo>
                    <a:lnTo>
                      <a:pt x="1505" y="427"/>
                    </a:lnTo>
                    <a:lnTo>
                      <a:pt x="1495" y="427"/>
                    </a:lnTo>
                    <a:lnTo>
                      <a:pt x="1491" y="426"/>
                    </a:lnTo>
                    <a:lnTo>
                      <a:pt x="1487" y="422"/>
                    </a:lnTo>
                    <a:lnTo>
                      <a:pt x="1487" y="424"/>
                    </a:lnTo>
                    <a:lnTo>
                      <a:pt x="1485" y="427"/>
                    </a:lnTo>
                    <a:lnTo>
                      <a:pt x="1484" y="427"/>
                    </a:lnTo>
                    <a:lnTo>
                      <a:pt x="1480" y="429"/>
                    </a:lnTo>
                    <a:lnTo>
                      <a:pt x="1478" y="426"/>
                    </a:lnTo>
                    <a:lnTo>
                      <a:pt x="1480" y="422"/>
                    </a:lnTo>
                    <a:lnTo>
                      <a:pt x="1462" y="422"/>
                    </a:lnTo>
                    <a:lnTo>
                      <a:pt x="1447" y="422"/>
                    </a:lnTo>
                    <a:lnTo>
                      <a:pt x="1445" y="418"/>
                    </a:lnTo>
                    <a:lnTo>
                      <a:pt x="1439" y="416"/>
                    </a:lnTo>
                    <a:lnTo>
                      <a:pt x="1439" y="418"/>
                    </a:lnTo>
                    <a:lnTo>
                      <a:pt x="1439" y="422"/>
                    </a:lnTo>
                    <a:lnTo>
                      <a:pt x="1437" y="422"/>
                    </a:lnTo>
                    <a:lnTo>
                      <a:pt x="1434" y="422"/>
                    </a:lnTo>
                    <a:lnTo>
                      <a:pt x="1434" y="424"/>
                    </a:lnTo>
                    <a:lnTo>
                      <a:pt x="1424" y="431"/>
                    </a:lnTo>
                    <a:lnTo>
                      <a:pt x="1414" y="443"/>
                    </a:lnTo>
                    <a:lnTo>
                      <a:pt x="1414" y="449"/>
                    </a:lnTo>
                    <a:lnTo>
                      <a:pt x="1413" y="454"/>
                    </a:lnTo>
                    <a:lnTo>
                      <a:pt x="1409" y="454"/>
                    </a:lnTo>
                    <a:lnTo>
                      <a:pt x="1405" y="454"/>
                    </a:lnTo>
                    <a:lnTo>
                      <a:pt x="1405" y="456"/>
                    </a:lnTo>
                    <a:lnTo>
                      <a:pt x="1405" y="460"/>
                    </a:lnTo>
                    <a:lnTo>
                      <a:pt x="1399" y="462"/>
                    </a:lnTo>
                    <a:lnTo>
                      <a:pt x="1393" y="466"/>
                    </a:lnTo>
                    <a:lnTo>
                      <a:pt x="1391" y="470"/>
                    </a:lnTo>
                    <a:lnTo>
                      <a:pt x="1388" y="474"/>
                    </a:lnTo>
                    <a:lnTo>
                      <a:pt x="1386" y="474"/>
                    </a:lnTo>
                    <a:lnTo>
                      <a:pt x="1384" y="472"/>
                    </a:lnTo>
                    <a:lnTo>
                      <a:pt x="1384" y="477"/>
                    </a:lnTo>
                    <a:lnTo>
                      <a:pt x="1380" y="487"/>
                    </a:lnTo>
                    <a:lnTo>
                      <a:pt x="1378" y="487"/>
                    </a:lnTo>
                    <a:lnTo>
                      <a:pt x="1374" y="489"/>
                    </a:lnTo>
                    <a:lnTo>
                      <a:pt x="1374" y="491"/>
                    </a:lnTo>
                    <a:lnTo>
                      <a:pt x="1374" y="495"/>
                    </a:lnTo>
                    <a:lnTo>
                      <a:pt x="1370" y="495"/>
                    </a:lnTo>
                    <a:lnTo>
                      <a:pt x="1347" y="516"/>
                    </a:lnTo>
                    <a:lnTo>
                      <a:pt x="1345" y="520"/>
                    </a:lnTo>
                    <a:lnTo>
                      <a:pt x="1343" y="525"/>
                    </a:lnTo>
                    <a:lnTo>
                      <a:pt x="1353" y="525"/>
                    </a:lnTo>
                    <a:lnTo>
                      <a:pt x="1363" y="525"/>
                    </a:lnTo>
                    <a:lnTo>
                      <a:pt x="1363" y="545"/>
                    </a:lnTo>
                    <a:lnTo>
                      <a:pt x="1366" y="545"/>
                    </a:lnTo>
                    <a:lnTo>
                      <a:pt x="1366" y="541"/>
                    </a:lnTo>
                    <a:lnTo>
                      <a:pt x="1368" y="541"/>
                    </a:lnTo>
                    <a:lnTo>
                      <a:pt x="1368" y="537"/>
                    </a:lnTo>
                    <a:lnTo>
                      <a:pt x="1372" y="539"/>
                    </a:lnTo>
                    <a:lnTo>
                      <a:pt x="1374" y="541"/>
                    </a:lnTo>
                    <a:lnTo>
                      <a:pt x="1374" y="543"/>
                    </a:lnTo>
                    <a:lnTo>
                      <a:pt x="1372" y="546"/>
                    </a:lnTo>
                    <a:lnTo>
                      <a:pt x="1370" y="546"/>
                    </a:lnTo>
                    <a:lnTo>
                      <a:pt x="1370" y="548"/>
                    </a:lnTo>
                    <a:lnTo>
                      <a:pt x="1372" y="550"/>
                    </a:lnTo>
                    <a:lnTo>
                      <a:pt x="1374" y="550"/>
                    </a:lnTo>
                    <a:lnTo>
                      <a:pt x="1378" y="546"/>
                    </a:lnTo>
                    <a:lnTo>
                      <a:pt x="1380" y="543"/>
                    </a:lnTo>
                    <a:lnTo>
                      <a:pt x="1382" y="543"/>
                    </a:lnTo>
                    <a:lnTo>
                      <a:pt x="1382" y="545"/>
                    </a:lnTo>
                    <a:lnTo>
                      <a:pt x="1386" y="545"/>
                    </a:lnTo>
                    <a:lnTo>
                      <a:pt x="1386" y="543"/>
                    </a:lnTo>
                    <a:lnTo>
                      <a:pt x="1384" y="537"/>
                    </a:lnTo>
                    <a:lnTo>
                      <a:pt x="1386" y="535"/>
                    </a:lnTo>
                    <a:lnTo>
                      <a:pt x="1388" y="535"/>
                    </a:lnTo>
                    <a:lnTo>
                      <a:pt x="1391" y="535"/>
                    </a:lnTo>
                    <a:lnTo>
                      <a:pt x="1397" y="537"/>
                    </a:lnTo>
                    <a:lnTo>
                      <a:pt x="1405" y="545"/>
                    </a:lnTo>
                    <a:lnTo>
                      <a:pt x="1413" y="554"/>
                    </a:lnTo>
                    <a:lnTo>
                      <a:pt x="1414" y="554"/>
                    </a:lnTo>
                    <a:lnTo>
                      <a:pt x="1416" y="552"/>
                    </a:lnTo>
                    <a:lnTo>
                      <a:pt x="1416" y="556"/>
                    </a:lnTo>
                    <a:lnTo>
                      <a:pt x="1420" y="556"/>
                    </a:lnTo>
                    <a:lnTo>
                      <a:pt x="1424" y="558"/>
                    </a:lnTo>
                    <a:lnTo>
                      <a:pt x="1424" y="560"/>
                    </a:lnTo>
                    <a:lnTo>
                      <a:pt x="1420" y="560"/>
                    </a:lnTo>
                    <a:lnTo>
                      <a:pt x="1414" y="560"/>
                    </a:lnTo>
                    <a:lnTo>
                      <a:pt x="1416" y="566"/>
                    </a:lnTo>
                    <a:lnTo>
                      <a:pt x="1416" y="571"/>
                    </a:lnTo>
                    <a:lnTo>
                      <a:pt x="1416" y="577"/>
                    </a:lnTo>
                    <a:lnTo>
                      <a:pt x="1414" y="583"/>
                    </a:lnTo>
                    <a:lnTo>
                      <a:pt x="1413" y="585"/>
                    </a:lnTo>
                    <a:lnTo>
                      <a:pt x="1409" y="587"/>
                    </a:lnTo>
                    <a:lnTo>
                      <a:pt x="1409" y="589"/>
                    </a:lnTo>
                    <a:lnTo>
                      <a:pt x="1411" y="593"/>
                    </a:lnTo>
                    <a:lnTo>
                      <a:pt x="1409" y="596"/>
                    </a:lnTo>
                    <a:lnTo>
                      <a:pt x="1407" y="598"/>
                    </a:lnTo>
                    <a:lnTo>
                      <a:pt x="1409" y="606"/>
                    </a:lnTo>
                    <a:lnTo>
                      <a:pt x="1411" y="614"/>
                    </a:lnTo>
                    <a:lnTo>
                      <a:pt x="1409" y="617"/>
                    </a:lnTo>
                    <a:lnTo>
                      <a:pt x="1405" y="623"/>
                    </a:lnTo>
                    <a:lnTo>
                      <a:pt x="1409" y="629"/>
                    </a:lnTo>
                    <a:lnTo>
                      <a:pt x="1405" y="629"/>
                    </a:lnTo>
                    <a:lnTo>
                      <a:pt x="1405" y="633"/>
                    </a:lnTo>
                    <a:lnTo>
                      <a:pt x="1405" y="637"/>
                    </a:lnTo>
                    <a:lnTo>
                      <a:pt x="1399" y="642"/>
                    </a:lnTo>
                    <a:lnTo>
                      <a:pt x="1393" y="646"/>
                    </a:lnTo>
                    <a:lnTo>
                      <a:pt x="1393" y="650"/>
                    </a:lnTo>
                    <a:lnTo>
                      <a:pt x="1391" y="656"/>
                    </a:lnTo>
                    <a:lnTo>
                      <a:pt x="1390" y="656"/>
                    </a:lnTo>
                    <a:lnTo>
                      <a:pt x="1386" y="658"/>
                    </a:lnTo>
                    <a:lnTo>
                      <a:pt x="1382" y="669"/>
                    </a:lnTo>
                    <a:lnTo>
                      <a:pt x="1378" y="681"/>
                    </a:lnTo>
                    <a:lnTo>
                      <a:pt x="1370" y="688"/>
                    </a:lnTo>
                    <a:lnTo>
                      <a:pt x="1363" y="694"/>
                    </a:lnTo>
                    <a:lnTo>
                      <a:pt x="1361" y="700"/>
                    </a:lnTo>
                    <a:lnTo>
                      <a:pt x="1359" y="706"/>
                    </a:lnTo>
                    <a:lnTo>
                      <a:pt x="1355" y="708"/>
                    </a:lnTo>
                    <a:lnTo>
                      <a:pt x="1349" y="712"/>
                    </a:lnTo>
                    <a:lnTo>
                      <a:pt x="1347" y="717"/>
                    </a:lnTo>
                    <a:lnTo>
                      <a:pt x="1345" y="723"/>
                    </a:lnTo>
                    <a:lnTo>
                      <a:pt x="1342" y="723"/>
                    </a:lnTo>
                    <a:lnTo>
                      <a:pt x="1338" y="729"/>
                    </a:lnTo>
                    <a:lnTo>
                      <a:pt x="1330" y="736"/>
                    </a:lnTo>
                    <a:lnTo>
                      <a:pt x="1330" y="740"/>
                    </a:lnTo>
                    <a:lnTo>
                      <a:pt x="1324" y="742"/>
                    </a:lnTo>
                    <a:lnTo>
                      <a:pt x="1318" y="742"/>
                    </a:lnTo>
                    <a:lnTo>
                      <a:pt x="1315" y="740"/>
                    </a:lnTo>
                    <a:lnTo>
                      <a:pt x="1309" y="736"/>
                    </a:lnTo>
                    <a:lnTo>
                      <a:pt x="1311" y="731"/>
                    </a:lnTo>
                    <a:lnTo>
                      <a:pt x="1311" y="727"/>
                    </a:lnTo>
                    <a:lnTo>
                      <a:pt x="1305" y="727"/>
                    </a:lnTo>
                    <a:lnTo>
                      <a:pt x="1299" y="727"/>
                    </a:lnTo>
                    <a:lnTo>
                      <a:pt x="1299" y="729"/>
                    </a:lnTo>
                    <a:lnTo>
                      <a:pt x="1297" y="733"/>
                    </a:lnTo>
                    <a:lnTo>
                      <a:pt x="1290" y="740"/>
                    </a:lnTo>
                    <a:lnTo>
                      <a:pt x="1288" y="736"/>
                    </a:lnTo>
                    <a:lnTo>
                      <a:pt x="1290" y="735"/>
                    </a:lnTo>
                    <a:lnTo>
                      <a:pt x="1290" y="731"/>
                    </a:lnTo>
                    <a:lnTo>
                      <a:pt x="1294" y="727"/>
                    </a:lnTo>
                    <a:lnTo>
                      <a:pt x="1294" y="721"/>
                    </a:lnTo>
                    <a:lnTo>
                      <a:pt x="1292" y="713"/>
                    </a:lnTo>
                    <a:lnTo>
                      <a:pt x="1294" y="706"/>
                    </a:lnTo>
                    <a:lnTo>
                      <a:pt x="1294" y="702"/>
                    </a:lnTo>
                    <a:lnTo>
                      <a:pt x="1299" y="698"/>
                    </a:lnTo>
                    <a:lnTo>
                      <a:pt x="1301" y="696"/>
                    </a:lnTo>
                    <a:lnTo>
                      <a:pt x="1303" y="698"/>
                    </a:lnTo>
                    <a:lnTo>
                      <a:pt x="1303" y="698"/>
                    </a:lnTo>
                    <a:lnTo>
                      <a:pt x="1301" y="702"/>
                    </a:lnTo>
                    <a:lnTo>
                      <a:pt x="1301" y="708"/>
                    </a:lnTo>
                    <a:lnTo>
                      <a:pt x="1305" y="708"/>
                    </a:lnTo>
                    <a:lnTo>
                      <a:pt x="1307" y="708"/>
                    </a:lnTo>
                    <a:lnTo>
                      <a:pt x="1307" y="700"/>
                    </a:lnTo>
                    <a:lnTo>
                      <a:pt x="1305" y="696"/>
                    </a:lnTo>
                    <a:lnTo>
                      <a:pt x="1309" y="698"/>
                    </a:lnTo>
                    <a:lnTo>
                      <a:pt x="1313" y="694"/>
                    </a:lnTo>
                    <a:lnTo>
                      <a:pt x="1318" y="690"/>
                    </a:lnTo>
                    <a:lnTo>
                      <a:pt x="1318" y="687"/>
                    </a:lnTo>
                    <a:lnTo>
                      <a:pt x="1322" y="685"/>
                    </a:lnTo>
                    <a:lnTo>
                      <a:pt x="1328" y="679"/>
                    </a:lnTo>
                    <a:lnTo>
                      <a:pt x="1332" y="673"/>
                    </a:lnTo>
                    <a:lnTo>
                      <a:pt x="1332" y="664"/>
                    </a:lnTo>
                    <a:lnTo>
                      <a:pt x="1332" y="660"/>
                    </a:lnTo>
                    <a:lnTo>
                      <a:pt x="1336" y="656"/>
                    </a:lnTo>
                    <a:lnTo>
                      <a:pt x="1338" y="650"/>
                    </a:lnTo>
                    <a:lnTo>
                      <a:pt x="1334" y="646"/>
                    </a:lnTo>
                    <a:lnTo>
                      <a:pt x="1334" y="642"/>
                    </a:lnTo>
                    <a:lnTo>
                      <a:pt x="1338" y="635"/>
                    </a:lnTo>
                    <a:lnTo>
                      <a:pt x="1330" y="637"/>
                    </a:lnTo>
                    <a:lnTo>
                      <a:pt x="1328" y="641"/>
                    </a:lnTo>
                    <a:lnTo>
                      <a:pt x="1322" y="642"/>
                    </a:lnTo>
                    <a:lnTo>
                      <a:pt x="1318" y="642"/>
                    </a:lnTo>
                    <a:lnTo>
                      <a:pt x="1313" y="644"/>
                    </a:lnTo>
                    <a:lnTo>
                      <a:pt x="1309" y="650"/>
                    </a:lnTo>
                    <a:lnTo>
                      <a:pt x="1303" y="652"/>
                    </a:lnTo>
                    <a:lnTo>
                      <a:pt x="1301" y="654"/>
                    </a:lnTo>
                    <a:lnTo>
                      <a:pt x="1294" y="650"/>
                    </a:lnTo>
                    <a:lnTo>
                      <a:pt x="1290" y="646"/>
                    </a:lnTo>
                    <a:lnTo>
                      <a:pt x="1286" y="642"/>
                    </a:lnTo>
                    <a:lnTo>
                      <a:pt x="1288" y="637"/>
                    </a:lnTo>
                    <a:lnTo>
                      <a:pt x="1284" y="631"/>
                    </a:lnTo>
                    <a:lnTo>
                      <a:pt x="1280" y="625"/>
                    </a:lnTo>
                    <a:lnTo>
                      <a:pt x="1276" y="619"/>
                    </a:lnTo>
                    <a:lnTo>
                      <a:pt x="1274" y="614"/>
                    </a:lnTo>
                    <a:lnTo>
                      <a:pt x="1271" y="610"/>
                    </a:lnTo>
                    <a:lnTo>
                      <a:pt x="1265" y="608"/>
                    </a:lnTo>
                    <a:lnTo>
                      <a:pt x="1259" y="608"/>
                    </a:lnTo>
                    <a:lnTo>
                      <a:pt x="1253" y="608"/>
                    </a:lnTo>
                    <a:lnTo>
                      <a:pt x="1249" y="604"/>
                    </a:lnTo>
                    <a:lnTo>
                      <a:pt x="1246" y="596"/>
                    </a:lnTo>
                    <a:lnTo>
                      <a:pt x="1240" y="587"/>
                    </a:lnTo>
                    <a:lnTo>
                      <a:pt x="1238" y="579"/>
                    </a:lnTo>
                    <a:lnTo>
                      <a:pt x="1238" y="573"/>
                    </a:lnTo>
                    <a:lnTo>
                      <a:pt x="1234" y="566"/>
                    </a:lnTo>
                    <a:lnTo>
                      <a:pt x="1230" y="562"/>
                    </a:lnTo>
                    <a:lnTo>
                      <a:pt x="1223" y="556"/>
                    </a:lnTo>
                    <a:lnTo>
                      <a:pt x="1215" y="556"/>
                    </a:lnTo>
                    <a:lnTo>
                      <a:pt x="1209" y="550"/>
                    </a:lnTo>
                    <a:lnTo>
                      <a:pt x="1205" y="546"/>
                    </a:lnTo>
                    <a:lnTo>
                      <a:pt x="1200" y="543"/>
                    </a:lnTo>
                    <a:lnTo>
                      <a:pt x="1192" y="541"/>
                    </a:lnTo>
                    <a:lnTo>
                      <a:pt x="1188" y="543"/>
                    </a:lnTo>
                    <a:lnTo>
                      <a:pt x="1182" y="546"/>
                    </a:lnTo>
                    <a:lnTo>
                      <a:pt x="1175" y="546"/>
                    </a:lnTo>
                    <a:lnTo>
                      <a:pt x="1171" y="550"/>
                    </a:lnTo>
                    <a:lnTo>
                      <a:pt x="1165" y="554"/>
                    </a:lnTo>
                    <a:lnTo>
                      <a:pt x="1159" y="560"/>
                    </a:lnTo>
                    <a:lnTo>
                      <a:pt x="1157" y="562"/>
                    </a:lnTo>
                    <a:lnTo>
                      <a:pt x="1157" y="566"/>
                    </a:lnTo>
                    <a:lnTo>
                      <a:pt x="1161" y="564"/>
                    </a:lnTo>
                    <a:lnTo>
                      <a:pt x="1161" y="571"/>
                    </a:lnTo>
                    <a:lnTo>
                      <a:pt x="1161" y="577"/>
                    </a:lnTo>
                    <a:lnTo>
                      <a:pt x="1157" y="579"/>
                    </a:lnTo>
                    <a:lnTo>
                      <a:pt x="1159" y="587"/>
                    </a:lnTo>
                    <a:lnTo>
                      <a:pt x="1155" y="593"/>
                    </a:lnTo>
                    <a:lnTo>
                      <a:pt x="1152" y="598"/>
                    </a:lnTo>
                    <a:lnTo>
                      <a:pt x="1150" y="600"/>
                    </a:lnTo>
                    <a:lnTo>
                      <a:pt x="1146" y="602"/>
                    </a:lnTo>
                    <a:lnTo>
                      <a:pt x="1144" y="606"/>
                    </a:lnTo>
                    <a:lnTo>
                      <a:pt x="1146" y="608"/>
                    </a:lnTo>
                    <a:lnTo>
                      <a:pt x="1142" y="612"/>
                    </a:lnTo>
                    <a:lnTo>
                      <a:pt x="1136" y="614"/>
                    </a:lnTo>
                    <a:lnTo>
                      <a:pt x="1129" y="619"/>
                    </a:lnTo>
                    <a:lnTo>
                      <a:pt x="1123" y="617"/>
                    </a:lnTo>
                    <a:lnTo>
                      <a:pt x="1115" y="612"/>
                    </a:lnTo>
                    <a:lnTo>
                      <a:pt x="1109" y="614"/>
                    </a:lnTo>
                    <a:lnTo>
                      <a:pt x="1100" y="612"/>
                    </a:lnTo>
                    <a:lnTo>
                      <a:pt x="1094" y="612"/>
                    </a:lnTo>
                    <a:lnTo>
                      <a:pt x="1084" y="606"/>
                    </a:lnTo>
                    <a:lnTo>
                      <a:pt x="1082" y="608"/>
                    </a:lnTo>
                    <a:lnTo>
                      <a:pt x="1071" y="616"/>
                    </a:lnTo>
                    <a:lnTo>
                      <a:pt x="1057" y="617"/>
                    </a:lnTo>
                    <a:lnTo>
                      <a:pt x="1054" y="621"/>
                    </a:lnTo>
                    <a:lnTo>
                      <a:pt x="1044" y="623"/>
                    </a:lnTo>
                    <a:lnTo>
                      <a:pt x="1036" y="621"/>
                    </a:lnTo>
                    <a:lnTo>
                      <a:pt x="1031" y="619"/>
                    </a:lnTo>
                    <a:lnTo>
                      <a:pt x="1023" y="621"/>
                    </a:lnTo>
                    <a:lnTo>
                      <a:pt x="1019" y="621"/>
                    </a:lnTo>
                    <a:lnTo>
                      <a:pt x="1011" y="617"/>
                    </a:lnTo>
                    <a:lnTo>
                      <a:pt x="1006" y="617"/>
                    </a:lnTo>
                    <a:lnTo>
                      <a:pt x="1002" y="614"/>
                    </a:lnTo>
                    <a:lnTo>
                      <a:pt x="1002" y="610"/>
                    </a:lnTo>
                    <a:lnTo>
                      <a:pt x="996" y="608"/>
                    </a:lnTo>
                    <a:lnTo>
                      <a:pt x="985" y="604"/>
                    </a:lnTo>
                    <a:lnTo>
                      <a:pt x="977" y="602"/>
                    </a:lnTo>
                    <a:lnTo>
                      <a:pt x="973" y="606"/>
                    </a:lnTo>
                    <a:lnTo>
                      <a:pt x="965" y="608"/>
                    </a:lnTo>
                    <a:lnTo>
                      <a:pt x="962" y="608"/>
                    </a:lnTo>
                    <a:lnTo>
                      <a:pt x="954" y="610"/>
                    </a:lnTo>
                    <a:lnTo>
                      <a:pt x="946" y="602"/>
                    </a:lnTo>
                    <a:lnTo>
                      <a:pt x="942" y="600"/>
                    </a:lnTo>
                    <a:lnTo>
                      <a:pt x="939" y="593"/>
                    </a:lnTo>
                    <a:lnTo>
                      <a:pt x="931" y="585"/>
                    </a:lnTo>
                    <a:lnTo>
                      <a:pt x="919" y="575"/>
                    </a:lnTo>
                    <a:lnTo>
                      <a:pt x="910" y="575"/>
                    </a:lnTo>
                    <a:lnTo>
                      <a:pt x="906" y="571"/>
                    </a:lnTo>
                    <a:lnTo>
                      <a:pt x="896" y="571"/>
                    </a:lnTo>
                    <a:lnTo>
                      <a:pt x="892" y="570"/>
                    </a:lnTo>
                    <a:lnTo>
                      <a:pt x="883" y="568"/>
                    </a:lnTo>
                    <a:lnTo>
                      <a:pt x="883" y="570"/>
                    </a:lnTo>
                    <a:lnTo>
                      <a:pt x="883" y="568"/>
                    </a:lnTo>
                    <a:close/>
                    <a:moveTo>
                      <a:pt x="1372" y="514"/>
                    </a:moveTo>
                    <a:lnTo>
                      <a:pt x="1370" y="516"/>
                    </a:lnTo>
                    <a:lnTo>
                      <a:pt x="1368" y="518"/>
                    </a:lnTo>
                    <a:lnTo>
                      <a:pt x="1368" y="522"/>
                    </a:lnTo>
                    <a:lnTo>
                      <a:pt x="1370" y="522"/>
                    </a:lnTo>
                    <a:lnTo>
                      <a:pt x="1370" y="523"/>
                    </a:lnTo>
                    <a:lnTo>
                      <a:pt x="1374" y="523"/>
                    </a:lnTo>
                    <a:lnTo>
                      <a:pt x="1376" y="523"/>
                    </a:lnTo>
                    <a:lnTo>
                      <a:pt x="1378" y="520"/>
                    </a:lnTo>
                    <a:lnTo>
                      <a:pt x="1380" y="518"/>
                    </a:lnTo>
                    <a:lnTo>
                      <a:pt x="1376" y="516"/>
                    </a:lnTo>
                    <a:lnTo>
                      <a:pt x="1372" y="514"/>
                    </a:lnTo>
                    <a:close/>
                    <a:moveTo>
                      <a:pt x="1437" y="529"/>
                    </a:moveTo>
                    <a:lnTo>
                      <a:pt x="1436" y="533"/>
                    </a:lnTo>
                    <a:lnTo>
                      <a:pt x="1432" y="535"/>
                    </a:lnTo>
                    <a:lnTo>
                      <a:pt x="1436" y="541"/>
                    </a:lnTo>
                    <a:lnTo>
                      <a:pt x="1436" y="550"/>
                    </a:lnTo>
                    <a:lnTo>
                      <a:pt x="1432" y="554"/>
                    </a:lnTo>
                    <a:lnTo>
                      <a:pt x="1426" y="560"/>
                    </a:lnTo>
                    <a:lnTo>
                      <a:pt x="1426" y="575"/>
                    </a:lnTo>
                    <a:lnTo>
                      <a:pt x="1428" y="587"/>
                    </a:lnTo>
                    <a:lnTo>
                      <a:pt x="1428" y="608"/>
                    </a:lnTo>
                    <a:lnTo>
                      <a:pt x="1426" y="627"/>
                    </a:lnTo>
                    <a:lnTo>
                      <a:pt x="1428" y="629"/>
                    </a:lnTo>
                    <a:lnTo>
                      <a:pt x="1428" y="635"/>
                    </a:lnTo>
                    <a:lnTo>
                      <a:pt x="1426" y="635"/>
                    </a:lnTo>
                    <a:lnTo>
                      <a:pt x="1426" y="639"/>
                    </a:lnTo>
                    <a:lnTo>
                      <a:pt x="1430" y="646"/>
                    </a:lnTo>
                    <a:lnTo>
                      <a:pt x="1428" y="664"/>
                    </a:lnTo>
                    <a:lnTo>
                      <a:pt x="1424" y="683"/>
                    </a:lnTo>
                    <a:lnTo>
                      <a:pt x="1428" y="675"/>
                    </a:lnTo>
                    <a:lnTo>
                      <a:pt x="1432" y="673"/>
                    </a:lnTo>
                    <a:lnTo>
                      <a:pt x="1434" y="673"/>
                    </a:lnTo>
                    <a:lnTo>
                      <a:pt x="1439" y="679"/>
                    </a:lnTo>
                    <a:lnTo>
                      <a:pt x="1441" y="681"/>
                    </a:lnTo>
                    <a:lnTo>
                      <a:pt x="1443" y="685"/>
                    </a:lnTo>
                    <a:lnTo>
                      <a:pt x="1443" y="679"/>
                    </a:lnTo>
                    <a:lnTo>
                      <a:pt x="1443" y="675"/>
                    </a:lnTo>
                    <a:lnTo>
                      <a:pt x="1437" y="667"/>
                    </a:lnTo>
                    <a:lnTo>
                      <a:pt x="1434" y="658"/>
                    </a:lnTo>
                    <a:lnTo>
                      <a:pt x="1436" y="641"/>
                    </a:lnTo>
                    <a:lnTo>
                      <a:pt x="1439" y="623"/>
                    </a:lnTo>
                    <a:lnTo>
                      <a:pt x="1441" y="621"/>
                    </a:lnTo>
                    <a:lnTo>
                      <a:pt x="1441" y="619"/>
                    </a:lnTo>
                    <a:lnTo>
                      <a:pt x="1447" y="619"/>
                    </a:lnTo>
                    <a:lnTo>
                      <a:pt x="1451" y="619"/>
                    </a:lnTo>
                    <a:lnTo>
                      <a:pt x="1455" y="623"/>
                    </a:lnTo>
                    <a:lnTo>
                      <a:pt x="1459" y="627"/>
                    </a:lnTo>
                    <a:lnTo>
                      <a:pt x="1455" y="616"/>
                    </a:lnTo>
                    <a:lnTo>
                      <a:pt x="1447" y="608"/>
                    </a:lnTo>
                    <a:lnTo>
                      <a:pt x="1445" y="608"/>
                    </a:lnTo>
                    <a:lnTo>
                      <a:pt x="1445" y="589"/>
                    </a:lnTo>
                    <a:lnTo>
                      <a:pt x="1443" y="571"/>
                    </a:lnTo>
                    <a:lnTo>
                      <a:pt x="1445" y="568"/>
                    </a:lnTo>
                    <a:lnTo>
                      <a:pt x="1447" y="562"/>
                    </a:lnTo>
                    <a:lnTo>
                      <a:pt x="1443" y="556"/>
                    </a:lnTo>
                    <a:lnTo>
                      <a:pt x="1439" y="548"/>
                    </a:lnTo>
                    <a:lnTo>
                      <a:pt x="1441" y="543"/>
                    </a:lnTo>
                    <a:lnTo>
                      <a:pt x="1443" y="537"/>
                    </a:lnTo>
                    <a:lnTo>
                      <a:pt x="1441" y="533"/>
                    </a:lnTo>
                    <a:lnTo>
                      <a:pt x="1437" y="529"/>
                    </a:lnTo>
                    <a:close/>
                    <a:moveTo>
                      <a:pt x="1027" y="500"/>
                    </a:moveTo>
                    <a:lnTo>
                      <a:pt x="1029" y="500"/>
                    </a:lnTo>
                    <a:lnTo>
                      <a:pt x="1027" y="508"/>
                    </a:lnTo>
                    <a:lnTo>
                      <a:pt x="1025" y="512"/>
                    </a:lnTo>
                    <a:lnTo>
                      <a:pt x="1027" y="520"/>
                    </a:lnTo>
                    <a:lnTo>
                      <a:pt x="1027" y="529"/>
                    </a:lnTo>
                    <a:lnTo>
                      <a:pt x="1025" y="533"/>
                    </a:lnTo>
                    <a:lnTo>
                      <a:pt x="1021" y="537"/>
                    </a:lnTo>
                    <a:lnTo>
                      <a:pt x="1021" y="535"/>
                    </a:lnTo>
                    <a:lnTo>
                      <a:pt x="1017" y="535"/>
                    </a:lnTo>
                    <a:lnTo>
                      <a:pt x="1015" y="539"/>
                    </a:lnTo>
                    <a:lnTo>
                      <a:pt x="1013" y="541"/>
                    </a:lnTo>
                    <a:lnTo>
                      <a:pt x="1015" y="543"/>
                    </a:lnTo>
                    <a:lnTo>
                      <a:pt x="1019" y="545"/>
                    </a:lnTo>
                    <a:lnTo>
                      <a:pt x="1013" y="548"/>
                    </a:lnTo>
                    <a:lnTo>
                      <a:pt x="1010" y="552"/>
                    </a:lnTo>
                    <a:lnTo>
                      <a:pt x="1010" y="554"/>
                    </a:lnTo>
                    <a:lnTo>
                      <a:pt x="1006" y="554"/>
                    </a:lnTo>
                    <a:lnTo>
                      <a:pt x="1002" y="554"/>
                    </a:lnTo>
                    <a:lnTo>
                      <a:pt x="1000" y="558"/>
                    </a:lnTo>
                    <a:lnTo>
                      <a:pt x="996" y="562"/>
                    </a:lnTo>
                    <a:lnTo>
                      <a:pt x="996" y="564"/>
                    </a:lnTo>
                    <a:lnTo>
                      <a:pt x="992" y="564"/>
                    </a:lnTo>
                    <a:lnTo>
                      <a:pt x="988" y="564"/>
                    </a:lnTo>
                    <a:lnTo>
                      <a:pt x="983" y="570"/>
                    </a:lnTo>
                    <a:lnTo>
                      <a:pt x="979" y="577"/>
                    </a:lnTo>
                    <a:lnTo>
                      <a:pt x="975" y="581"/>
                    </a:lnTo>
                    <a:lnTo>
                      <a:pt x="973" y="585"/>
                    </a:lnTo>
                    <a:lnTo>
                      <a:pt x="969" y="587"/>
                    </a:lnTo>
                    <a:lnTo>
                      <a:pt x="965" y="589"/>
                    </a:lnTo>
                    <a:lnTo>
                      <a:pt x="958" y="587"/>
                    </a:lnTo>
                    <a:lnTo>
                      <a:pt x="952" y="583"/>
                    </a:lnTo>
                    <a:lnTo>
                      <a:pt x="960" y="579"/>
                    </a:lnTo>
                    <a:lnTo>
                      <a:pt x="965" y="577"/>
                    </a:lnTo>
                    <a:lnTo>
                      <a:pt x="971" y="573"/>
                    </a:lnTo>
                    <a:lnTo>
                      <a:pt x="975" y="568"/>
                    </a:lnTo>
                    <a:lnTo>
                      <a:pt x="977" y="562"/>
                    </a:lnTo>
                    <a:lnTo>
                      <a:pt x="979" y="558"/>
                    </a:lnTo>
                    <a:lnTo>
                      <a:pt x="983" y="556"/>
                    </a:lnTo>
                    <a:lnTo>
                      <a:pt x="986" y="556"/>
                    </a:lnTo>
                    <a:lnTo>
                      <a:pt x="988" y="552"/>
                    </a:lnTo>
                    <a:lnTo>
                      <a:pt x="990" y="548"/>
                    </a:lnTo>
                    <a:lnTo>
                      <a:pt x="992" y="546"/>
                    </a:lnTo>
                    <a:lnTo>
                      <a:pt x="996" y="546"/>
                    </a:lnTo>
                    <a:lnTo>
                      <a:pt x="1004" y="539"/>
                    </a:lnTo>
                    <a:lnTo>
                      <a:pt x="1011" y="525"/>
                    </a:lnTo>
                    <a:lnTo>
                      <a:pt x="1019" y="512"/>
                    </a:lnTo>
                    <a:lnTo>
                      <a:pt x="1025" y="500"/>
                    </a:lnTo>
                    <a:lnTo>
                      <a:pt x="1027" y="500"/>
                    </a:lnTo>
                    <a:close/>
                    <a:moveTo>
                      <a:pt x="1388" y="38"/>
                    </a:moveTo>
                    <a:lnTo>
                      <a:pt x="1382" y="46"/>
                    </a:lnTo>
                    <a:lnTo>
                      <a:pt x="1376" y="57"/>
                    </a:lnTo>
                    <a:lnTo>
                      <a:pt x="1372" y="59"/>
                    </a:lnTo>
                    <a:lnTo>
                      <a:pt x="1374" y="71"/>
                    </a:lnTo>
                    <a:lnTo>
                      <a:pt x="1380" y="84"/>
                    </a:lnTo>
                    <a:lnTo>
                      <a:pt x="1386" y="84"/>
                    </a:lnTo>
                    <a:lnTo>
                      <a:pt x="1391" y="86"/>
                    </a:lnTo>
                    <a:lnTo>
                      <a:pt x="1395" y="82"/>
                    </a:lnTo>
                    <a:lnTo>
                      <a:pt x="1397" y="80"/>
                    </a:lnTo>
                    <a:lnTo>
                      <a:pt x="1397" y="76"/>
                    </a:lnTo>
                    <a:lnTo>
                      <a:pt x="1397" y="74"/>
                    </a:lnTo>
                    <a:lnTo>
                      <a:pt x="1401" y="71"/>
                    </a:lnTo>
                    <a:lnTo>
                      <a:pt x="1405" y="69"/>
                    </a:lnTo>
                    <a:lnTo>
                      <a:pt x="1407" y="65"/>
                    </a:lnTo>
                    <a:lnTo>
                      <a:pt x="1407" y="59"/>
                    </a:lnTo>
                    <a:lnTo>
                      <a:pt x="1397" y="48"/>
                    </a:lnTo>
                    <a:lnTo>
                      <a:pt x="1388" y="38"/>
                    </a:lnTo>
                    <a:close/>
                    <a:moveTo>
                      <a:pt x="1441" y="49"/>
                    </a:moveTo>
                    <a:lnTo>
                      <a:pt x="1441" y="59"/>
                    </a:lnTo>
                    <a:lnTo>
                      <a:pt x="1443" y="65"/>
                    </a:lnTo>
                    <a:lnTo>
                      <a:pt x="1445" y="67"/>
                    </a:lnTo>
                    <a:lnTo>
                      <a:pt x="1447" y="69"/>
                    </a:lnTo>
                    <a:lnTo>
                      <a:pt x="1451" y="69"/>
                    </a:lnTo>
                    <a:lnTo>
                      <a:pt x="1455" y="67"/>
                    </a:lnTo>
                    <a:lnTo>
                      <a:pt x="1459" y="63"/>
                    </a:lnTo>
                    <a:lnTo>
                      <a:pt x="1462" y="61"/>
                    </a:lnTo>
                    <a:lnTo>
                      <a:pt x="1461" y="57"/>
                    </a:lnTo>
                    <a:lnTo>
                      <a:pt x="1459" y="53"/>
                    </a:lnTo>
                    <a:lnTo>
                      <a:pt x="1453" y="53"/>
                    </a:lnTo>
                    <a:lnTo>
                      <a:pt x="1449" y="55"/>
                    </a:lnTo>
                    <a:lnTo>
                      <a:pt x="1445" y="51"/>
                    </a:lnTo>
                    <a:lnTo>
                      <a:pt x="1441" y="49"/>
                    </a:lnTo>
                    <a:close/>
                    <a:moveTo>
                      <a:pt x="1489" y="53"/>
                    </a:moveTo>
                    <a:lnTo>
                      <a:pt x="1493" y="59"/>
                    </a:lnTo>
                    <a:lnTo>
                      <a:pt x="1497" y="65"/>
                    </a:lnTo>
                    <a:lnTo>
                      <a:pt x="1501" y="69"/>
                    </a:lnTo>
                    <a:lnTo>
                      <a:pt x="1505" y="72"/>
                    </a:lnTo>
                    <a:lnTo>
                      <a:pt x="1508" y="72"/>
                    </a:lnTo>
                    <a:lnTo>
                      <a:pt x="1514" y="72"/>
                    </a:lnTo>
                    <a:lnTo>
                      <a:pt x="1520" y="71"/>
                    </a:lnTo>
                    <a:lnTo>
                      <a:pt x="1526" y="67"/>
                    </a:lnTo>
                    <a:lnTo>
                      <a:pt x="1530" y="65"/>
                    </a:lnTo>
                    <a:lnTo>
                      <a:pt x="1533" y="65"/>
                    </a:lnTo>
                    <a:lnTo>
                      <a:pt x="1532" y="61"/>
                    </a:lnTo>
                    <a:lnTo>
                      <a:pt x="1530" y="59"/>
                    </a:lnTo>
                    <a:lnTo>
                      <a:pt x="1510" y="53"/>
                    </a:lnTo>
                    <a:lnTo>
                      <a:pt x="1489" y="53"/>
                    </a:lnTo>
                    <a:close/>
                    <a:moveTo>
                      <a:pt x="1063" y="84"/>
                    </a:moveTo>
                    <a:lnTo>
                      <a:pt x="1059" y="86"/>
                    </a:lnTo>
                    <a:lnTo>
                      <a:pt x="1056" y="92"/>
                    </a:lnTo>
                    <a:lnTo>
                      <a:pt x="1056" y="94"/>
                    </a:lnTo>
                    <a:lnTo>
                      <a:pt x="1056" y="94"/>
                    </a:lnTo>
                    <a:lnTo>
                      <a:pt x="1057" y="94"/>
                    </a:lnTo>
                    <a:lnTo>
                      <a:pt x="1061" y="94"/>
                    </a:lnTo>
                    <a:lnTo>
                      <a:pt x="1063" y="88"/>
                    </a:lnTo>
                    <a:lnTo>
                      <a:pt x="1063" y="84"/>
                    </a:lnTo>
                    <a:close/>
                    <a:moveTo>
                      <a:pt x="1407" y="84"/>
                    </a:moveTo>
                    <a:lnTo>
                      <a:pt x="1405" y="92"/>
                    </a:lnTo>
                    <a:lnTo>
                      <a:pt x="1407" y="92"/>
                    </a:lnTo>
                    <a:lnTo>
                      <a:pt x="1411" y="94"/>
                    </a:lnTo>
                    <a:lnTo>
                      <a:pt x="1411" y="90"/>
                    </a:lnTo>
                    <a:lnTo>
                      <a:pt x="1411" y="86"/>
                    </a:lnTo>
                    <a:lnTo>
                      <a:pt x="1411" y="84"/>
                    </a:lnTo>
                    <a:lnTo>
                      <a:pt x="1407" y="84"/>
                    </a:lnTo>
                    <a:close/>
                    <a:moveTo>
                      <a:pt x="1424" y="90"/>
                    </a:moveTo>
                    <a:lnTo>
                      <a:pt x="1416" y="96"/>
                    </a:lnTo>
                    <a:lnTo>
                      <a:pt x="1407" y="103"/>
                    </a:lnTo>
                    <a:lnTo>
                      <a:pt x="1405" y="105"/>
                    </a:lnTo>
                    <a:lnTo>
                      <a:pt x="1403" y="107"/>
                    </a:lnTo>
                    <a:lnTo>
                      <a:pt x="1424" y="111"/>
                    </a:lnTo>
                    <a:lnTo>
                      <a:pt x="1447" y="113"/>
                    </a:lnTo>
                    <a:lnTo>
                      <a:pt x="1447" y="107"/>
                    </a:lnTo>
                    <a:lnTo>
                      <a:pt x="1447" y="101"/>
                    </a:lnTo>
                    <a:lnTo>
                      <a:pt x="1443" y="97"/>
                    </a:lnTo>
                    <a:lnTo>
                      <a:pt x="1437" y="96"/>
                    </a:lnTo>
                    <a:lnTo>
                      <a:pt x="1432" y="92"/>
                    </a:lnTo>
                    <a:lnTo>
                      <a:pt x="1424" y="90"/>
                    </a:lnTo>
                    <a:close/>
                    <a:moveTo>
                      <a:pt x="1257" y="119"/>
                    </a:moveTo>
                    <a:lnTo>
                      <a:pt x="1257" y="120"/>
                    </a:lnTo>
                    <a:lnTo>
                      <a:pt x="1259" y="122"/>
                    </a:lnTo>
                    <a:lnTo>
                      <a:pt x="1265" y="120"/>
                    </a:lnTo>
                    <a:lnTo>
                      <a:pt x="1267" y="120"/>
                    </a:lnTo>
                    <a:lnTo>
                      <a:pt x="1263" y="119"/>
                    </a:lnTo>
                    <a:lnTo>
                      <a:pt x="1257" y="119"/>
                    </a:lnTo>
                    <a:close/>
                    <a:moveTo>
                      <a:pt x="1067" y="128"/>
                    </a:moveTo>
                    <a:lnTo>
                      <a:pt x="1067" y="130"/>
                    </a:lnTo>
                    <a:lnTo>
                      <a:pt x="1065" y="134"/>
                    </a:lnTo>
                    <a:lnTo>
                      <a:pt x="1063" y="132"/>
                    </a:lnTo>
                    <a:lnTo>
                      <a:pt x="1067" y="128"/>
                    </a:lnTo>
                    <a:close/>
                    <a:moveTo>
                      <a:pt x="1904" y="155"/>
                    </a:moveTo>
                    <a:lnTo>
                      <a:pt x="1900" y="159"/>
                    </a:lnTo>
                    <a:lnTo>
                      <a:pt x="1896" y="163"/>
                    </a:lnTo>
                    <a:lnTo>
                      <a:pt x="1894" y="167"/>
                    </a:lnTo>
                    <a:lnTo>
                      <a:pt x="1890" y="170"/>
                    </a:lnTo>
                    <a:lnTo>
                      <a:pt x="1898" y="172"/>
                    </a:lnTo>
                    <a:lnTo>
                      <a:pt x="1906" y="172"/>
                    </a:lnTo>
                    <a:lnTo>
                      <a:pt x="1908" y="170"/>
                    </a:lnTo>
                    <a:lnTo>
                      <a:pt x="1912" y="168"/>
                    </a:lnTo>
                    <a:lnTo>
                      <a:pt x="1921" y="170"/>
                    </a:lnTo>
                    <a:lnTo>
                      <a:pt x="1931" y="172"/>
                    </a:lnTo>
                    <a:lnTo>
                      <a:pt x="1933" y="168"/>
                    </a:lnTo>
                    <a:lnTo>
                      <a:pt x="1933" y="165"/>
                    </a:lnTo>
                    <a:lnTo>
                      <a:pt x="1919" y="159"/>
                    </a:lnTo>
                    <a:lnTo>
                      <a:pt x="1904" y="155"/>
                    </a:lnTo>
                    <a:close/>
                    <a:moveTo>
                      <a:pt x="1545" y="159"/>
                    </a:moveTo>
                    <a:lnTo>
                      <a:pt x="1543" y="165"/>
                    </a:lnTo>
                    <a:lnTo>
                      <a:pt x="1541" y="172"/>
                    </a:lnTo>
                    <a:lnTo>
                      <a:pt x="1549" y="172"/>
                    </a:lnTo>
                    <a:lnTo>
                      <a:pt x="1556" y="172"/>
                    </a:lnTo>
                    <a:lnTo>
                      <a:pt x="1558" y="170"/>
                    </a:lnTo>
                    <a:lnTo>
                      <a:pt x="1558" y="170"/>
                    </a:lnTo>
                    <a:lnTo>
                      <a:pt x="1558" y="168"/>
                    </a:lnTo>
                    <a:lnTo>
                      <a:pt x="1556" y="168"/>
                    </a:lnTo>
                    <a:lnTo>
                      <a:pt x="1556" y="165"/>
                    </a:lnTo>
                    <a:lnTo>
                      <a:pt x="1555" y="165"/>
                    </a:lnTo>
                    <a:lnTo>
                      <a:pt x="1553" y="161"/>
                    </a:lnTo>
                    <a:lnTo>
                      <a:pt x="1551" y="159"/>
                    </a:lnTo>
                    <a:lnTo>
                      <a:pt x="1549" y="159"/>
                    </a:lnTo>
                    <a:lnTo>
                      <a:pt x="1545" y="159"/>
                    </a:lnTo>
                    <a:close/>
                    <a:moveTo>
                      <a:pt x="1603" y="591"/>
                    </a:moveTo>
                    <a:lnTo>
                      <a:pt x="1599" y="593"/>
                    </a:lnTo>
                    <a:lnTo>
                      <a:pt x="1595" y="594"/>
                    </a:lnTo>
                    <a:lnTo>
                      <a:pt x="1595" y="598"/>
                    </a:lnTo>
                    <a:lnTo>
                      <a:pt x="1599" y="598"/>
                    </a:lnTo>
                    <a:lnTo>
                      <a:pt x="1603" y="593"/>
                    </a:lnTo>
                    <a:lnTo>
                      <a:pt x="1603" y="591"/>
                    </a:lnTo>
                    <a:close/>
                    <a:moveTo>
                      <a:pt x="1240" y="109"/>
                    </a:moveTo>
                    <a:lnTo>
                      <a:pt x="1242" y="113"/>
                    </a:lnTo>
                    <a:lnTo>
                      <a:pt x="1244" y="113"/>
                    </a:lnTo>
                    <a:lnTo>
                      <a:pt x="1244" y="111"/>
                    </a:lnTo>
                    <a:lnTo>
                      <a:pt x="1242" y="109"/>
                    </a:lnTo>
                    <a:lnTo>
                      <a:pt x="1240" y="109"/>
                    </a:lnTo>
                    <a:close/>
                    <a:moveTo>
                      <a:pt x="1230" y="113"/>
                    </a:moveTo>
                    <a:lnTo>
                      <a:pt x="1230" y="115"/>
                    </a:lnTo>
                    <a:lnTo>
                      <a:pt x="1232" y="117"/>
                    </a:lnTo>
                    <a:lnTo>
                      <a:pt x="1232" y="115"/>
                    </a:lnTo>
                    <a:lnTo>
                      <a:pt x="1234" y="115"/>
                    </a:lnTo>
                    <a:lnTo>
                      <a:pt x="1234" y="113"/>
                    </a:lnTo>
                    <a:lnTo>
                      <a:pt x="1230" y="113"/>
                    </a:lnTo>
                    <a:close/>
                    <a:moveTo>
                      <a:pt x="1198" y="115"/>
                    </a:moveTo>
                    <a:lnTo>
                      <a:pt x="1196" y="115"/>
                    </a:lnTo>
                    <a:lnTo>
                      <a:pt x="1196" y="117"/>
                    </a:lnTo>
                    <a:lnTo>
                      <a:pt x="1198" y="117"/>
                    </a:lnTo>
                    <a:lnTo>
                      <a:pt x="1200" y="119"/>
                    </a:lnTo>
                    <a:lnTo>
                      <a:pt x="1200" y="115"/>
                    </a:lnTo>
                    <a:lnTo>
                      <a:pt x="1198" y="115"/>
                    </a:lnTo>
                    <a:close/>
                    <a:moveTo>
                      <a:pt x="1251" y="115"/>
                    </a:moveTo>
                    <a:lnTo>
                      <a:pt x="1249" y="117"/>
                    </a:lnTo>
                    <a:lnTo>
                      <a:pt x="1251" y="119"/>
                    </a:lnTo>
                    <a:lnTo>
                      <a:pt x="1253" y="117"/>
                    </a:lnTo>
                    <a:lnTo>
                      <a:pt x="1255" y="115"/>
                    </a:lnTo>
                    <a:lnTo>
                      <a:pt x="1255" y="115"/>
                    </a:lnTo>
                    <a:lnTo>
                      <a:pt x="1251" y="115"/>
                    </a:lnTo>
                    <a:close/>
                    <a:moveTo>
                      <a:pt x="1071" y="117"/>
                    </a:moveTo>
                    <a:lnTo>
                      <a:pt x="1073" y="117"/>
                    </a:lnTo>
                    <a:lnTo>
                      <a:pt x="1073" y="120"/>
                    </a:lnTo>
                    <a:lnTo>
                      <a:pt x="1071" y="126"/>
                    </a:lnTo>
                    <a:lnTo>
                      <a:pt x="1069" y="128"/>
                    </a:lnTo>
                    <a:lnTo>
                      <a:pt x="1067" y="126"/>
                    </a:lnTo>
                    <a:lnTo>
                      <a:pt x="1065" y="124"/>
                    </a:lnTo>
                    <a:lnTo>
                      <a:pt x="1067" y="119"/>
                    </a:lnTo>
                    <a:lnTo>
                      <a:pt x="1071" y="117"/>
                    </a:lnTo>
                    <a:close/>
                    <a:moveTo>
                      <a:pt x="1223" y="117"/>
                    </a:moveTo>
                    <a:lnTo>
                      <a:pt x="1223" y="120"/>
                    </a:lnTo>
                    <a:lnTo>
                      <a:pt x="1221" y="124"/>
                    </a:lnTo>
                    <a:lnTo>
                      <a:pt x="1226" y="122"/>
                    </a:lnTo>
                    <a:lnTo>
                      <a:pt x="1226" y="120"/>
                    </a:lnTo>
                    <a:lnTo>
                      <a:pt x="1226" y="117"/>
                    </a:lnTo>
                    <a:lnTo>
                      <a:pt x="1223" y="117"/>
                    </a:lnTo>
                    <a:close/>
                    <a:moveTo>
                      <a:pt x="1242" y="120"/>
                    </a:moveTo>
                    <a:lnTo>
                      <a:pt x="1240" y="124"/>
                    </a:lnTo>
                    <a:lnTo>
                      <a:pt x="1240" y="128"/>
                    </a:lnTo>
                    <a:lnTo>
                      <a:pt x="1242" y="126"/>
                    </a:lnTo>
                    <a:lnTo>
                      <a:pt x="1244" y="122"/>
                    </a:lnTo>
                    <a:lnTo>
                      <a:pt x="1244" y="120"/>
                    </a:lnTo>
                    <a:lnTo>
                      <a:pt x="1244" y="120"/>
                    </a:lnTo>
                    <a:lnTo>
                      <a:pt x="1244" y="119"/>
                    </a:lnTo>
                    <a:lnTo>
                      <a:pt x="1242" y="120"/>
                    </a:lnTo>
                    <a:close/>
                    <a:moveTo>
                      <a:pt x="1232" y="126"/>
                    </a:moveTo>
                    <a:lnTo>
                      <a:pt x="1234" y="132"/>
                    </a:lnTo>
                    <a:lnTo>
                      <a:pt x="1234" y="128"/>
                    </a:lnTo>
                    <a:lnTo>
                      <a:pt x="1232" y="126"/>
                    </a:lnTo>
                    <a:close/>
                    <a:moveTo>
                      <a:pt x="1261" y="126"/>
                    </a:moveTo>
                    <a:lnTo>
                      <a:pt x="1261" y="130"/>
                    </a:lnTo>
                    <a:lnTo>
                      <a:pt x="1261" y="134"/>
                    </a:lnTo>
                    <a:lnTo>
                      <a:pt x="1265" y="134"/>
                    </a:lnTo>
                    <a:lnTo>
                      <a:pt x="1265" y="134"/>
                    </a:lnTo>
                    <a:lnTo>
                      <a:pt x="1267" y="132"/>
                    </a:lnTo>
                    <a:lnTo>
                      <a:pt x="1267" y="132"/>
                    </a:lnTo>
                    <a:lnTo>
                      <a:pt x="1265" y="128"/>
                    </a:lnTo>
                    <a:lnTo>
                      <a:pt x="1261" y="126"/>
                    </a:lnTo>
                    <a:close/>
                    <a:moveTo>
                      <a:pt x="1249" y="128"/>
                    </a:moveTo>
                    <a:lnTo>
                      <a:pt x="1247" y="130"/>
                    </a:lnTo>
                    <a:lnTo>
                      <a:pt x="1246" y="134"/>
                    </a:lnTo>
                    <a:lnTo>
                      <a:pt x="1249" y="134"/>
                    </a:lnTo>
                    <a:lnTo>
                      <a:pt x="1251" y="134"/>
                    </a:lnTo>
                    <a:lnTo>
                      <a:pt x="1253" y="138"/>
                    </a:lnTo>
                    <a:lnTo>
                      <a:pt x="1257" y="142"/>
                    </a:lnTo>
                    <a:lnTo>
                      <a:pt x="1259" y="142"/>
                    </a:lnTo>
                    <a:lnTo>
                      <a:pt x="1259" y="140"/>
                    </a:lnTo>
                    <a:lnTo>
                      <a:pt x="1257" y="138"/>
                    </a:lnTo>
                    <a:lnTo>
                      <a:pt x="1255" y="138"/>
                    </a:lnTo>
                    <a:lnTo>
                      <a:pt x="1255" y="136"/>
                    </a:lnTo>
                    <a:lnTo>
                      <a:pt x="1257" y="132"/>
                    </a:lnTo>
                    <a:lnTo>
                      <a:pt x="1253" y="130"/>
                    </a:lnTo>
                    <a:lnTo>
                      <a:pt x="1249" y="128"/>
                    </a:lnTo>
                    <a:close/>
                    <a:moveTo>
                      <a:pt x="1409" y="136"/>
                    </a:moveTo>
                    <a:lnTo>
                      <a:pt x="1411" y="138"/>
                    </a:lnTo>
                    <a:lnTo>
                      <a:pt x="1413" y="140"/>
                    </a:lnTo>
                    <a:lnTo>
                      <a:pt x="1411" y="138"/>
                    </a:lnTo>
                    <a:lnTo>
                      <a:pt x="1407" y="138"/>
                    </a:lnTo>
                    <a:lnTo>
                      <a:pt x="1407" y="136"/>
                    </a:lnTo>
                    <a:lnTo>
                      <a:pt x="1409" y="136"/>
                    </a:lnTo>
                    <a:close/>
                    <a:moveTo>
                      <a:pt x="1537" y="163"/>
                    </a:moveTo>
                    <a:lnTo>
                      <a:pt x="1535" y="165"/>
                    </a:lnTo>
                    <a:lnTo>
                      <a:pt x="1533" y="167"/>
                    </a:lnTo>
                    <a:lnTo>
                      <a:pt x="1535" y="168"/>
                    </a:lnTo>
                    <a:lnTo>
                      <a:pt x="1539" y="168"/>
                    </a:lnTo>
                    <a:lnTo>
                      <a:pt x="1539" y="165"/>
                    </a:lnTo>
                    <a:lnTo>
                      <a:pt x="1537" y="163"/>
                    </a:lnTo>
                    <a:close/>
                    <a:moveTo>
                      <a:pt x="1522" y="165"/>
                    </a:moveTo>
                    <a:lnTo>
                      <a:pt x="1522" y="167"/>
                    </a:lnTo>
                    <a:lnTo>
                      <a:pt x="1520" y="170"/>
                    </a:lnTo>
                    <a:lnTo>
                      <a:pt x="1520" y="168"/>
                    </a:lnTo>
                    <a:lnTo>
                      <a:pt x="1522" y="165"/>
                    </a:lnTo>
                    <a:close/>
                    <a:moveTo>
                      <a:pt x="1700" y="424"/>
                    </a:moveTo>
                    <a:lnTo>
                      <a:pt x="1698" y="427"/>
                    </a:lnTo>
                    <a:lnTo>
                      <a:pt x="1695" y="429"/>
                    </a:lnTo>
                    <a:lnTo>
                      <a:pt x="1695" y="435"/>
                    </a:lnTo>
                    <a:lnTo>
                      <a:pt x="1695" y="439"/>
                    </a:lnTo>
                    <a:lnTo>
                      <a:pt x="1697" y="439"/>
                    </a:lnTo>
                    <a:lnTo>
                      <a:pt x="1702" y="435"/>
                    </a:lnTo>
                    <a:lnTo>
                      <a:pt x="1704" y="431"/>
                    </a:lnTo>
                    <a:lnTo>
                      <a:pt x="1704" y="429"/>
                    </a:lnTo>
                    <a:lnTo>
                      <a:pt x="1704" y="426"/>
                    </a:lnTo>
                    <a:lnTo>
                      <a:pt x="1700" y="424"/>
                    </a:lnTo>
                    <a:close/>
                    <a:moveTo>
                      <a:pt x="1242" y="145"/>
                    </a:moveTo>
                    <a:lnTo>
                      <a:pt x="1242" y="147"/>
                    </a:lnTo>
                    <a:lnTo>
                      <a:pt x="1240" y="149"/>
                    </a:lnTo>
                    <a:lnTo>
                      <a:pt x="1240" y="145"/>
                    </a:lnTo>
                    <a:lnTo>
                      <a:pt x="1242" y="145"/>
                    </a:lnTo>
                    <a:close/>
                    <a:moveTo>
                      <a:pt x="1762" y="182"/>
                    </a:moveTo>
                    <a:lnTo>
                      <a:pt x="1758" y="190"/>
                    </a:lnTo>
                    <a:lnTo>
                      <a:pt x="1762" y="191"/>
                    </a:lnTo>
                    <a:lnTo>
                      <a:pt x="1764" y="193"/>
                    </a:lnTo>
                    <a:lnTo>
                      <a:pt x="1766" y="193"/>
                    </a:lnTo>
                    <a:lnTo>
                      <a:pt x="1768" y="191"/>
                    </a:lnTo>
                    <a:lnTo>
                      <a:pt x="1769" y="191"/>
                    </a:lnTo>
                    <a:lnTo>
                      <a:pt x="1771" y="191"/>
                    </a:lnTo>
                    <a:lnTo>
                      <a:pt x="1771" y="188"/>
                    </a:lnTo>
                    <a:lnTo>
                      <a:pt x="1771" y="188"/>
                    </a:lnTo>
                    <a:lnTo>
                      <a:pt x="1768" y="184"/>
                    </a:lnTo>
                    <a:lnTo>
                      <a:pt x="1762" y="182"/>
                    </a:lnTo>
                    <a:close/>
                    <a:moveTo>
                      <a:pt x="1549" y="662"/>
                    </a:moveTo>
                    <a:lnTo>
                      <a:pt x="1547" y="665"/>
                    </a:lnTo>
                    <a:lnTo>
                      <a:pt x="1547" y="669"/>
                    </a:lnTo>
                    <a:lnTo>
                      <a:pt x="1549" y="665"/>
                    </a:lnTo>
                    <a:lnTo>
                      <a:pt x="1551" y="664"/>
                    </a:lnTo>
                    <a:lnTo>
                      <a:pt x="1553" y="662"/>
                    </a:lnTo>
                    <a:lnTo>
                      <a:pt x="1551" y="660"/>
                    </a:lnTo>
                    <a:lnTo>
                      <a:pt x="1551" y="660"/>
                    </a:lnTo>
                    <a:lnTo>
                      <a:pt x="1549" y="662"/>
                    </a:lnTo>
                    <a:close/>
                    <a:moveTo>
                      <a:pt x="1528" y="677"/>
                    </a:moveTo>
                    <a:lnTo>
                      <a:pt x="1524" y="681"/>
                    </a:lnTo>
                    <a:lnTo>
                      <a:pt x="1522" y="687"/>
                    </a:lnTo>
                    <a:lnTo>
                      <a:pt x="1522" y="688"/>
                    </a:lnTo>
                    <a:lnTo>
                      <a:pt x="1522" y="688"/>
                    </a:lnTo>
                    <a:lnTo>
                      <a:pt x="1524" y="688"/>
                    </a:lnTo>
                    <a:lnTo>
                      <a:pt x="1528" y="687"/>
                    </a:lnTo>
                    <a:lnTo>
                      <a:pt x="1530" y="681"/>
                    </a:lnTo>
                    <a:lnTo>
                      <a:pt x="1528" y="677"/>
                    </a:lnTo>
                    <a:close/>
                    <a:moveTo>
                      <a:pt x="1508" y="688"/>
                    </a:moveTo>
                    <a:lnTo>
                      <a:pt x="1507" y="692"/>
                    </a:lnTo>
                    <a:lnTo>
                      <a:pt x="1507" y="696"/>
                    </a:lnTo>
                    <a:lnTo>
                      <a:pt x="1507" y="698"/>
                    </a:lnTo>
                    <a:lnTo>
                      <a:pt x="1507" y="700"/>
                    </a:lnTo>
                    <a:lnTo>
                      <a:pt x="1507" y="700"/>
                    </a:lnTo>
                    <a:lnTo>
                      <a:pt x="1508" y="700"/>
                    </a:lnTo>
                    <a:lnTo>
                      <a:pt x="1510" y="692"/>
                    </a:lnTo>
                    <a:lnTo>
                      <a:pt x="1508" y="688"/>
                    </a:lnTo>
                    <a:close/>
                    <a:moveTo>
                      <a:pt x="1499" y="696"/>
                    </a:moveTo>
                    <a:lnTo>
                      <a:pt x="1493" y="704"/>
                    </a:lnTo>
                    <a:lnTo>
                      <a:pt x="1491" y="704"/>
                    </a:lnTo>
                    <a:lnTo>
                      <a:pt x="1489" y="706"/>
                    </a:lnTo>
                    <a:lnTo>
                      <a:pt x="1489" y="708"/>
                    </a:lnTo>
                    <a:lnTo>
                      <a:pt x="1487" y="710"/>
                    </a:lnTo>
                    <a:lnTo>
                      <a:pt x="1489" y="710"/>
                    </a:lnTo>
                    <a:lnTo>
                      <a:pt x="1491" y="710"/>
                    </a:lnTo>
                    <a:lnTo>
                      <a:pt x="1497" y="706"/>
                    </a:lnTo>
                    <a:lnTo>
                      <a:pt x="1503" y="702"/>
                    </a:lnTo>
                    <a:lnTo>
                      <a:pt x="1503" y="698"/>
                    </a:lnTo>
                    <a:lnTo>
                      <a:pt x="1501" y="698"/>
                    </a:lnTo>
                    <a:lnTo>
                      <a:pt x="1501" y="696"/>
                    </a:lnTo>
                    <a:lnTo>
                      <a:pt x="1499" y="696"/>
                    </a:lnTo>
                    <a:close/>
                    <a:moveTo>
                      <a:pt x="1480" y="712"/>
                    </a:moveTo>
                    <a:lnTo>
                      <a:pt x="1474" y="721"/>
                    </a:lnTo>
                    <a:lnTo>
                      <a:pt x="1474" y="725"/>
                    </a:lnTo>
                    <a:lnTo>
                      <a:pt x="1480" y="717"/>
                    </a:lnTo>
                    <a:lnTo>
                      <a:pt x="1482" y="713"/>
                    </a:lnTo>
                    <a:lnTo>
                      <a:pt x="1482" y="712"/>
                    </a:lnTo>
                    <a:lnTo>
                      <a:pt x="1480" y="71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7" name="Freeform 105"/>
              <p:cNvSpPr>
                <a:spLocks/>
              </p:cNvSpPr>
              <p:nvPr/>
            </p:nvSpPr>
            <p:spPr bwMode="gray">
              <a:xfrm>
                <a:off x="4749674" y="3197226"/>
                <a:ext cx="168256" cy="133350"/>
              </a:xfrm>
              <a:custGeom>
                <a:avLst/>
                <a:gdLst>
                  <a:gd name="T0" fmla="*/ 104 w 106"/>
                  <a:gd name="T1" fmla="*/ 55 h 84"/>
                  <a:gd name="T2" fmla="*/ 98 w 106"/>
                  <a:gd name="T3" fmla="*/ 57 h 84"/>
                  <a:gd name="T4" fmla="*/ 94 w 106"/>
                  <a:gd name="T5" fmla="*/ 55 h 84"/>
                  <a:gd name="T6" fmla="*/ 92 w 106"/>
                  <a:gd name="T7" fmla="*/ 53 h 84"/>
                  <a:gd name="T8" fmla="*/ 88 w 106"/>
                  <a:gd name="T9" fmla="*/ 50 h 84"/>
                  <a:gd name="T10" fmla="*/ 88 w 106"/>
                  <a:gd name="T11" fmla="*/ 44 h 84"/>
                  <a:gd name="T12" fmla="*/ 90 w 106"/>
                  <a:gd name="T13" fmla="*/ 36 h 84"/>
                  <a:gd name="T14" fmla="*/ 88 w 106"/>
                  <a:gd name="T15" fmla="*/ 30 h 84"/>
                  <a:gd name="T16" fmla="*/ 87 w 106"/>
                  <a:gd name="T17" fmla="*/ 21 h 84"/>
                  <a:gd name="T18" fmla="*/ 81 w 106"/>
                  <a:gd name="T19" fmla="*/ 13 h 84"/>
                  <a:gd name="T20" fmla="*/ 73 w 106"/>
                  <a:gd name="T21" fmla="*/ 2 h 84"/>
                  <a:gd name="T22" fmla="*/ 67 w 106"/>
                  <a:gd name="T23" fmla="*/ 0 h 84"/>
                  <a:gd name="T24" fmla="*/ 64 w 106"/>
                  <a:gd name="T25" fmla="*/ 5 h 84"/>
                  <a:gd name="T26" fmla="*/ 56 w 106"/>
                  <a:gd name="T27" fmla="*/ 7 h 84"/>
                  <a:gd name="T28" fmla="*/ 50 w 106"/>
                  <a:gd name="T29" fmla="*/ 11 h 84"/>
                  <a:gd name="T30" fmla="*/ 44 w 106"/>
                  <a:gd name="T31" fmla="*/ 7 h 84"/>
                  <a:gd name="T32" fmla="*/ 35 w 106"/>
                  <a:gd name="T33" fmla="*/ 7 h 84"/>
                  <a:gd name="T34" fmla="*/ 29 w 106"/>
                  <a:gd name="T35" fmla="*/ 2 h 84"/>
                  <a:gd name="T36" fmla="*/ 27 w 106"/>
                  <a:gd name="T37" fmla="*/ 5 h 84"/>
                  <a:gd name="T38" fmla="*/ 23 w 106"/>
                  <a:gd name="T39" fmla="*/ 17 h 84"/>
                  <a:gd name="T40" fmla="*/ 16 w 106"/>
                  <a:gd name="T41" fmla="*/ 30 h 84"/>
                  <a:gd name="T42" fmla="*/ 6 w 106"/>
                  <a:gd name="T43" fmla="*/ 48 h 84"/>
                  <a:gd name="T44" fmla="*/ 2 w 106"/>
                  <a:gd name="T45" fmla="*/ 50 h 84"/>
                  <a:gd name="T46" fmla="*/ 4 w 106"/>
                  <a:gd name="T47" fmla="*/ 53 h 84"/>
                  <a:gd name="T48" fmla="*/ 6 w 106"/>
                  <a:gd name="T49" fmla="*/ 61 h 84"/>
                  <a:gd name="T50" fmla="*/ 10 w 106"/>
                  <a:gd name="T51" fmla="*/ 63 h 84"/>
                  <a:gd name="T52" fmla="*/ 14 w 106"/>
                  <a:gd name="T53" fmla="*/ 67 h 84"/>
                  <a:gd name="T54" fmla="*/ 16 w 106"/>
                  <a:gd name="T55" fmla="*/ 65 h 84"/>
                  <a:gd name="T56" fmla="*/ 21 w 106"/>
                  <a:gd name="T57" fmla="*/ 63 h 84"/>
                  <a:gd name="T58" fmla="*/ 27 w 106"/>
                  <a:gd name="T59" fmla="*/ 67 h 84"/>
                  <a:gd name="T60" fmla="*/ 27 w 106"/>
                  <a:gd name="T61" fmla="*/ 69 h 84"/>
                  <a:gd name="T62" fmla="*/ 23 w 106"/>
                  <a:gd name="T63" fmla="*/ 69 h 84"/>
                  <a:gd name="T64" fmla="*/ 21 w 106"/>
                  <a:gd name="T65" fmla="*/ 71 h 84"/>
                  <a:gd name="T66" fmla="*/ 27 w 106"/>
                  <a:gd name="T67" fmla="*/ 75 h 84"/>
                  <a:gd name="T68" fmla="*/ 33 w 106"/>
                  <a:gd name="T69" fmla="*/ 76 h 84"/>
                  <a:gd name="T70" fmla="*/ 33 w 106"/>
                  <a:gd name="T71" fmla="*/ 80 h 84"/>
                  <a:gd name="T72" fmla="*/ 35 w 106"/>
                  <a:gd name="T73" fmla="*/ 84 h 84"/>
                  <a:gd name="T74" fmla="*/ 42 w 106"/>
                  <a:gd name="T75" fmla="*/ 82 h 84"/>
                  <a:gd name="T76" fmla="*/ 50 w 106"/>
                  <a:gd name="T77" fmla="*/ 84 h 84"/>
                  <a:gd name="T78" fmla="*/ 62 w 106"/>
                  <a:gd name="T79" fmla="*/ 82 h 84"/>
                  <a:gd name="T80" fmla="*/ 67 w 106"/>
                  <a:gd name="T81" fmla="*/ 76 h 84"/>
                  <a:gd name="T82" fmla="*/ 75 w 106"/>
                  <a:gd name="T83" fmla="*/ 78 h 84"/>
                  <a:gd name="T84" fmla="*/ 87 w 106"/>
                  <a:gd name="T85" fmla="*/ 76 h 84"/>
                  <a:gd name="T86" fmla="*/ 92 w 106"/>
                  <a:gd name="T87" fmla="*/ 78 h 84"/>
                  <a:gd name="T88" fmla="*/ 96 w 106"/>
                  <a:gd name="T89" fmla="*/ 78 h 84"/>
                  <a:gd name="T90" fmla="*/ 98 w 106"/>
                  <a:gd name="T91" fmla="*/ 75 h 84"/>
                  <a:gd name="T92" fmla="*/ 98 w 106"/>
                  <a:gd name="T93" fmla="*/ 73 h 84"/>
                  <a:gd name="T94" fmla="*/ 102 w 106"/>
                  <a:gd name="T95" fmla="*/ 63 h 84"/>
                  <a:gd name="T96" fmla="*/ 106 w 106"/>
                  <a:gd name="T97" fmla="*/ 5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6" h="84">
                    <a:moveTo>
                      <a:pt x="106" y="55"/>
                    </a:moveTo>
                    <a:lnTo>
                      <a:pt x="104" y="55"/>
                    </a:lnTo>
                    <a:lnTo>
                      <a:pt x="100" y="55"/>
                    </a:lnTo>
                    <a:lnTo>
                      <a:pt x="98" y="57"/>
                    </a:lnTo>
                    <a:lnTo>
                      <a:pt x="96" y="55"/>
                    </a:lnTo>
                    <a:lnTo>
                      <a:pt x="94" y="55"/>
                    </a:lnTo>
                    <a:lnTo>
                      <a:pt x="94" y="55"/>
                    </a:lnTo>
                    <a:lnTo>
                      <a:pt x="92" y="53"/>
                    </a:lnTo>
                    <a:lnTo>
                      <a:pt x="90" y="53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8" y="44"/>
                    </a:lnTo>
                    <a:lnTo>
                      <a:pt x="88" y="38"/>
                    </a:lnTo>
                    <a:lnTo>
                      <a:pt x="90" y="36"/>
                    </a:lnTo>
                    <a:lnTo>
                      <a:pt x="88" y="32"/>
                    </a:lnTo>
                    <a:lnTo>
                      <a:pt x="88" y="30"/>
                    </a:lnTo>
                    <a:lnTo>
                      <a:pt x="88" y="25"/>
                    </a:lnTo>
                    <a:lnTo>
                      <a:pt x="87" y="21"/>
                    </a:lnTo>
                    <a:lnTo>
                      <a:pt x="83" y="17"/>
                    </a:lnTo>
                    <a:lnTo>
                      <a:pt x="81" y="13"/>
                    </a:lnTo>
                    <a:lnTo>
                      <a:pt x="79" y="7"/>
                    </a:lnTo>
                    <a:lnTo>
                      <a:pt x="73" y="2"/>
                    </a:lnTo>
                    <a:lnTo>
                      <a:pt x="69" y="0"/>
                    </a:lnTo>
                    <a:lnTo>
                      <a:pt x="67" y="0"/>
                    </a:lnTo>
                    <a:lnTo>
                      <a:pt x="65" y="4"/>
                    </a:lnTo>
                    <a:lnTo>
                      <a:pt x="64" y="5"/>
                    </a:lnTo>
                    <a:lnTo>
                      <a:pt x="60" y="5"/>
                    </a:lnTo>
                    <a:lnTo>
                      <a:pt x="56" y="7"/>
                    </a:lnTo>
                    <a:lnTo>
                      <a:pt x="54" y="11"/>
                    </a:lnTo>
                    <a:lnTo>
                      <a:pt x="50" y="11"/>
                    </a:lnTo>
                    <a:lnTo>
                      <a:pt x="48" y="9"/>
                    </a:lnTo>
                    <a:lnTo>
                      <a:pt x="44" y="7"/>
                    </a:lnTo>
                    <a:lnTo>
                      <a:pt x="41" y="7"/>
                    </a:lnTo>
                    <a:lnTo>
                      <a:pt x="35" y="7"/>
                    </a:lnTo>
                    <a:lnTo>
                      <a:pt x="31" y="4"/>
                    </a:lnTo>
                    <a:lnTo>
                      <a:pt x="29" y="2"/>
                    </a:lnTo>
                    <a:lnTo>
                      <a:pt x="27" y="2"/>
                    </a:lnTo>
                    <a:lnTo>
                      <a:pt x="27" y="5"/>
                    </a:lnTo>
                    <a:lnTo>
                      <a:pt x="25" y="13"/>
                    </a:lnTo>
                    <a:lnTo>
                      <a:pt x="23" y="17"/>
                    </a:lnTo>
                    <a:lnTo>
                      <a:pt x="17" y="21"/>
                    </a:lnTo>
                    <a:lnTo>
                      <a:pt x="16" y="30"/>
                    </a:lnTo>
                    <a:lnTo>
                      <a:pt x="12" y="42"/>
                    </a:lnTo>
                    <a:lnTo>
                      <a:pt x="6" y="48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0" y="50"/>
                    </a:lnTo>
                    <a:lnTo>
                      <a:pt x="4" y="53"/>
                    </a:lnTo>
                    <a:lnTo>
                      <a:pt x="6" y="59"/>
                    </a:lnTo>
                    <a:lnTo>
                      <a:pt x="6" y="61"/>
                    </a:lnTo>
                    <a:lnTo>
                      <a:pt x="8" y="63"/>
                    </a:lnTo>
                    <a:lnTo>
                      <a:pt x="10" y="63"/>
                    </a:lnTo>
                    <a:lnTo>
                      <a:pt x="12" y="67"/>
                    </a:lnTo>
                    <a:lnTo>
                      <a:pt x="14" y="67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21" y="63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69"/>
                    </a:lnTo>
                    <a:lnTo>
                      <a:pt x="25" y="69"/>
                    </a:lnTo>
                    <a:lnTo>
                      <a:pt x="23" y="69"/>
                    </a:lnTo>
                    <a:lnTo>
                      <a:pt x="21" y="71"/>
                    </a:lnTo>
                    <a:lnTo>
                      <a:pt x="21" y="71"/>
                    </a:lnTo>
                    <a:lnTo>
                      <a:pt x="23" y="73"/>
                    </a:lnTo>
                    <a:lnTo>
                      <a:pt x="27" y="75"/>
                    </a:lnTo>
                    <a:lnTo>
                      <a:pt x="29" y="76"/>
                    </a:lnTo>
                    <a:lnTo>
                      <a:pt x="33" y="76"/>
                    </a:lnTo>
                    <a:lnTo>
                      <a:pt x="35" y="78"/>
                    </a:lnTo>
                    <a:lnTo>
                      <a:pt x="33" y="80"/>
                    </a:lnTo>
                    <a:lnTo>
                      <a:pt x="33" y="82"/>
                    </a:lnTo>
                    <a:lnTo>
                      <a:pt x="35" y="84"/>
                    </a:lnTo>
                    <a:lnTo>
                      <a:pt x="39" y="84"/>
                    </a:lnTo>
                    <a:lnTo>
                      <a:pt x="42" y="82"/>
                    </a:lnTo>
                    <a:lnTo>
                      <a:pt x="46" y="82"/>
                    </a:lnTo>
                    <a:lnTo>
                      <a:pt x="50" y="84"/>
                    </a:lnTo>
                    <a:lnTo>
                      <a:pt x="56" y="82"/>
                    </a:lnTo>
                    <a:lnTo>
                      <a:pt x="62" y="82"/>
                    </a:lnTo>
                    <a:lnTo>
                      <a:pt x="64" y="80"/>
                    </a:lnTo>
                    <a:lnTo>
                      <a:pt x="67" y="76"/>
                    </a:lnTo>
                    <a:lnTo>
                      <a:pt x="71" y="75"/>
                    </a:lnTo>
                    <a:lnTo>
                      <a:pt x="75" y="78"/>
                    </a:lnTo>
                    <a:lnTo>
                      <a:pt x="81" y="78"/>
                    </a:lnTo>
                    <a:lnTo>
                      <a:pt x="87" y="76"/>
                    </a:lnTo>
                    <a:lnTo>
                      <a:pt x="88" y="76"/>
                    </a:lnTo>
                    <a:lnTo>
                      <a:pt x="92" y="78"/>
                    </a:lnTo>
                    <a:lnTo>
                      <a:pt x="94" y="80"/>
                    </a:lnTo>
                    <a:lnTo>
                      <a:pt x="96" y="78"/>
                    </a:lnTo>
                    <a:lnTo>
                      <a:pt x="98" y="76"/>
                    </a:lnTo>
                    <a:lnTo>
                      <a:pt x="98" y="75"/>
                    </a:lnTo>
                    <a:lnTo>
                      <a:pt x="96" y="73"/>
                    </a:lnTo>
                    <a:lnTo>
                      <a:pt x="98" y="73"/>
                    </a:lnTo>
                    <a:lnTo>
                      <a:pt x="102" y="73"/>
                    </a:lnTo>
                    <a:lnTo>
                      <a:pt x="102" y="63"/>
                    </a:lnTo>
                    <a:lnTo>
                      <a:pt x="102" y="57"/>
                    </a:lnTo>
                    <a:lnTo>
                      <a:pt x="106" y="57"/>
                    </a:lnTo>
                    <a:lnTo>
                      <a:pt x="106" y="5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8" name="Freeform 106"/>
              <p:cNvSpPr>
                <a:spLocks/>
              </p:cNvSpPr>
              <p:nvPr/>
            </p:nvSpPr>
            <p:spPr bwMode="gray">
              <a:xfrm>
                <a:off x="5329047" y="3805239"/>
                <a:ext cx="17461" cy="31750"/>
              </a:xfrm>
              <a:custGeom>
                <a:avLst/>
                <a:gdLst>
                  <a:gd name="T0" fmla="*/ 0 w 11"/>
                  <a:gd name="T1" fmla="*/ 14 h 20"/>
                  <a:gd name="T2" fmla="*/ 6 w 11"/>
                  <a:gd name="T3" fmla="*/ 18 h 20"/>
                  <a:gd name="T4" fmla="*/ 9 w 11"/>
                  <a:gd name="T5" fmla="*/ 20 h 20"/>
                  <a:gd name="T6" fmla="*/ 11 w 11"/>
                  <a:gd name="T7" fmla="*/ 12 h 20"/>
                  <a:gd name="T8" fmla="*/ 11 w 11"/>
                  <a:gd name="T9" fmla="*/ 4 h 20"/>
                  <a:gd name="T10" fmla="*/ 9 w 11"/>
                  <a:gd name="T11" fmla="*/ 0 h 20"/>
                  <a:gd name="T12" fmla="*/ 8 w 11"/>
                  <a:gd name="T13" fmla="*/ 0 h 20"/>
                  <a:gd name="T14" fmla="*/ 4 w 11"/>
                  <a:gd name="T15" fmla="*/ 6 h 20"/>
                  <a:gd name="T16" fmla="*/ 2 w 11"/>
                  <a:gd name="T17" fmla="*/ 14 h 20"/>
                  <a:gd name="T18" fmla="*/ 0 w 11"/>
                  <a:gd name="T19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20">
                    <a:moveTo>
                      <a:pt x="0" y="14"/>
                    </a:moveTo>
                    <a:lnTo>
                      <a:pt x="6" y="18"/>
                    </a:lnTo>
                    <a:lnTo>
                      <a:pt x="9" y="20"/>
                    </a:lnTo>
                    <a:lnTo>
                      <a:pt x="11" y="12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4" y="6"/>
                    </a:lnTo>
                    <a:lnTo>
                      <a:pt x="2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09" name="Freeform 107"/>
              <p:cNvSpPr>
                <a:spLocks/>
              </p:cNvSpPr>
              <p:nvPr/>
            </p:nvSpPr>
            <p:spPr bwMode="gray">
              <a:xfrm>
                <a:off x="3005206" y="4000501"/>
                <a:ext cx="23810" cy="12700"/>
              </a:xfrm>
              <a:custGeom>
                <a:avLst/>
                <a:gdLst>
                  <a:gd name="T0" fmla="*/ 0 w 15"/>
                  <a:gd name="T1" fmla="*/ 0 h 8"/>
                  <a:gd name="T2" fmla="*/ 1 w 15"/>
                  <a:gd name="T3" fmla="*/ 8 h 8"/>
                  <a:gd name="T4" fmla="*/ 7 w 15"/>
                  <a:gd name="T5" fmla="*/ 8 h 8"/>
                  <a:gd name="T6" fmla="*/ 13 w 15"/>
                  <a:gd name="T7" fmla="*/ 8 h 8"/>
                  <a:gd name="T8" fmla="*/ 13 w 15"/>
                  <a:gd name="T9" fmla="*/ 6 h 8"/>
                  <a:gd name="T10" fmla="*/ 15 w 15"/>
                  <a:gd name="T11" fmla="*/ 4 h 8"/>
                  <a:gd name="T12" fmla="*/ 11 w 15"/>
                  <a:gd name="T13" fmla="*/ 2 h 8"/>
                  <a:gd name="T14" fmla="*/ 0 w 15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8">
                    <a:moveTo>
                      <a:pt x="0" y="0"/>
                    </a:moveTo>
                    <a:lnTo>
                      <a:pt x="1" y="8"/>
                    </a:lnTo>
                    <a:lnTo>
                      <a:pt x="7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5" y="4"/>
                    </a:lnTo>
                    <a:lnTo>
                      <a:pt x="1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0" name="Freeform 108"/>
              <p:cNvSpPr>
                <a:spLocks/>
              </p:cNvSpPr>
              <p:nvPr/>
            </p:nvSpPr>
            <p:spPr bwMode="gray">
              <a:xfrm>
                <a:off x="4143317" y="3379789"/>
                <a:ext cx="55556" cy="133350"/>
              </a:xfrm>
              <a:custGeom>
                <a:avLst/>
                <a:gdLst>
                  <a:gd name="T0" fmla="*/ 29 w 35"/>
                  <a:gd name="T1" fmla="*/ 82 h 84"/>
                  <a:gd name="T2" fmla="*/ 29 w 35"/>
                  <a:gd name="T3" fmla="*/ 80 h 84"/>
                  <a:gd name="T4" fmla="*/ 29 w 35"/>
                  <a:gd name="T5" fmla="*/ 75 h 84"/>
                  <a:gd name="T6" fmla="*/ 29 w 35"/>
                  <a:gd name="T7" fmla="*/ 73 h 84"/>
                  <a:gd name="T8" fmla="*/ 25 w 35"/>
                  <a:gd name="T9" fmla="*/ 71 h 84"/>
                  <a:gd name="T10" fmla="*/ 25 w 35"/>
                  <a:gd name="T11" fmla="*/ 65 h 84"/>
                  <a:gd name="T12" fmla="*/ 27 w 35"/>
                  <a:gd name="T13" fmla="*/ 61 h 84"/>
                  <a:gd name="T14" fmla="*/ 29 w 35"/>
                  <a:gd name="T15" fmla="*/ 59 h 84"/>
                  <a:gd name="T16" fmla="*/ 27 w 35"/>
                  <a:gd name="T17" fmla="*/ 55 h 84"/>
                  <a:gd name="T18" fmla="*/ 25 w 35"/>
                  <a:gd name="T19" fmla="*/ 52 h 84"/>
                  <a:gd name="T20" fmla="*/ 25 w 35"/>
                  <a:gd name="T21" fmla="*/ 50 h 84"/>
                  <a:gd name="T22" fmla="*/ 27 w 35"/>
                  <a:gd name="T23" fmla="*/ 48 h 84"/>
                  <a:gd name="T24" fmla="*/ 27 w 35"/>
                  <a:gd name="T25" fmla="*/ 46 h 84"/>
                  <a:gd name="T26" fmla="*/ 29 w 35"/>
                  <a:gd name="T27" fmla="*/ 42 h 84"/>
                  <a:gd name="T28" fmla="*/ 27 w 35"/>
                  <a:gd name="T29" fmla="*/ 38 h 84"/>
                  <a:gd name="T30" fmla="*/ 27 w 35"/>
                  <a:gd name="T31" fmla="*/ 34 h 84"/>
                  <a:gd name="T32" fmla="*/ 31 w 35"/>
                  <a:gd name="T33" fmla="*/ 31 h 84"/>
                  <a:gd name="T34" fmla="*/ 33 w 35"/>
                  <a:gd name="T35" fmla="*/ 29 h 84"/>
                  <a:gd name="T36" fmla="*/ 31 w 35"/>
                  <a:gd name="T37" fmla="*/ 25 h 84"/>
                  <a:gd name="T38" fmla="*/ 31 w 35"/>
                  <a:gd name="T39" fmla="*/ 21 h 84"/>
                  <a:gd name="T40" fmla="*/ 27 w 35"/>
                  <a:gd name="T41" fmla="*/ 17 h 84"/>
                  <a:gd name="T42" fmla="*/ 27 w 35"/>
                  <a:gd name="T43" fmla="*/ 13 h 84"/>
                  <a:gd name="T44" fmla="*/ 33 w 35"/>
                  <a:gd name="T45" fmla="*/ 9 h 84"/>
                  <a:gd name="T46" fmla="*/ 35 w 35"/>
                  <a:gd name="T47" fmla="*/ 6 h 84"/>
                  <a:gd name="T48" fmla="*/ 35 w 35"/>
                  <a:gd name="T49" fmla="*/ 4 h 84"/>
                  <a:gd name="T50" fmla="*/ 33 w 35"/>
                  <a:gd name="T51" fmla="*/ 4 h 84"/>
                  <a:gd name="T52" fmla="*/ 31 w 35"/>
                  <a:gd name="T53" fmla="*/ 4 h 84"/>
                  <a:gd name="T54" fmla="*/ 31 w 35"/>
                  <a:gd name="T55" fmla="*/ 2 h 84"/>
                  <a:gd name="T56" fmla="*/ 27 w 35"/>
                  <a:gd name="T57" fmla="*/ 2 h 84"/>
                  <a:gd name="T58" fmla="*/ 23 w 35"/>
                  <a:gd name="T59" fmla="*/ 2 h 84"/>
                  <a:gd name="T60" fmla="*/ 18 w 35"/>
                  <a:gd name="T61" fmla="*/ 2 h 84"/>
                  <a:gd name="T62" fmla="*/ 16 w 35"/>
                  <a:gd name="T63" fmla="*/ 2 h 84"/>
                  <a:gd name="T64" fmla="*/ 16 w 35"/>
                  <a:gd name="T65" fmla="*/ 2 h 84"/>
                  <a:gd name="T66" fmla="*/ 16 w 35"/>
                  <a:gd name="T67" fmla="*/ 2 h 84"/>
                  <a:gd name="T68" fmla="*/ 16 w 35"/>
                  <a:gd name="T69" fmla="*/ 0 h 84"/>
                  <a:gd name="T70" fmla="*/ 10 w 35"/>
                  <a:gd name="T71" fmla="*/ 0 h 84"/>
                  <a:gd name="T72" fmla="*/ 6 w 35"/>
                  <a:gd name="T73" fmla="*/ 2 h 84"/>
                  <a:gd name="T74" fmla="*/ 8 w 35"/>
                  <a:gd name="T75" fmla="*/ 13 h 84"/>
                  <a:gd name="T76" fmla="*/ 10 w 35"/>
                  <a:gd name="T77" fmla="*/ 27 h 84"/>
                  <a:gd name="T78" fmla="*/ 6 w 35"/>
                  <a:gd name="T79" fmla="*/ 29 h 84"/>
                  <a:gd name="T80" fmla="*/ 4 w 35"/>
                  <a:gd name="T81" fmla="*/ 36 h 84"/>
                  <a:gd name="T82" fmla="*/ 2 w 35"/>
                  <a:gd name="T83" fmla="*/ 44 h 84"/>
                  <a:gd name="T84" fmla="*/ 0 w 35"/>
                  <a:gd name="T85" fmla="*/ 44 h 84"/>
                  <a:gd name="T86" fmla="*/ 0 w 35"/>
                  <a:gd name="T87" fmla="*/ 44 h 84"/>
                  <a:gd name="T88" fmla="*/ 0 w 35"/>
                  <a:gd name="T89" fmla="*/ 50 h 84"/>
                  <a:gd name="T90" fmla="*/ 0 w 35"/>
                  <a:gd name="T91" fmla="*/ 55 h 84"/>
                  <a:gd name="T92" fmla="*/ 2 w 35"/>
                  <a:gd name="T93" fmla="*/ 54 h 84"/>
                  <a:gd name="T94" fmla="*/ 4 w 35"/>
                  <a:gd name="T95" fmla="*/ 54 h 84"/>
                  <a:gd name="T96" fmla="*/ 2 w 35"/>
                  <a:gd name="T97" fmla="*/ 57 h 84"/>
                  <a:gd name="T98" fmla="*/ 2 w 35"/>
                  <a:gd name="T99" fmla="*/ 61 h 84"/>
                  <a:gd name="T100" fmla="*/ 6 w 35"/>
                  <a:gd name="T101" fmla="*/ 65 h 84"/>
                  <a:gd name="T102" fmla="*/ 6 w 35"/>
                  <a:gd name="T103" fmla="*/ 75 h 84"/>
                  <a:gd name="T104" fmla="*/ 4 w 35"/>
                  <a:gd name="T105" fmla="*/ 84 h 84"/>
                  <a:gd name="T106" fmla="*/ 16 w 35"/>
                  <a:gd name="T107" fmla="*/ 84 h 84"/>
                  <a:gd name="T108" fmla="*/ 29 w 35"/>
                  <a:gd name="T109" fmla="*/ 8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5" h="84">
                    <a:moveTo>
                      <a:pt x="29" y="82"/>
                    </a:moveTo>
                    <a:lnTo>
                      <a:pt x="29" y="80"/>
                    </a:lnTo>
                    <a:lnTo>
                      <a:pt x="29" y="75"/>
                    </a:lnTo>
                    <a:lnTo>
                      <a:pt x="29" y="73"/>
                    </a:lnTo>
                    <a:lnTo>
                      <a:pt x="25" y="71"/>
                    </a:lnTo>
                    <a:lnTo>
                      <a:pt x="25" y="65"/>
                    </a:lnTo>
                    <a:lnTo>
                      <a:pt x="27" y="61"/>
                    </a:lnTo>
                    <a:lnTo>
                      <a:pt x="29" y="59"/>
                    </a:lnTo>
                    <a:lnTo>
                      <a:pt x="27" y="55"/>
                    </a:lnTo>
                    <a:lnTo>
                      <a:pt x="25" y="52"/>
                    </a:lnTo>
                    <a:lnTo>
                      <a:pt x="25" y="50"/>
                    </a:lnTo>
                    <a:lnTo>
                      <a:pt x="27" y="48"/>
                    </a:lnTo>
                    <a:lnTo>
                      <a:pt x="27" y="46"/>
                    </a:lnTo>
                    <a:lnTo>
                      <a:pt x="29" y="42"/>
                    </a:lnTo>
                    <a:lnTo>
                      <a:pt x="27" y="38"/>
                    </a:lnTo>
                    <a:lnTo>
                      <a:pt x="27" y="34"/>
                    </a:lnTo>
                    <a:lnTo>
                      <a:pt x="31" y="31"/>
                    </a:lnTo>
                    <a:lnTo>
                      <a:pt x="33" y="29"/>
                    </a:lnTo>
                    <a:lnTo>
                      <a:pt x="31" y="25"/>
                    </a:lnTo>
                    <a:lnTo>
                      <a:pt x="31" y="21"/>
                    </a:lnTo>
                    <a:lnTo>
                      <a:pt x="27" y="17"/>
                    </a:lnTo>
                    <a:lnTo>
                      <a:pt x="27" y="13"/>
                    </a:lnTo>
                    <a:lnTo>
                      <a:pt x="33" y="9"/>
                    </a:lnTo>
                    <a:lnTo>
                      <a:pt x="35" y="6"/>
                    </a:lnTo>
                    <a:lnTo>
                      <a:pt x="35" y="4"/>
                    </a:lnTo>
                    <a:lnTo>
                      <a:pt x="33" y="4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27" y="2"/>
                    </a:lnTo>
                    <a:lnTo>
                      <a:pt x="23" y="2"/>
                    </a:lnTo>
                    <a:lnTo>
                      <a:pt x="18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8" y="13"/>
                    </a:lnTo>
                    <a:lnTo>
                      <a:pt x="10" y="27"/>
                    </a:lnTo>
                    <a:lnTo>
                      <a:pt x="6" y="29"/>
                    </a:lnTo>
                    <a:lnTo>
                      <a:pt x="4" y="36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50"/>
                    </a:lnTo>
                    <a:lnTo>
                      <a:pt x="0" y="55"/>
                    </a:lnTo>
                    <a:lnTo>
                      <a:pt x="2" y="54"/>
                    </a:lnTo>
                    <a:lnTo>
                      <a:pt x="4" y="54"/>
                    </a:lnTo>
                    <a:lnTo>
                      <a:pt x="2" y="57"/>
                    </a:lnTo>
                    <a:lnTo>
                      <a:pt x="2" y="61"/>
                    </a:lnTo>
                    <a:lnTo>
                      <a:pt x="6" y="65"/>
                    </a:lnTo>
                    <a:lnTo>
                      <a:pt x="6" y="75"/>
                    </a:lnTo>
                    <a:lnTo>
                      <a:pt x="4" y="84"/>
                    </a:lnTo>
                    <a:lnTo>
                      <a:pt x="16" y="84"/>
                    </a:lnTo>
                    <a:lnTo>
                      <a:pt x="29" y="8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1" name="Freeform 109"/>
              <p:cNvSpPr>
                <a:spLocks/>
              </p:cNvSpPr>
              <p:nvPr/>
            </p:nvSpPr>
            <p:spPr bwMode="gray">
              <a:xfrm>
                <a:off x="4609990" y="3011489"/>
                <a:ext cx="212701" cy="176213"/>
              </a:xfrm>
              <a:custGeom>
                <a:avLst/>
                <a:gdLst>
                  <a:gd name="T0" fmla="*/ 65 w 134"/>
                  <a:gd name="T1" fmla="*/ 3 h 111"/>
                  <a:gd name="T2" fmla="*/ 59 w 134"/>
                  <a:gd name="T3" fmla="*/ 7 h 111"/>
                  <a:gd name="T4" fmla="*/ 54 w 134"/>
                  <a:gd name="T5" fmla="*/ 9 h 111"/>
                  <a:gd name="T6" fmla="*/ 52 w 134"/>
                  <a:gd name="T7" fmla="*/ 3 h 111"/>
                  <a:gd name="T8" fmla="*/ 54 w 134"/>
                  <a:gd name="T9" fmla="*/ 2 h 111"/>
                  <a:gd name="T10" fmla="*/ 48 w 134"/>
                  <a:gd name="T11" fmla="*/ 0 h 111"/>
                  <a:gd name="T12" fmla="*/ 8 w 134"/>
                  <a:gd name="T13" fmla="*/ 15 h 111"/>
                  <a:gd name="T14" fmla="*/ 2 w 134"/>
                  <a:gd name="T15" fmla="*/ 15 h 111"/>
                  <a:gd name="T16" fmla="*/ 0 w 134"/>
                  <a:gd name="T17" fmla="*/ 26 h 111"/>
                  <a:gd name="T18" fmla="*/ 2 w 134"/>
                  <a:gd name="T19" fmla="*/ 34 h 111"/>
                  <a:gd name="T20" fmla="*/ 2 w 134"/>
                  <a:gd name="T21" fmla="*/ 44 h 111"/>
                  <a:gd name="T22" fmla="*/ 4 w 134"/>
                  <a:gd name="T23" fmla="*/ 51 h 111"/>
                  <a:gd name="T24" fmla="*/ 6 w 134"/>
                  <a:gd name="T25" fmla="*/ 67 h 111"/>
                  <a:gd name="T26" fmla="*/ 11 w 134"/>
                  <a:gd name="T27" fmla="*/ 71 h 111"/>
                  <a:gd name="T28" fmla="*/ 19 w 134"/>
                  <a:gd name="T29" fmla="*/ 73 h 111"/>
                  <a:gd name="T30" fmla="*/ 25 w 134"/>
                  <a:gd name="T31" fmla="*/ 74 h 111"/>
                  <a:gd name="T32" fmla="*/ 34 w 134"/>
                  <a:gd name="T33" fmla="*/ 80 h 111"/>
                  <a:gd name="T34" fmla="*/ 42 w 134"/>
                  <a:gd name="T35" fmla="*/ 82 h 111"/>
                  <a:gd name="T36" fmla="*/ 48 w 134"/>
                  <a:gd name="T37" fmla="*/ 90 h 111"/>
                  <a:gd name="T38" fmla="*/ 50 w 134"/>
                  <a:gd name="T39" fmla="*/ 94 h 111"/>
                  <a:gd name="T40" fmla="*/ 59 w 134"/>
                  <a:gd name="T41" fmla="*/ 94 h 111"/>
                  <a:gd name="T42" fmla="*/ 65 w 134"/>
                  <a:gd name="T43" fmla="*/ 96 h 111"/>
                  <a:gd name="T44" fmla="*/ 73 w 134"/>
                  <a:gd name="T45" fmla="*/ 99 h 111"/>
                  <a:gd name="T46" fmla="*/ 77 w 134"/>
                  <a:gd name="T47" fmla="*/ 99 h 111"/>
                  <a:gd name="T48" fmla="*/ 81 w 134"/>
                  <a:gd name="T49" fmla="*/ 96 h 111"/>
                  <a:gd name="T50" fmla="*/ 92 w 134"/>
                  <a:gd name="T51" fmla="*/ 90 h 111"/>
                  <a:gd name="T52" fmla="*/ 102 w 134"/>
                  <a:gd name="T53" fmla="*/ 92 h 111"/>
                  <a:gd name="T54" fmla="*/ 109 w 134"/>
                  <a:gd name="T55" fmla="*/ 96 h 111"/>
                  <a:gd name="T56" fmla="*/ 115 w 134"/>
                  <a:gd name="T57" fmla="*/ 101 h 111"/>
                  <a:gd name="T58" fmla="*/ 119 w 134"/>
                  <a:gd name="T59" fmla="*/ 109 h 111"/>
                  <a:gd name="T60" fmla="*/ 125 w 134"/>
                  <a:gd name="T61" fmla="*/ 109 h 111"/>
                  <a:gd name="T62" fmla="*/ 127 w 134"/>
                  <a:gd name="T63" fmla="*/ 101 h 111"/>
                  <a:gd name="T64" fmla="*/ 129 w 134"/>
                  <a:gd name="T65" fmla="*/ 92 h 111"/>
                  <a:gd name="T66" fmla="*/ 132 w 134"/>
                  <a:gd name="T67" fmla="*/ 84 h 111"/>
                  <a:gd name="T68" fmla="*/ 130 w 134"/>
                  <a:gd name="T69" fmla="*/ 78 h 111"/>
                  <a:gd name="T70" fmla="*/ 130 w 134"/>
                  <a:gd name="T71" fmla="*/ 67 h 111"/>
                  <a:gd name="T72" fmla="*/ 132 w 134"/>
                  <a:gd name="T73" fmla="*/ 59 h 111"/>
                  <a:gd name="T74" fmla="*/ 130 w 134"/>
                  <a:gd name="T75" fmla="*/ 53 h 111"/>
                  <a:gd name="T76" fmla="*/ 130 w 134"/>
                  <a:gd name="T77" fmla="*/ 46 h 111"/>
                  <a:gd name="T78" fmla="*/ 132 w 134"/>
                  <a:gd name="T79" fmla="*/ 34 h 111"/>
                  <a:gd name="T80" fmla="*/ 130 w 134"/>
                  <a:gd name="T81" fmla="*/ 23 h 111"/>
                  <a:gd name="T82" fmla="*/ 130 w 134"/>
                  <a:gd name="T83" fmla="*/ 17 h 111"/>
                  <a:gd name="T84" fmla="*/ 119 w 134"/>
                  <a:gd name="T85" fmla="*/ 13 h 111"/>
                  <a:gd name="T86" fmla="*/ 105 w 134"/>
                  <a:gd name="T87" fmla="*/ 15 h 111"/>
                  <a:gd name="T88" fmla="*/ 100 w 134"/>
                  <a:gd name="T89" fmla="*/ 15 h 111"/>
                  <a:gd name="T90" fmla="*/ 82 w 134"/>
                  <a:gd name="T91" fmla="*/ 11 h 111"/>
                  <a:gd name="T92" fmla="*/ 69 w 134"/>
                  <a:gd name="T93" fmla="*/ 5 h 111"/>
                  <a:gd name="T94" fmla="*/ 69 w 134"/>
                  <a:gd name="T95" fmla="*/ 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34" h="111">
                    <a:moveTo>
                      <a:pt x="69" y="5"/>
                    </a:moveTo>
                    <a:lnTo>
                      <a:pt x="65" y="3"/>
                    </a:lnTo>
                    <a:lnTo>
                      <a:pt x="63" y="3"/>
                    </a:lnTo>
                    <a:lnTo>
                      <a:pt x="59" y="7"/>
                    </a:lnTo>
                    <a:lnTo>
                      <a:pt x="56" y="7"/>
                    </a:lnTo>
                    <a:lnTo>
                      <a:pt x="54" y="9"/>
                    </a:lnTo>
                    <a:lnTo>
                      <a:pt x="52" y="7"/>
                    </a:lnTo>
                    <a:lnTo>
                      <a:pt x="52" y="3"/>
                    </a:lnTo>
                    <a:lnTo>
                      <a:pt x="54" y="3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29" y="7"/>
                    </a:lnTo>
                    <a:lnTo>
                      <a:pt x="8" y="15"/>
                    </a:lnTo>
                    <a:lnTo>
                      <a:pt x="4" y="15"/>
                    </a:lnTo>
                    <a:lnTo>
                      <a:pt x="2" y="15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2" y="38"/>
                    </a:lnTo>
                    <a:lnTo>
                      <a:pt x="2" y="44"/>
                    </a:lnTo>
                    <a:lnTo>
                      <a:pt x="4" y="48"/>
                    </a:lnTo>
                    <a:lnTo>
                      <a:pt x="4" y="51"/>
                    </a:lnTo>
                    <a:lnTo>
                      <a:pt x="4" y="61"/>
                    </a:lnTo>
                    <a:lnTo>
                      <a:pt x="6" y="67"/>
                    </a:lnTo>
                    <a:lnTo>
                      <a:pt x="10" y="69"/>
                    </a:lnTo>
                    <a:lnTo>
                      <a:pt x="11" y="71"/>
                    </a:lnTo>
                    <a:lnTo>
                      <a:pt x="15" y="71"/>
                    </a:lnTo>
                    <a:lnTo>
                      <a:pt x="19" y="73"/>
                    </a:lnTo>
                    <a:lnTo>
                      <a:pt x="21" y="74"/>
                    </a:lnTo>
                    <a:lnTo>
                      <a:pt x="25" y="74"/>
                    </a:lnTo>
                    <a:lnTo>
                      <a:pt x="31" y="78"/>
                    </a:lnTo>
                    <a:lnTo>
                      <a:pt x="34" y="80"/>
                    </a:lnTo>
                    <a:lnTo>
                      <a:pt x="38" y="80"/>
                    </a:lnTo>
                    <a:lnTo>
                      <a:pt x="42" y="82"/>
                    </a:lnTo>
                    <a:lnTo>
                      <a:pt x="46" y="86"/>
                    </a:lnTo>
                    <a:lnTo>
                      <a:pt x="48" y="90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6" y="94"/>
                    </a:lnTo>
                    <a:lnTo>
                      <a:pt x="59" y="94"/>
                    </a:lnTo>
                    <a:lnTo>
                      <a:pt x="61" y="94"/>
                    </a:lnTo>
                    <a:lnTo>
                      <a:pt x="65" y="96"/>
                    </a:lnTo>
                    <a:lnTo>
                      <a:pt x="69" y="97"/>
                    </a:lnTo>
                    <a:lnTo>
                      <a:pt x="73" y="99"/>
                    </a:lnTo>
                    <a:lnTo>
                      <a:pt x="75" y="99"/>
                    </a:lnTo>
                    <a:lnTo>
                      <a:pt x="77" y="99"/>
                    </a:lnTo>
                    <a:lnTo>
                      <a:pt x="79" y="97"/>
                    </a:lnTo>
                    <a:lnTo>
                      <a:pt x="81" y="96"/>
                    </a:lnTo>
                    <a:lnTo>
                      <a:pt x="86" y="94"/>
                    </a:lnTo>
                    <a:lnTo>
                      <a:pt x="92" y="90"/>
                    </a:lnTo>
                    <a:lnTo>
                      <a:pt x="98" y="90"/>
                    </a:lnTo>
                    <a:lnTo>
                      <a:pt x="102" y="92"/>
                    </a:lnTo>
                    <a:lnTo>
                      <a:pt x="105" y="94"/>
                    </a:lnTo>
                    <a:lnTo>
                      <a:pt x="109" y="96"/>
                    </a:lnTo>
                    <a:lnTo>
                      <a:pt x="113" y="99"/>
                    </a:lnTo>
                    <a:lnTo>
                      <a:pt x="115" y="101"/>
                    </a:lnTo>
                    <a:lnTo>
                      <a:pt x="115" y="105"/>
                    </a:lnTo>
                    <a:lnTo>
                      <a:pt x="119" y="109"/>
                    </a:lnTo>
                    <a:lnTo>
                      <a:pt x="121" y="111"/>
                    </a:lnTo>
                    <a:lnTo>
                      <a:pt x="125" y="109"/>
                    </a:lnTo>
                    <a:lnTo>
                      <a:pt x="129" y="105"/>
                    </a:lnTo>
                    <a:lnTo>
                      <a:pt x="127" y="101"/>
                    </a:lnTo>
                    <a:lnTo>
                      <a:pt x="127" y="96"/>
                    </a:lnTo>
                    <a:lnTo>
                      <a:pt x="129" y="92"/>
                    </a:lnTo>
                    <a:lnTo>
                      <a:pt x="130" y="90"/>
                    </a:lnTo>
                    <a:lnTo>
                      <a:pt x="132" y="84"/>
                    </a:lnTo>
                    <a:lnTo>
                      <a:pt x="134" y="80"/>
                    </a:lnTo>
                    <a:lnTo>
                      <a:pt x="130" y="78"/>
                    </a:lnTo>
                    <a:lnTo>
                      <a:pt x="129" y="71"/>
                    </a:lnTo>
                    <a:lnTo>
                      <a:pt x="130" y="67"/>
                    </a:lnTo>
                    <a:lnTo>
                      <a:pt x="130" y="63"/>
                    </a:lnTo>
                    <a:lnTo>
                      <a:pt x="132" y="59"/>
                    </a:lnTo>
                    <a:lnTo>
                      <a:pt x="132" y="57"/>
                    </a:lnTo>
                    <a:lnTo>
                      <a:pt x="130" y="53"/>
                    </a:lnTo>
                    <a:lnTo>
                      <a:pt x="130" y="50"/>
                    </a:lnTo>
                    <a:lnTo>
                      <a:pt x="130" y="46"/>
                    </a:lnTo>
                    <a:lnTo>
                      <a:pt x="130" y="40"/>
                    </a:lnTo>
                    <a:lnTo>
                      <a:pt x="132" y="34"/>
                    </a:lnTo>
                    <a:lnTo>
                      <a:pt x="134" y="28"/>
                    </a:lnTo>
                    <a:lnTo>
                      <a:pt x="130" y="23"/>
                    </a:lnTo>
                    <a:lnTo>
                      <a:pt x="130" y="19"/>
                    </a:lnTo>
                    <a:lnTo>
                      <a:pt x="130" y="17"/>
                    </a:lnTo>
                    <a:lnTo>
                      <a:pt x="129" y="15"/>
                    </a:lnTo>
                    <a:lnTo>
                      <a:pt x="119" y="13"/>
                    </a:lnTo>
                    <a:lnTo>
                      <a:pt x="111" y="13"/>
                    </a:lnTo>
                    <a:lnTo>
                      <a:pt x="105" y="15"/>
                    </a:lnTo>
                    <a:lnTo>
                      <a:pt x="104" y="15"/>
                    </a:lnTo>
                    <a:lnTo>
                      <a:pt x="100" y="15"/>
                    </a:lnTo>
                    <a:lnTo>
                      <a:pt x="92" y="13"/>
                    </a:lnTo>
                    <a:lnTo>
                      <a:pt x="82" y="11"/>
                    </a:lnTo>
                    <a:lnTo>
                      <a:pt x="73" y="9"/>
                    </a:lnTo>
                    <a:lnTo>
                      <a:pt x="69" y="5"/>
                    </a:lnTo>
                    <a:lnTo>
                      <a:pt x="69" y="5"/>
                    </a:lnTo>
                    <a:lnTo>
                      <a:pt x="69" y="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2" name="Freeform 110"/>
              <p:cNvSpPr>
                <a:spLocks noEditPoints="1"/>
              </p:cNvSpPr>
              <p:nvPr/>
            </p:nvSpPr>
            <p:spPr bwMode="gray">
              <a:xfrm>
                <a:off x="6641764" y="4000501"/>
                <a:ext cx="185717" cy="327025"/>
              </a:xfrm>
              <a:custGeom>
                <a:avLst/>
                <a:gdLst>
                  <a:gd name="T0" fmla="*/ 100 w 117"/>
                  <a:gd name="T1" fmla="*/ 156 h 206"/>
                  <a:gd name="T2" fmla="*/ 90 w 117"/>
                  <a:gd name="T3" fmla="*/ 161 h 206"/>
                  <a:gd name="T4" fmla="*/ 81 w 117"/>
                  <a:gd name="T5" fmla="*/ 163 h 206"/>
                  <a:gd name="T6" fmla="*/ 71 w 117"/>
                  <a:gd name="T7" fmla="*/ 161 h 206"/>
                  <a:gd name="T8" fmla="*/ 61 w 117"/>
                  <a:gd name="T9" fmla="*/ 177 h 206"/>
                  <a:gd name="T10" fmla="*/ 61 w 117"/>
                  <a:gd name="T11" fmla="*/ 183 h 206"/>
                  <a:gd name="T12" fmla="*/ 69 w 117"/>
                  <a:gd name="T13" fmla="*/ 177 h 206"/>
                  <a:gd name="T14" fmla="*/ 84 w 117"/>
                  <a:gd name="T15" fmla="*/ 183 h 206"/>
                  <a:gd name="T16" fmla="*/ 92 w 117"/>
                  <a:gd name="T17" fmla="*/ 198 h 206"/>
                  <a:gd name="T18" fmla="*/ 102 w 117"/>
                  <a:gd name="T19" fmla="*/ 204 h 206"/>
                  <a:gd name="T20" fmla="*/ 106 w 117"/>
                  <a:gd name="T21" fmla="*/ 190 h 206"/>
                  <a:gd name="T22" fmla="*/ 109 w 117"/>
                  <a:gd name="T23" fmla="*/ 181 h 206"/>
                  <a:gd name="T24" fmla="*/ 117 w 117"/>
                  <a:gd name="T25" fmla="*/ 163 h 206"/>
                  <a:gd name="T26" fmla="*/ 111 w 117"/>
                  <a:gd name="T27" fmla="*/ 146 h 206"/>
                  <a:gd name="T28" fmla="*/ 90 w 117"/>
                  <a:gd name="T29" fmla="*/ 135 h 206"/>
                  <a:gd name="T30" fmla="*/ 90 w 117"/>
                  <a:gd name="T31" fmla="*/ 140 h 206"/>
                  <a:gd name="T32" fmla="*/ 92 w 117"/>
                  <a:gd name="T33" fmla="*/ 135 h 206"/>
                  <a:gd name="T34" fmla="*/ 77 w 117"/>
                  <a:gd name="T35" fmla="*/ 138 h 206"/>
                  <a:gd name="T36" fmla="*/ 71 w 117"/>
                  <a:gd name="T37" fmla="*/ 129 h 206"/>
                  <a:gd name="T38" fmla="*/ 63 w 117"/>
                  <a:gd name="T39" fmla="*/ 138 h 206"/>
                  <a:gd name="T40" fmla="*/ 73 w 117"/>
                  <a:gd name="T41" fmla="*/ 146 h 206"/>
                  <a:gd name="T42" fmla="*/ 77 w 117"/>
                  <a:gd name="T43" fmla="*/ 140 h 206"/>
                  <a:gd name="T44" fmla="*/ 88 w 117"/>
                  <a:gd name="T45" fmla="*/ 129 h 206"/>
                  <a:gd name="T46" fmla="*/ 81 w 117"/>
                  <a:gd name="T47" fmla="*/ 131 h 206"/>
                  <a:gd name="T48" fmla="*/ 77 w 117"/>
                  <a:gd name="T49" fmla="*/ 123 h 206"/>
                  <a:gd name="T50" fmla="*/ 98 w 117"/>
                  <a:gd name="T51" fmla="*/ 119 h 206"/>
                  <a:gd name="T52" fmla="*/ 106 w 117"/>
                  <a:gd name="T53" fmla="*/ 135 h 206"/>
                  <a:gd name="T54" fmla="*/ 104 w 117"/>
                  <a:gd name="T55" fmla="*/ 117 h 206"/>
                  <a:gd name="T56" fmla="*/ 29 w 117"/>
                  <a:gd name="T57" fmla="*/ 119 h 206"/>
                  <a:gd name="T58" fmla="*/ 13 w 117"/>
                  <a:gd name="T59" fmla="*/ 148 h 206"/>
                  <a:gd name="T60" fmla="*/ 0 w 117"/>
                  <a:gd name="T61" fmla="*/ 160 h 206"/>
                  <a:gd name="T62" fmla="*/ 17 w 117"/>
                  <a:gd name="T63" fmla="*/ 152 h 206"/>
                  <a:gd name="T64" fmla="*/ 33 w 117"/>
                  <a:gd name="T65" fmla="*/ 129 h 206"/>
                  <a:gd name="T66" fmla="*/ 59 w 117"/>
                  <a:gd name="T67" fmla="*/ 123 h 206"/>
                  <a:gd name="T68" fmla="*/ 71 w 117"/>
                  <a:gd name="T69" fmla="*/ 121 h 206"/>
                  <a:gd name="T70" fmla="*/ 77 w 117"/>
                  <a:gd name="T71" fmla="*/ 102 h 206"/>
                  <a:gd name="T72" fmla="*/ 84 w 117"/>
                  <a:gd name="T73" fmla="*/ 110 h 206"/>
                  <a:gd name="T74" fmla="*/ 77 w 117"/>
                  <a:gd name="T75" fmla="*/ 102 h 206"/>
                  <a:gd name="T76" fmla="*/ 38 w 117"/>
                  <a:gd name="T77" fmla="*/ 108 h 206"/>
                  <a:gd name="T78" fmla="*/ 59 w 117"/>
                  <a:gd name="T79" fmla="*/ 98 h 206"/>
                  <a:gd name="T80" fmla="*/ 61 w 117"/>
                  <a:gd name="T81" fmla="*/ 100 h 206"/>
                  <a:gd name="T82" fmla="*/ 98 w 117"/>
                  <a:gd name="T83" fmla="*/ 108 h 206"/>
                  <a:gd name="T84" fmla="*/ 106 w 117"/>
                  <a:gd name="T85" fmla="*/ 114 h 206"/>
                  <a:gd name="T86" fmla="*/ 102 w 117"/>
                  <a:gd name="T87" fmla="*/ 94 h 206"/>
                  <a:gd name="T88" fmla="*/ 42 w 117"/>
                  <a:gd name="T89" fmla="*/ 83 h 206"/>
                  <a:gd name="T90" fmla="*/ 52 w 117"/>
                  <a:gd name="T91" fmla="*/ 100 h 206"/>
                  <a:gd name="T92" fmla="*/ 48 w 117"/>
                  <a:gd name="T93" fmla="*/ 83 h 206"/>
                  <a:gd name="T94" fmla="*/ 92 w 117"/>
                  <a:gd name="T95" fmla="*/ 77 h 206"/>
                  <a:gd name="T96" fmla="*/ 44 w 117"/>
                  <a:gd name="T97" fmla="*/ 29 h 206"/>
                  <a:gd name="T98" fmla="*/ 42 w 117"/>
                  <a:gd name="T99" fmla="*/ 37 h 206"/>
                  <a:gd name="T100" fmla="*/ 35 w 117"/>
                  <a:gd name="T101" fmla="*/ 41 h 206"/>
                  <a:gd name="T102" fmla="*/ 33 w 117"/>
                  <a:gd name="T103" fmla="*/ 44 h 206"/>
                  <a:gd name="T104" fmla="*/ 44 w 117"/>
                  <a:gd name="T105" fmla="*/ 62 h 206"/>
                  <a:gd name="T106" fmla="*/ 48 w 117"/>
                  <a:gd name="T107" fmla="*/ 75 h 206"/>
                  <a:gd name="T108" fmla="*/ 65 w 117"/>
                  <a:gd name="T109" fmla="*/ 79 h 206"/>
                  <a:gd name="T110" fmla="*/ 77 w 117"/>
                  <a:gd name="T111" fmla="*/ 85 h 206"/>
                  <a:gd name="T112" fmla="*/ 86 w 117"/>
                  <a:gd name="T113" fmla="*/ 90 h 206"/>
                  <a:gd name="T114" fmla="*/ 79 w 117"/>
                  <a:gd name="T115" fmla="*/ 73 h 206"/>
                  <a:gd name="T116" fmla="*/ 65 w 117"/>
                  <a:gd name="T117" fmla="*/ 69 h 206"/>
                  <a:gd name="T118" fmla="*/ 56 w 117"/>
                  <a:gd name="T119" fmla="*/ 60 h 206"/>
                  <a:gd name="T120" fmla="*/ 56 w 117"/>
                  <a:gd name="T121" fmla="*/ 46 h 206"/>
                  <a:gd name="T122" fmla="*/ 63 w 117"/>
                  <a:gd name="T123" fmla="*/ 18 h 206"/>
                  <a:gd name="T124" fmla="*/ 61 w 117"/>
                  <a:gd name="T125" fmla="*/ 4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7" h="206">
                    <a:moveTo>
                      <a:pt x="104" y="146"/>
                    </a:moveTo>
                    <a:lnTo>
                      <a:pt x="104" y="150"/>
                    </a:lnTo>
                    <a:lnTo>
                      <a:pt x="104" y="156"/>
                    </a:lnTo>
                    <a:lnTo>
                      <a:pt x="100" y="156"/>
                    </a:lnTo>
                    <a:lnTo>
                      <a:pt x="96" y="156"/>
                    </a:lnTo>
                    <a:lnTo>
                      <a:pt x="96" y="158"/>
                    </a:lnTo>
                    <a:lnTo>
                      <a:pt x="96" y="161"/>
                    </a:lnTo>
                    <a:lnTo>
                      <a:pt x="90" y="161"/>
                    </a:lnTo>
                    <a:lnTo>
                      <a:pt x="83" y="163"/>
                    </a:lnTo>
                    <a:lnTo>
                      <a:pt x="83" y="165"/>
                    </a:lnTo>
                    <a:lnTo>
                      <a:pt x="81" y="165"/>
                    </a:lnTo>
                    <a:lnTo>
                      <a:pt x="81" y="163"/>
                    </a:lnTo>
                    <a:lnTo>
                      <a:pt x="81" y="161"/>
                    </a:lnTo>
                    <a:lnTo>
                      <a:pt x="79" y="160"/>
                    </a:lnTo>
                    <a:lnTo>
                      <a:pt x="73" y="160"/>
                    </a:lnTo>
                    <a:lnTo>
                      <a:pt x="71" y="161"/>
                    </a:lnTo>
                    <a:lnTo>
                      <a:pt x="65" y="165"/>
                    </a:lnTo>
                    <a:lnTo>
                      <a:pt x="61" y="167"/>
                    </a:lnTo>
                    <a:lnTo>
                      <a:pt x="61" y="171"/>
                    </a:lnTo>
                    <a:lnTo>
                      <a:pt x="61" y="177"/>
                    </a:lnTo>
                    <a:lnTo>
                      <a:pt x="59" y="179"/>
                    </a:lnTo>
                    <a:lnTo>
                      <a:pt x="58" y="181"/>
                    </a:lnTo>
                    <a:lnTo>
                      <a:pt x="59" y="183"/>
                    </a:lnTo>
                    <a:lnTo>
                      <a:pt x="61" y="183"/>
                    </a:lnTo>
                    <a:lnTo>
                      <a:pt x="65" y="179"/>
                    </a:lnTo>
                    <a:lnTo>
                      <a:pt x="67" y="175"/>
                    </a:lnTo>
                    <a:lnTo>
                      <a:pt x="69" y="173"/>
                    </a:lnTo>
                    <a:lnTo>
                      <a:pt x="69" y="177"/>
                    </a:lnTo>
                    <a:lnTo>
                      <a:pt x="79" y="177"/>
                    </a:lnTo>
                    <a:lnTo>
                      <a:pt x="86" y="177"/>
                    </a:lnTo>
                    <a:lnTo>
                      <a:pt x="86" y="181"/>
                    </a:lnTo>
                    <a:lnTo>
                      <a:pt x="84" y="183"/>
                    </a:lnTo>
                    <a:lnTo>
                      <a:pt x="83" y="183"/>
                    </a:lnTo>
                    <a:lnTo>
                      <a:pt x="84" y="190"/>
                    </a:lnTo>
                    <a:lnTo>
                      <a:pt x="88" y="196"/>
                    </a:lnTo>
                    <a:lnTo>
                      <a:pt x="92" y="198"/>
                    </a:lnTo>
                    <a:lnTo>
                      <a:pt x="100" y="200"/>
                    </a:lnTo>
                    <a:lnTo>
                      <a:pt x="100" y="204"/>
                    </a:lnTo>
                    <a:lnTo>
                      <a:pt x="100" y="206"/>
                    </a:lnTo>
                    <a:lnTo>
                      <a:pt x="102" y="204"/>
                    </a:lnTo>
                    <a:lnTo>
                      <a:pt x="106" y="202"/>
                    </a:lnTo>
                    <a:lnTo>
                      <a:pt x="104" y="194"/>
                    </a:lnTo>
                    <a:lnTo>
                      <a:pt x="104" y="188"/>
                    </a:lnTo>
                    <a:lnTo>
                      <a:pt x="106" y="190"/>
                    </a:lnTo>
                    <a:lnTo>
                      <a:pt x="107" y="190"/>
                    </a:lnTo>
                    <a:lnTo>
                      <a:pt x="107" y="188"/>
                    </a:lnTo>
                    <a:lnTo>
                      <a:pt x="106" y="181"/>
                    </a:lnTo>
                    <a:lnTo>
                      <a:pt x="109" y="181"/>
                    </a:lnTo>
                    <a:lnTo>
                      <a:pt x="111" y="177"/>
                    </a:lnTo>
                    <a:lnTo>
                      <a:pt x="113" y="173"/>
                    </a:lnTo>
                    <a:lnTo>
                      <a:pt x="117" y="169"/>
                    </a:lnTo>
                    <a:lnTo>
                      <a:pt x="117" y="163"/>
                    </a:lnTo>
                    <a:lnTo>
                      <a:pt x="113" y="160"/>
                    </a:lnTo>
                    <a:lnTo>
                      <a:pt x="113" y="156"/>
                    </a:lnTo>
                    <a:lnTo>
                      <a:pt x="111" y="150"/>
                    </a:lnTo>
                    <a:lnTo>
                      <a:pt x="111" y="146"/>
                    </a:lnTo>
                    <a:lnTo>
                      <a:pt x="107" y="146"/>
                    </a:lnTo>
                    <a:lnTo>
                      <a:pt x="104" y="146"/>
                    </a:lnTo>
                    <a:close/>
                    <a:moveTo>
                      <a:pt x="90" y="133"/>
                    </a:moveTo>
                    <a:lnTo>
                      <a:pt x="90" y="135"/>
                    </a:lnTo>
                    <a:lnTo>
                      <a:pt x="86" y="135"/>
                    </a:lnTo>
                    <a:lnTo>
                      <a:pt x="86" y="138"/>
                    </a:lnTo>
                    <a:lnTo>
                      <a:pt x="86" y="140"/>
                    </a:lnTo>
                    <a:lnTo>
                      <a:pt x="90" y="140"/>
                    </a:lnTo>
                    <a:lnTo>
                      <a:pt x="94" y="140"/>
                    </a:lnTo>
                    <a:lnTo>
                      <a:pt x="96" y="140"/>
                    </a:lnTo>
                    <a:lnTo>
                      <a:pt x="94" y="137"/>
                    </a:lnTo>
                    <a:lnTo>
                      <a:pt x="92" y="135"/>
                    </a:lnTo>
                    <a:lnTo>
                      <a:pt x="90" y="133"/>
                    </a:lnTo>
                    <a:close/>
                    <a:moveTo>
                      <a:pt x="79" y="133"/>
                    </a:moveTo>
                    <a:lnTo>
                      <a:pt x="79" y="137"/>
                    </a:lnTo>
                    <a:lnTo>
                      <a:pt x="77" y="138"/>
                    </a:lnTo>
                    <a:lnTo>
                      <a:pt x="77" y="137"/>
                    </a:lnTo>
                    <a:lnTo>
                      <a:pt x="79" y="133"/>
                    </a:lnTo>
                    <a:close/>
                    <a:moveTo>
                      <a:pt x="73" y="123"/>
                    </a:moveTo>
                    <a:lnTo>
                      <a:pt x="71" y="129"/>
                    </a:lnTo>
                    <a:lnTo>
                      <a:pt x="71" y="135"/>
                    </a:lnTo>
                    <a:lnTo>
                      <a:pt x="67" y="135"/>
                    </a:lnTo>
                    <a:lnTo>
                      <a:pt x="63" y="135"/>
                    </a:lnTo>
                    <a:lnTo>
                      <a:pt x="63" y="138"/>
                    </a:lnTo>
                    <a:lnTo>
                      <a:pt x="65" y="142"/>
                    </a:lnTo>
                    <a:lnTo>
                      <a:pt x="69" y="144"/>
                    </a:lnTo>
                    <a:lnTo>
                      <a:pt x="71" y="144"/>
                    </a:lnTo>
                    <a:lnTo>
                      <a:pt x="73" y="146"/>
                    </a:lnTo>
                    <a:lnTo>
                      <a:pt x="77" y="148"/>
                    </a:lnTo>
                    <a:lnTo>
                      <a:pt x="75" y="144"/>
                    </a:lnTo>
                    <a:lnTo>
                      <a:pt x="75" y="140"/>
                    </a:lnTo>
                    <a:lnTo>
                      <a:pt x="77" y="140"/>
                    </a:lnTo>
                    <a:lnTo>
                      <a:pt x="79" y="142"/>
                    </a:lnTo>
                    <a:lnTo>
                      <a:pt x="84" y="137"/>
                    </a:lnTo>
                    <a:lnTo>
                      <a:pt x="88" y="131"/>
                    </a:lnTo>
                    <a:lnTo>
                      <a:pt x="88" y="129"/>
                    </a:lnTo>
                    <a:lnTo>
                      <a:pt x="88" y="125"/>
                    </a:lnTo>
                    <a:lnTo>
                      <a:pt x="86" y="125"/>
                    </a:lnTo>
                    <a:lnTo>
                      <a:pt x="84" y="123"/>
                    </a:lnTo>
                    <a:lnTo>
                      <a:pt x="81" y="131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3"/>
                    </a:lnTo>
                    <a:lnTo>
                      <a:pt x="77" y="123"/>
                    </a:lnTo>
                    <a:lnTo>
                      <a:pt x="73" y="123"/>
                    </a:lnTo>
                    <a:close/>
                    <a:moveTo>
                      <a:pt x="94" y="115"/>
                    </a:moveTo>
                    <a:lnTo>
                      <a:pt x="96" y="119"/>
                    </a:lnTo>
                    <a:lnTo>
                      <a:pt x="98" y="119"/>
                    </a:lnTo>
                    <a:lnTo>
                      <a:pt x="98" y="125"/>
                    </a:lnTo>
                    <a:lnTo>
                      <a:pt x="98" y="129"/>
                    </a:lnTo>
                    <a:lnTo>
                      <a:pt x="102" y="133"/>
                    </a:lnTo>
                    <a:lnTo>
                      <a:pt x="106" y="135"/>
                    </a:lnTo>
                    <a:lnTo>
                      <a:pt x="106" y="133"/>
                    </a:lnTo>
                    <a:lnTo>
                      <a:pt x="104" y="131"/>
                    </a:lnTo>
                    <a:lnTo>
                      <a:pt x="104" y="125"/>
                    </a:lnTo>
                    <a:lnTo>
                      <a:pt x="104" y="117"/>
                    </a:lnTo>
                    <a:lnTo>
                      <a:pt x="100" y="117"/>
                    </a:lnTo>
                    <a:lnTo>
                      <a:pt x="94" y="115"/>
                    </a:lnTo>
                    <a:close/>
                    <a:moveTo>
                      <a:pt x="29" y="115"/>
                    </a:moveTo>
                    <a:lnTo>
                      <a:pt x="29" y="119"/>
                    </a:lnTo>
                    <a:lnTo>
                      <a:pt x="29" y="123"/>
                    </a:lnTo>
                    <a:lnTo>
                      <a:pt x="25" y="123"/>
                    </a:lnTo>
                    <a:lnTo>
                      <a:pt x="19" y="137"/>
                    </a:lnTo>
                    <a:lnTo>
                      <a:pt x="13" y="148"/>
                    </a:lnTo>
                    <a:lnTo>
                      <a:pt x="8" y="150"/>
                    </a:lnTo>
                    <a:lnTo>
                      <a:pt x="2" y="154"/>
                    </a:lnTo>
                    <a:lnTo>
                      <a:pt x="0" y="156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2" y="160"/>
                    </a:lnTo>
                    <a:lnTo>
                      <a:pt x="10" y="156"/>
                    </a:lnTo>
                    <a:lnTo>
                      <a:pt x="17" y="152"/>
                    </a:lnTo>
                    <a:lnTo>
                      <a:pt x="19" y="146"/>
                    </a:lnTo>
                    <a:lnTo>
                      <a:pt x="21" y="140"/>
                    </a:lnTo>
                    <a:lnTo>
                      <a:pt x="27" y="135"/>
                    </a:lnTo>
                    <a:lnTo>
                      <a:pt x="33" y="129"/>
                    </a:lnTo>
                    <a:lnTo>
                      <a:pt x="31" y="123"/>
                    </a:lnTo>
                    <a:lnTo>
                      <a:pt x="29" y="115"/>
                    </a:lnTo>
                    <a:close/>
                    <a:moveTo>
                      <a:pt x="61" y="112"/>
                    </a:moveTo>
                    <a:lnTo>
                      <a:pt x="59" y="123"/>
                    </a:lnTo>
                    <a:lnTo>
                      <a:pt x="59" y="127"/>
                    </a:lnTo>
                    <a:lnTo>
                      <a:pt x="63" y="127"/>
                    </a:lnTo>
                    <a:lnTo>
                      <a:pt x="71" y="125"/>
                    </a:lnTo>
                    <a:lnTo>
                      <a:pt x="71" y="121"/>
                    </a:lnTo>
                    <a:lnTo>
                      <a:pt x="73" y="115"/>
                    </a:lnTo>
                    <a:lnTo>
                      <a:pt x="67" y="114"/>
                    </a:lnTo>
                    <a:lnTo>
                      <a:pt x="61" y="112"/>
                    </a:lnTo>
                    <a:close/>
                    <a:moveTo>
                      <a:pt x="77" y="102"/>
                    </a:moveTo>
                    <a:lnTo>
                      <a:pt x="77" y="106"/>
                    </a:lnTo>
                    <a:lnTo>
                      <a:pt x="75" y="108"/>
                    </a:lnTo>
                    <a:lnTo>
                      <a:pt x="81" y="108"/>
                    </a:lnTo>
                    <a:lnTo>
                      <a:pt x="84" y="110"/>
                    </a:lnTo>
                    <a:lnTo>
                      <a:pt x="86" y="110"/>
                    </a:lnTo>
                    <a:lnTo>
                      <a:pt x="83" y="106"/>
                    </a:lnTo>
                    <a:lnTo>
                      <a:pt x="81" y="104"/>
                    </a:lnTo>
                    <a:lnTo>
                      <a:pt x="77" y="102"/>
                    </a:lnTo>
                    <a:close/>
                    <a:moveTo>
                      <a:pt x="33" y="102"/>
                    </a:moveTo>
                    <a:lnTo>
                      <a:pt x="35" y="106"/>
                    </a:lnTo>
                    <a:lnTo>
                      <a:pt x="36" y="108"/>
                    </a:lnTo>
                    <a:lnTo>
                      <a:pt x="38" y="108"/>
                    </a:lnTo>
                    <a:lnTo>
                      <a:pt x="38" y="106"/>
                    </a:lnTo>
                    <a:lnTo>
                      <a:pt x="36" y="104"/>
                    </a:lnTo>
                    <a:lnTo>
                      <a:pt x="33" y="102"/>
                    </a:lnTo>
                    <a:close/>
                    <a:moveTo>
                      <a:pt x="59" y="98"/>
                    </a:moveTo>
                    <a:lnTo>
                      <a:pt x="61" y="102"/>
                    </a:lnTo>
                    <a:lnTo>
                      <a:pt x="63" y="102"/>
                    </a:lnTo>
                    <a:lnTo>
                      <a:pt x="63" y="100"/>
                    </a:lnTo>
                    <a:lnTo>
                      <a:pt x="61" y="100"/>
                    </a:lnTo>
                    <a:lnTo>
                      <a:pt x="59" y="98"/>
                    </a:lnTo>
                    <a:close/>
                    <a:moveTo>
                      <a:pt x="94" y="94"/>
                    </a:moveTo>
                    <a:lnTo>
                      <a:pt x="94" y="100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102" y="114"/>
                    </a:lnTo>
                    <a:lnTo>
                      <a:pt x="106" y="114"/>
                    </a:lnTo>
                    <a:lnTo>
                      <a:pt x="106" y="114"/>
                    </a:lnTo>
                    <a:lnTo>
                      <a:pt x="104" y="112"/>
                    </a:lnTo>
                    <a:lnTo>
                      <a:pt x="102" y="110"/>
                    </a:lnTo>
                    <a:lnTo>
                      <a:pt x="104" y="102"/>
                    </a:lnTo>
                    <a:lnTo>
                      <a:pt x="102" y="94"/>
                    </a:lnTo>
                    <a:lnTo>
                      <a:pt x="98" y="94"/>
                    </a:lnTo>
                    <a:lnTo>
                      <a:pt x="94" y="94"/>
                    </a:lnTo>
                    <a:close/>
                    <a:moveTo>
                      <a:pt x="42" y="81"/>
                    </a:moveTo>
                    <a:lnTo>
                      <a:pt x="42" y="83"/>
                    </a:lnTo>
                    <a:lnTo>
                      <a:pt x="40" y="85"/>
                    </a:lnTo>
                    <a:lnTo>
                      <a:pt x="52" y="92"/>
                    </a:lnTo>
                    <a:lnTo>
                      <a:pt x="52" y="96"/>
                    </a:lnTo>
                    <a:lnTo>
                      <a:pt x="52" y="100"/>
                    </a:lnTo>
                    <a:lnTo>
                      <a:pt x="56" y="100"/>
                    </a:lnTo>
                    <a:lnTo>
                      <a:pt x="54" y="90"/>
                    </a:lnTo>
                    <a:lnTo>
                      <a:pt x="52" y="83"/>
                    </a:lnTo>
                    <a:lnTo>
                      <a:pt x="48" y="83"/>
                    </a:lnTo>
                    <a:lnTo>
                      <a:pt x="42" y="81"/>
                    </a:lnTo>
                    <a:close/>
                    <a:moveTo>
                      <a:pt x="90" y="75"/>
                    </a:moveTo>
                    <a:lnTo>
                      <a:pt x="92" y="79"/>
                    </a:lnTo>
                    <a:lnTo>
                      <a:pt x="92" y="77"/>
                    </a:lnTo>
                    <a:lnTo>
                      <a:pt x="90" y="75"/>
                    </a:lnTo>
                    <a:close/>
                    <a:moveTo>
                      <a:pt x="46" y="0"/>
                    </a:moveTo>
                    <a:lnTo>
                      <a:pt x="44" y="16"/>
                    </a:lnTo>
                    <a:lnTo>
                      <a:pt x="44" y="29"/>
                    </a:lnTo>
                    <a:lnTo>
                      <a:pt x="40" y="31"/>
                    </a:lnTo>
                    <a:lnTo>
                      <a:pt x="40" y="35"/>
                    </a:lnTo>
                    <a:lnTo>
                      <a:pt x="40" y="37"/>
                    </a:lnTo>
                    <a:lnTo>
                      <a:pt x="42" y="37"/>
                    </a:lnTo>
                    <a:lnTo>
                      <a:pt x="42" y="41"/>
                    </a:lnTo>
                    <a:lnTo>
                      <a:pt x="38" y="41"/>
                    </a:lnTo>
                    <a:lnTo>
                      <a:pt x="38" y="41"/>
                    </a:lnTo>
                    <a:lnTo>
                      <a:pt x="35" y="41"/>
                    </a:lnTo>
                    <a:lnTo>
                      <a:pt x="35" y="39"/>
                    </a:lnTo>
                    <a:lnTo>
                      <a:pt x="35" y="41"/>
                    </a:lnTo>
                    <a:lnTo>
                      <a:pt x="33" y="43"/>
                    </a:lnTo>
                    <a:lnTo>
                      <a:pt x="33" y="44"/>
                    </a:lnTo>
                    <a:lnTo>
                      <a:pt x="36" y="46"/>
                    </a:lnTo>
                    <a:lnTo>
                      <a:pt x="38" y="56"/>
                    </a:lnTo>
                    <a:lnTo>
                      <a:pt x="42" y="64"/>
                    </a:lnTo>
                    <a:lnTo>
                      <a:pt x="44" y="62"/>
                    </a:lnTo>
                    <a:lnTo>
                      <a:pt x="48" y="60"/>
                    </a:lnTo>
                    <a:lnTo>
                      <a:pt x="46" y="67"/>
                    </a:lnTo>
                    <a:lnTo>
                      <a:pt x="46" y="71"/>
                    </a:lnTo>
                    <a:lnTo>
                      <a:pt x="48" y="75"/>
                    </a:lnTo>
                    <a:lnTo>
                      <a:pt x="50" y="81"/>
                    </a:lnTo>
                    <a:lnTo>
                      <a:pt x="58" y="79"/>
                    </a:lnTo>
                    <a:lnTo>
                      <a:pt x="61" y="79"/>
                    </a:lnTo>
                    <a:lnTo>
                      <a:pt x="65" y="79"/>
                    </a:lnTo>
                    <a:lnTo>
                      <a:pt x="71" y="85"/>
                    </a:lnTo>
                    <a:lnTo>
                      <a:pt x="69" y="79"/>
                    </a:lnTo>
                    <a:lnTo>
                      <a:pt x="71" y="77"/>
                    </a:lnTo>
                    <a:lnTo>
                      <a:pt x="77" y="85"/>
                    </a:lnTo>
                    <a:lnTo>
                      <a:pt x="83" y="92"/>
                    </a:lnTo>
                    <a:lnTo>
                      <a:pt x="84" y="92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88" y="89"/>
                    </a:lnTo>
                    <a:lnTo>
                      <a:pt x="84" y="79"/>
                    </a:lnTo>
                    <a:lnTo>
                      <a:pt x="83" y="71"/>
                    </a:lnTo>
                    <a:lnTo>
                      <a:pt x="79" y="73"/>
                    </a:lnTo>
                    <a:lnTo>
                      <a:pt x="75" y="73"/>
                    </a:lnTo>
                    <a:lnTo>
                      <a:pt x="75" y="71"/>
                    </a:lnTo>
                    <a:lnTo>
                      <a:pt x="75" y="67"/>
                    </a:lnTo>
                    <a:lnTo>
                      <a:pt x="65" y="69"/>
                    </a:lnTo>
                    <a:lnTo>
                      <a:pt x="58" y="71"/>
                    </a:lnTo>
                    <a:lnTo>
                      <a:pt x="58" y="66"/>
                    </a:lnTo>
                    <a:lnTo>
                      <a:pt x="56" y="62"/>
                    </a:lnTo>
                    <a:lnTo>
                      <a:pt x="56" y="60"/>
                    </a:lnTo>
                    <a:lnTo>
                      <a:pt x="54" y="56"/>
                    </a:lnTo>
                    <a:lnTo>
                      <a:pt x="56" y="50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61" y="37"/>
                    </a:lnTo>
                    <a:lnTo>
                      <a:pt x="69" y="27"/>
                    </a:lnTo>
                    <a:lnTo>
                      <a:pt x="67" y="21"/>
                    </a:lnTo>
                    <a:lnTo>
                      <a:pt x="63" y="18"/>
                    </a:lnTo>
                    <a:lnTo>
                      <a:pt x="63" y="8"/>
                    </a:lnTo>
                    <a:lnTo>
                      <a:pt x="65" y="0"/>
                    </a:lnTo>
                    <a:lnTo>
                      <a:pt x="63" y="2"/>
                    </a:lnTo>
                    <a:lnTo>
                      <a:pt x="61" y="4"/>
                    </a:lnTo>
                    <a:lnTo>
                      <a:pt x="54" y="4"/>
                    </a:lnTo>
                    <a:lnTo>
                      <a:pt x="4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3" name="Freeform 111"/>
              <p:cNvSpPr>
                <a:spLocks/>
              </p:cNvSpPr>
              <p:nvPr/>
            </p:nvSpPr>
            <p:spPr bwMode="gray">
              <a:xfrm>
                <a:off x="2717900" y="4464051"/>
                <a:ext cx="238099" cy="434975"/>
              </a:xfrm>
              <a:custGeom>
                <a:avLst/>
                <a:gdLst>
                  <a:gd name="T0" fmla="*/ 69 w 150"/>
                  <a:gd name="T1" fmla="*/ 6 h 274"/>
                  <a:gd name="T2" fmla="*/ 71 w 150"/>
                  <a:gd name="T3" fmla="*/ 19 h 274"/>
                  <a:gd name="T4" fmla="*/ 69 w 150"/>
                  <a:gd name="T5" fmla="*/ 23 h 274"/>
                  <a:gd name="T6" fmla="*/ 60 w 150"/>
                  <a:gd name="T7" fmla="*/ 38 h 274"/>
                  <a:gd name="T8" fmla="*/ 40 w 150"/>
                  <a:gd name="T9" fmla="*/ 52 h 274"/>
                  <a:gd name="T10" fmla="*/ 31 w 150"/>
                  <a:gd name="T11" fmla="*/ 69 h 274"/>
                  <a:gd name="T12" fmla="*/ 21 w 150"/>
                  <a:gd name="T13" fmla="*/ 77 h 274"/>
                  <a:gd name="T14" fmla="*/ 15 w 150"/>
                  <a:gd name="T15" fmla="*/ 65 h 274"/>
                  <a:gd name="T16" fmla="*/ 8 w 150"/>
                  <a:gd name="T17" fmla="*/ 67 h 274"/>
                  <a:gd name="T18" fmla="*/ 10 w 150"/>
                  <a:gd name="T19" fmla="*/ 59 h 274"/>
                  <a:gd name="T20" fmla="*/ 2 w 150"/>
                  <a:gd name="T21" fmla="*/ 61 h 274"/>
                  <a:gd name="T22" fmla="*/ 4 w 150"/>
                  <a:gd name="T23" fmla="*/ 77 h 274"/>
                  <a:gd name="T24" fmla="*/ 4 w 150"/>
                  <a:gd name="T25" fmla="*/ 83 h 274"/>
                  <a:gd name="T26" fmla="*/ 4 w 150"/>
                  <a:gd name="T27" fmla="*/ 92 h 274"/>
                  <a:gd name="T28" fmla="*/ 19 w 150"/>
                  <a:gd name="T29" fmla="*/ 107 h 274"/>
                  <a:gd name="T30" fmla="*/ 29 w 150"/>
                  <a:gd name="T31" fmla="*/ 115 h 274"/>
                  <a:gd name="T32" fmla="*/ 37 w 150"/>
                  <a:gd name="T33" fmla="*/ 129 h 274"/>
                  <a:gd name="T34" fmla="*/ 50 w 150"/>
                  <a:gd name="T35" fmla="*/ 163 h 274"/>
                  <a:gd name="T36" fmla="*/ 67 w 150"/>
                  <a:gd name="T37" fmla="*/ 217 h 274"/>
                  <a:gd name="T38" fmla="*/ 77 w 150"/>
                  <a:gd name="T39" fmla="*/ 230 h 274"/>
                  <a:gd name="T40" fmla="*/ 92 w 150"/>
                  <a:gd name="T41" fmla="*/ 244 h 274"/>
                  <a:gd name="T42" fmla="*/ 115 w 150"/>
                  <a:gd name="T43" fmla="*/ 261 h 274"/>
                  <a:gd name="T44" fmla="*/ 133 w 150"/>
                  <a:gd name="T45" fmla="*/ 272 h 274"/>
                  <a:gd name="T46" fmla="*/ 142 w 150"/>
                  <a:gd name="T47" fmla="*/ 263 h 274"/>
                  <a:gd name="T48" fmla="*/ 150 w 150"/>
                  <a:gd name="T49" fmla="*/ 248 h 274"/>
                  <a:gd name="T50" fmla="*/ 142 w 150"/>
                  <a:gd name="T51" fmla="*/ 242 h 274"/>
                  <a:gd name="T52" fmla="*/ 142 w 150"/>
                  <a:gd name="T53" fmla="*/ 238 h 274"/>
                  <a:gd name="T54" fmla="*/ 144 w 150"/>
                  <a:gd name="T55" fmla="*/ 234 h 274"/>
                  <a:gd name="T56" fmla="*/ 148 w 150"/>
                  <a:gd name="T57" fmla="*/ 236 h 274"/>
                  <a:gd name="T58" fmla="*/ 148 w 150"/>
                  <a:gd name="T59" fmla="*/ 228 h 274"/>
                  <a:gd name="T60" fmla="*/ 144 w 150"/>
                  <a:gd name="T61" fmla="*/ 215 h 274"/>
                  <a:gd name="T62" fmla="*/ 140 w 150"/>
                  <a:gd name="T63" fmla="*/ 186 h 274"/>
                  <a:gd name="T64" fmla="*/ 129 w 150"/>
                  <a:gd name="T65" fmla="*/ 140 h 274"/>
                  <a:gd name="T66" fmla="*/ 117 w 150"/>
                  <a:gd name="T67" fmla="*/ 146 h 274"/>
                  <a:gd name="T68" fmla="*/ 104 w 150"/>
                  <a:gd name="T69" fmla="*/ 140 h 274"/>
                  <a:gd name="T70" fmla="*/ 90 w 150"/>
                  <a:gd name="T71" fmla="*/ 129 h 274"/>
                  <a:gd name="T72" fmla="*/ 88 w 150"/>
                  <a:gd name="T73" fmla="*/ 117 h 274"/>
                  <a:gd name="T74" fmla="*/ 85 w 150"/>
                  <a:gd name="T75" fmla="*/ 106 h 274"/>
                  <a:gd name="T76" fmla="*/ 90 w 150"/>
                  <a:gd name="T77" fmla="*/ 104 h 274"/>
                  <a:gd name="T78" fmla="*/ 94 w 150"/>
                  <a:gd name="T79" fmla="*/ 90 h 274"/>
                  <a:gd name="T80" fmla="*/ 102 w 150"/>
                  <a:gd name="T81" fmla="*/ 75 h 274"/>
                  <a:gd name="T82" fmla="*/ 119 w 150"/>
                  <a:gd name="T83" fmla="*/ 67 h 274"/>
                  <a:gd name="T84" fmla="*/ 133 w 150"/>
                  <a:gd name="T85" fmla="*/ 63 h 274"/>
                  <a:gd name="T86" fmla="*/ 123 w 150"/>
                  <a:gd name="T87" fmla="*/ 58 h 274"/>
                  <a:gd name="T88" fmla="*/ 129 w 150"/>
                  <a:gd name="T89" fmla="*/ 31 h 274"/>
                  <a:gd name="T90" fmla="*/ 115 w 150"/>
                  <a:gd name="T91" fmla="*/ 25 h 274"/>
                  <a:gd name="T92" fmla="*/ 108 w 150"/>
                  <a:gd name="T93" fmla="*/ 29 h 274"/>
                  <a:gd name="T94" fmla="*/ 98 w 150"/>
                  <a:gd name="T95" fmla="*/ 23 h 274"/>
                  <a:gd name="T96" fmla="*/ 88 w 150"/>
                  <a:gd name="T97" fmla="*/ 15 h 274"/>
                  <a:gd name="T98" fmla="*/ 81 w 150"/>
                  <a:gd name="T99" fmla="*/ 6 h 274"/>
                  <a:gd name="T100" fmla="*/ 69 w 150"/>
                  <a:gd name="T101" fmla="*/ 0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0" h="274">
                    <a:moveTo>
                      <a:pt x="69" y="0"/>
                    </a:moveTo>
                    <a:lnTo>
                      <a:pt x="65" y="2"/>
                    </a:lnTo>
                    <a:lnTo>
                      <a:pt x="69" y="6"/>
                    </a:lnTo>
                    <a:lnTo>
                      <a:pt x="69" y="8"/>
                    </a:lnTo>
                    <a:lnTo>
                      <a:pt x="71" y="13"/>
                    </a:lnTo>
                    <a:lnTo>
                      <a:pt x="71" y="19"/>
                    </a:lnTo>
                    <a:lnTo>
                      <a:pt x="71" y="23"/>
                    </a:lnTo>
                    <a:lnTo>
                      <a:pt x="69" y="23"/>
                    </a:lnTo>
                    <a:lnTo>
                      <a:pt x="69" y="23"/>
                    </a:lnTo>
                    <a:lnTo>
                      <a:pt x="67" y="27"/>
                    </a:lnTo>
                    <a:lnTo>
                      <a:pt x="65" y="33"/>
                    </a:lnTo>
                    <a:lnTo>
                      <a:pt x="60" y="38"/>
                    </a:lnTo>
                    <a:lnTo>
                      <a:pt x="48" y="44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39" y="56"/>
                    </a:lnTo>
                    <a:lnTo>
                      <a:pt x="35" y="61"/>
                    </a:lnTo>
                    <a:lnTo>
                      <a:pt x="31" y="69"/>
                    </a:lnTo>
                    <a:lnTo>
                      <a:pt x="27" y="75"/>
                    </a:lnTo>
                    <a:lnTo>
                      <a:pt x="23" y="75"/>
                    </a:lnTo>
                    <a:lnTo>
                      <a:pt x="21" y="77"/>
                    </a:lnTo>
                    <a:lnTo>
                      <a:pt x="19" y="73"/>
                    </a:lnTo>
                    <a:lnTo>
                      <a:pt x="17" y="67"/>
                    </a:lnTo>
                    <a:lnTo>
                      <a:pt x="15" y="65"/>
                    </a:lnTo>
                    <a:lnTo>
                      <a:pt x="15" y="67"/>
                    </a:lnTo>
                    <a:lnTo>
                      <a:pt x="12" y="69"/>
                    </a:lnTo>
                    <a:lnTo>
                      <a:pt x="8" y="67"/>
                    </a:lnTo>
                    <a:lnTo>
                      <a:pt x="6" y="65"/>
                    </a:lnTo>
                    <a:lnTo>
                      <a:pt x="12" y="61"/>
                    </a:lnTo>
                    <a:lnTo>
                      <a:pt x="10" y="59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2" y="61"/>
                    </a:lnTo>
                    <a:lnTo>
                      <a:pt x="0" y="67"/>
                    </a:lnTo>
                    <a:lnTo>
                      <a:pt x="2" y="73"/>
                    </a:lnTo>
                    <a:lnTo>
                      <a:pt x="4" y="77"/>
                    </a:lnTo>
                    <a:lnTo>
                      <a:pt x="2" y="79"/>
                    </a:lnTo>
                    <a:lnTo>
                      <a:pt x="2" y="81"/>
                    </a:lnTo>
                    <a:lnTo>
                      <a:pt x="4" y="83"/>
                    </a:lnTo>
                    <a:lnTo>
                      <a:pt x="6" y="83"/>
                    </a:lnTo>
                    <a:lnTo>
                      <a:pt x="4" y="88"/>
                    </a:lnTo>
                    <a:lnTo>
                      <a:pt x="4" y="92"/>
                    </a:lnTo>
                    <a:lnTo>
                      <a:pt x="10" y="98"/>
                    </a:lnTo>
                    <a:lnTo>
                      <a:pt x="17" y="102"/>
                    </a:lnTo>
                    <a:lnTo>
                      <a:pt x="19" y="107"/>
                    </a:lnTo>
                    <a:lnTo>
                      <a:pt x="21" y="111"/>
                    </a:lnTo>
                    <a:lnTo>
                      <a:pt x="25" y="113"/>
                    </a:lnTo>
                    <a:lnTo>
                      <a:pt x="29" y="115"/>
                    </a:lnTo>
                    <a:lnTo>
                      <a:pt x="31" y="121"/>
                    </a:lnTo>
                    <a:lnTo>
                      <a:pt x="33" y="125"/>
                    </a:lnTo>
                    <a:lnTo>
                      <a:pt x="37" y="129"/>
                    </a:lnTo>
                    <a:lnTo>
                      <a:pt x="40" y="130"/>
                    </a:lnTo>
                    <a:lnTo>
                      <a:pt x="46" y="146"/>
                    </a:lnTo>
                    <a:lnTo>
                      <a:pt x="50" y="163"/>
                    </a:lnTo>
                    <a:lnTo>
                      <a:pt x="62" y="188"/>
                    </a:lnTo>
                    <a:lnTo>
                      <a:pt x="69" y="213"/>
                    </a:lnTo>
                    <a:lnTo>
                      <a:pt x="67" y="217"/>
                    </a:lnTo>
                    <a:lnTo>
                      <a:pt x="71" y="221"/>
                    </a:lnTo>
                    <a:lnTo>
                      <a:pt x="75" y="225"/>
                    </a:lnTo>
                    <a:lnTo>
                      <a:pt x="77" y="230"/>
                    </a:lnTo>
                    <a:lnTo>
                      <a:pt x="79" y="236"/>
                    </a:lnTo>
                    <a:lnTo>
                      <a:pt x="85" y="240"/>
                    </a:lnTo>
                    <a:lnTo>
                      <a:pt x="92" y="244"/>
                    </a:lnTo>
                    <a:lnTo>
                      <a:pt x="94" y="248"/>
                    </a:lnTo>
                    <a:lnTo>
                      <a:pt x="96" y="249"/>
                    </a:lnTo>
                    <a:lnTo>
                      <a:pt x="115" y="261"/>
                    </a:lnTo>
                    <a:lnTo>
                      <a:pt x="131" y="274"/>
                    </a:lnTo>
                    <a:lnTo>
                      <a:pt x="131" y="274"/>
                    </a:lnTo>
                    <a:lnTo>
                      <a:pt x="133" y="272"/>
                    </a:lnTo>
                    <a:lnTo>
                      <a:pt x="136" y="269"/>
                    </a:lnTo>
                    <a:lnTo>
                      <a:pt x="140" y="265"/>
                    </a:lnTo>
                    <a:lnTo>
                      <a:pt x="142" y="263"/>
                    </a:lnTo>
                    <a:lnTo>
                      <a:pt x="146" y="257"/>
                    </a:lnTo>
                    <a:lnTo>
                      <a:pt x="150" y="251"/>
                    </a:lnTo>
                    <a:lnTo>
                      <a:pt x="150" y="248"/>
                    </a:lnTo>
                    <a:lnTo>
                      <a:pt x="150" y="246"/>
                    </a:lnTo>
                    <a:lnTo>
                      <a:pt x="146" y="244"/>
                    </a:lnTo>
                    <a:lnTo>
                      <a:pt x="142" y="242"/>
                    </a:lnTo>
                    <a:lnTo>
                      <a:pt x="142" y="240"/>
                    </a:lnTo>
                    <a:lnTo>
                      <a:pt x="144" y="238"/>
                    </a:lnTo>
                    <a:lnTo>
                      <a:pt x="142" y="238"/>
                    </a:lnTo>
                    <a:lnTo>
                      <a:pt x="142" y="236"/>
                    </a:lnTo>
                    <a:lnTo>
                      <a:pt x="142" y="234"/>
                    </a:lnTo>
                    <a:lnTo>
                      <a:pt x="144" y="234"/>
                    </a:lnTo>
                    <a:lnTo>
                      <a:pt x="146" y="236"/>
                    </a:lnTo>
                    <a:lnTo>
                      <a:pt x="148" y="238"/>
                    </a:lnTo>
                    <a:lnTo>
                      <a:pt x="148" y="236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8" y="228"/>
                    </a:lnTo>
                    <a:lnTo>
                      <a:pt x="146" y="226"/>
                    </a:lnTo>
                    <a:lnTo>
                      <a:pt x="144" y="221"/>
                    </a:lnTo>
                    <a:lnTo>
                      <a:pt x="144" y="215"/>
                    </a:lnTo>
                    <a:lnTo>
                      <a:pt x="144" y="211"/>
                    </a:lnTo>
                    <a:lnTo>
                      <a:pt x="148" y="201"/>
                    </a:lnTo>
                    <a:lnTo>
                      <a:pt x="140" y="186"/>
                    </a:lnTo>
                    <a:lnTo>
                      <a:pt x="127" y="180"/>
                    </a:lnTo>
                    <a:lnTo>
                      <a:pt x="129" y="144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1" y="144"/>
                    </a:lnTo>
                    <a:lnTo>
                      <a:pt x="117" y="146"/>
                    </a:lnTo>
                    <a:lnTo>
                      <a:pt x="106" y="146"/>
                    </a:lnTo>
                    <a:lnTo>
                      <a:pt x="104" y="144"/>
                    </a:lnTo>
                    <a:lnTo>
                      <a:pt x="104" y="140"/>
                    </a:lnTo>
                    <a:lnTo>
                      <a:pt x="100" y="136"/>
                    </a:lnTo>
                    <a:lnTo>
                      <a:pt x="94" y="132"/>
                    </a:lnTo>
                    <a:lnTo>
                      <a:pt x="90" y="129"/>
                    </a:lnTo>
                    <a:lnTo>
                      <a:pt x="86" y="127"/>
                    </a:lnTo>
                    <a:lnTo>
                      <a:pt x="90" y="121"/>
                    </a:lnTo>
                    <a:lnTo>
                      <a:pt x="88" y="117"/>
                    </a:lnTo>
                    <a:lnTo>
                      <a:pt x="86" y="113"/>
                    </a:lnTo>
                    <a:lnTo>
                      <a:pt x="86" y="109"/>
                    </a:lnTo>
                    <a:lnTo>
                      <a:pt x="85" y="106"/>
                    </a:lnTo>
                    <a:lnTo>
                      <a:pt x="88" y="104"/>
                    </a:lnTo>
                    <a:lnTo>
                      <a:pt x="90" y="106"/>
                    </a:lnTo>
                    <a:lnTo>
                      <a:pt x="90" y="104"/>
                    </a:lnTo>
                    <a:lnTo>
                      <a:pt x="90" y="98"/>
                    </a:lnTo>
                    <a:lnTo>
                      <a:pt x="92" y="94"/>
                    </a:lnTo>
                    <a:lnTo>
                      <a:pt x="94" y="90"/>
                    </a:lnTo>
                    <a:lnTo>
                      <a:pt x="96" y="84"/>
                    </a:lnTo>
                    <a:lnTo>
                      <a:pt x="98" y="79"/>
                    </a:lnTo>
                    <a:lnTo>
                      <a:pt x="102" y="75"/>
                    </a:lnTo>
                    <a:lnTo>
                      <a:pt x="108" y="71"/>
                    </a:lnTo>
                    <a:lnTo>
                      <a:pt x="113" y="67"/>
                    </a:lnTo>
                    <a:lnTo>
                      <a:pt x="119" y="67"/>
                    </a:lnTo>
                    <a:lnTo>
                      <a:pt x="123" y="65"/>
                    </a:lnTo>
                    <a:lnTo>
                      <a:pt x="129" y="65"/>
                    </a:lnTo>
                    <a:lnTo>
                      <a:pt x="133" y="63"/>
                    </a:lnTo>
                    <a:lnTo>
                      <a:pt x="133" y="61"/>
                    </a:lnTo>
                    <a:lnTo>
                      <a:pt x="129" y="58"/>
                    </a:lnTo>
                    <a:lnTo>
                      <a:pt x="123" y="58"/>
                    </a:lnTo>
                    <a:lnTo>
                      <a:pt x="134" y="35"/>
                    </a:lnTo>
                    <a:lnTo>
                      <a:pt x="134" y="33"/>
                    </a:lnTo>
                    <a:lnTo>
                      <a:pt x="129" y="31"/>
                    </a:lnTo>
                    <a:lnTo>
                      <a:pt x="125" y="29"/>
                    </a:lnTo>
                    <a:lnTo>
                      <a:pt x="119" y="27"/>
                    </a:lnTo>
                    <a:lnTo>
                      <a:pt x="115" y="25"/>
                    </a:lnTo>
                    <a:lnTo>
                      <a:pt x="111" y="25"/>
                    </a:lnTo>
                    <a:lnTo>
                      <a:pt x="110" y="29"/>
                    </a:lnTo>
                    <a:lnTo>
                      <a:pt x="108" y="29"/>
                    </a:lnTo>
                    <a:lnTo>
                      <a:pt x="104" y="27"/>
                    </a:lnTo>
                    <a:lnTo>
                      <a:pt x="100" y="25"/>
                    </a:lnTo>
                    <a:lnTo>
                      <a:pt x="98" y="23"/>
                    </a:lnTo>
                    <a:lnTo>
                      <a:pt x="98" y="19"/>
                    </a:lnTo>
                    <a:lnTo>
                      <a:pt x="92" y="17"/>
                    </a:lnTo>
                    <a:lnTo>
                      <a:pt x="88" y="15"/>
                    </a:lnTo>
                    <a:lnTo>
                      <a:pt x="85" y="13"/>
                    </a:lnTo>
                    <a:lnTo>
                      <a:pt x="85" y="8"/>
                    </a:lnTo>
                    <a:lnTo>
                      <a:pt x="81" y="6"/>
                    </a:lnTo>
                    <a:lnTo>
                      <a:pt x="77" y="2"/>
                    </a:lnTo>
                    <a:lnTo>
                      <a:pt x="77" y="0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4" name="Freeform 112"/>
              <p:cNvSpPr>
                <a:spLocks/>
              </p:cNvSpPr>
              <p:nvPr/>
            </p:nvSpPr>
            <p:spPr bwMode="gray">
              <a:xfrm>
                <a:off x="3089334" y="4930776"/>
                <a:ext cx="158732" cy="209550"/>
              </a:xfrm>
              <a:custGeom>
                <a:avLst/>
                <a:gdLst>
                  <a:gd name="T0" fmla="*/ 46 w 100"/>
                  <a:gd name="T1" fmla="*/ 2 h 132"/>
                  <a:gd name="T2" fmla="*/ 19 w 100"/>
                  <a:gd name="T3" fmla="*/ 0 h 132"/>
                  <a:gd name="T4" fmla="*/ 12 w 100"/>
                  <a:gd name="T5" fmla="*/ 11 h 132"/>
                  <a:gd name="T6" fmla="*/ 8 w 100"/>
                  <a:gd name="T7" fmla="*/ 21 h 132"/>
                  <a:gd name="T8" fmla="*/ 0 w 100"/>
                  <a:gd name="T9" fmla="*/ 42 h 132"/>
                  <a:gd name="T10" fmla="*/ 8 w 100"/>
                  <a:gd name="T11" fmla="*/ 50 h 132"/>
                  <a:gd name="T12" fmla="*/ 14 w 100"/>
                  <a:gd name="T13" fmla="*/ 57 h 132"/>
                  <a:gd name="T14" fmla="*/ 19 w 100"/>
                  <a:gd name="T15" fmla="*/ 61 h 132"/>
                  <a:gd name="T16" fmla="*/ 23 w 100"/>
                  <a:gd name="T17" fmla="*/ 71 h 132"/>
                  <a:gd name="T18" fmla="*/ 31 w 100"/>
                  <a:gd name="T19" fmla="*/ 74 h 132"/>
                  <a:gd name="T20" fmla="*/ 39 w 100"/>
                  <a:gd name="T21" fmla="*/ 82 h 132"/>
                  <a:gd name="T22" fmla="*/ 44 w 100"/>
                  <a:gd name="T23" fmla="*/ 86 h 132"/>
                  <a:gd name="T24" fmla="*/ 50 w 100"/>
                  <a:gd name="T25" fmla="*/ 92 h 132"/>
                  <a:gd name="T26" fmla="*/ 58 w 100"/>
                  <a:gd name="T27" fmla="*/ 101 h 132"/>
                  <a:gd name="T28" fmla="*/ 54 w 100"/>
                  <a:gd name="T29" fmla="*/ 113 h 132"/>
                  <a:gd name="T30" fmla="*/ 46 w 100"/>
                  <a:gd name="T31" fmla="*/ 124 h 132"/>
                  <a:gd name="T32" fmla="*/ 46 w 100"/>
                  <a:gd name="T33" fmla="*/ 128 h 132"/>
                  <a:gd name="T34" fmla="*/ 54 w 100"/>
                  <a:gd name="T35" fmla="*/ 128 h 132"/>
                  <a:gd name="T36" fmla="*/ 64 w 100"/>
                  <a:gd name="T37" fmla="*/ 132 h 132"/>
                  <a:gd name="T38" fmla="*/ 73 w 100"/>
                  <a:gd name="T39" fmla="*/ 130 h 132"/>
                  <a:gd name="T40" fmla="*/ 83 w 100"/>
                  <a:gd name="T41" fmla="*/ 132 h 132"/>
                  <a:gd name="T42" fmla="*/ 85 w 100"/>
                  <a:gd name="T43" fmla="*/ 130 h 132"/>
                  <a:gd name="T44" fmla="*/ 89 w 100"/>
                  <a:gd name="T45" fmla="*/ 124 h 132"/>
                  <a:gd name="T46" fmla="*/ 94 w 100"/>
                  <a:gd name="T47" fmla="*/ 115 h 132"/>
                  <a:gd name="T48" fmla="*/ 94 w 100"/>
                  <a:gd name="T49" fmla="*/ 105 h 132"/>
                  <a:gd name="T50" fmla="*/ 96 w 100"/>
                  <a:gd name="T51" fmla="*/ 96 h 132"/>
                  <a:gd name="T52" fmla="*/ 100 w 100"/>
                  <a:gd name="T53" fmla="*/ 80 h 132"/>
                  <a:gd name="T54" fmla="*/ 96 w 100"/>
                  <a:gd name="T55" fmla="*/ 74 h 132"/>
                  <a:gd name="T56" fmla="*/ 90 w 100"/>
                  <a:gd name="T57" fmla="*/ 74 h 132"/>
                  <a:gd name="T58" fmla="*/ 89 w 100"/>
                  <a:gd name="T59" fmla="*/ 61 h 132"/>
                  <a:gd name="T60" fmla="*/ 89 w 100"/>
                  <a:gd name="T61" fmla="*/ 51 h 132"/>
                  <a:gd name="T62" fmla="*/ 85 w 100"/>
                  <a:gd name="T63" fmla="*/ 50 h 132"/>
                  <a:gd name="T64" fmla="*/ 79 w 100"/>
                  <a:gd name="T65" fmla="*/ 46 h 132"/>
                  <a:gd name="T66" fmla="*/ 77 w 100"/>
                  <a:gd name="T67" fmla="*/ 40 h 132"/>
                  <a:gd name="T68" fmla="*/ 67 w 100"/>
                  <a:gd name="T69" fmla="*/ 42 h 132"/>
                  <a:gd name="T70" fmla="*/ 58 w 100"/>
                  <a:gd name="T71" fmla="*/ 34 h 132"/>
                  <a:gd name="T72" fmla="*/ 60 w 100"/>
                  <a:gd name="T73" fmla="*/ 23 h 132"/>
                  <a:gd name="T74" fmla="*/ 56 w 100"/>
                  <a:gd name="T75" fmla="*/ 13 h 132"/>
                  <a:gd name="T76" fmla="*/ 50 w 100"/>
                  <a:gd name="T77" fmla="*/ 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0" h="132">
                    <a:moveTo>
                      <a:pt x="50" y="7"/>
                    </a:moveTo>
                    <a:lnTo>
                      <a:pt x="46" y="2"/>
                    </a:lnTo>
                    <a:lnTo>
                      <a:pt x="35" y="0"/>
                    </a:lnTo>
                    <a:lnTo>
                      <a:pt x="19" y="0"/>
                    </a:lnTo>
                    <a:lnTo>
                      <a:pt x="16" y="5"/>
                    </a:lnTo>
                    <a:lnTo>
                      <a:pt x="12" y="11"/>
                    </a:lnTo>
                    <a:lnTo>
                      <a:pt x="10" y="17"/>
                    </a:lnTo>
                    <a:lnTo>
                      <a:pt x="8" y="21"/>
                    </a:lnTo>
                    <a:lnTo>
                      <a:pt x="8" y="25"/>
                    </a:lnTo>
                    <a:lnTo>
                      <a:pt x="0" y="42"/>
                    </a:lnTo>
                    <a:lnTo>
                      <a:pt x="8" y="48"/>
                    </a:lnTo>
                    <a:lnTo>
                      <a:pt x="8" y="50"/>
                    </a:lnTo>
                    <a:lnTo>
                      <a:pt x="12" y="53"/>
                    </a:lnTo>
                    <a:lnTo>
                      <a:pt x="14" y="57"/>
                    </a:lnTo>
                    <a:lnTo>
                      <a:pt x="16" y="59"/>
                    </a:lnTo>
                    <a:lnTo>
                      <a:pt x="19" y="61"/>
                    </a:lnTo>
                    <a:lnTo>
                      <a:pt x="21" y="65"/>
                    </a:lnTo>
                    <a:lnTo>
                      <a:pt x="23" y="71"/>
                    </a:lnTo>
                    <a:lnTo>
                      <a:pt x="27" y="74"/>
                    </a:lnTo>
                    <a:lnTo>
                      <a:pt x="31" y="74"/>
                    </a:lnTo>
                    <a:lnTo>
                      <a:pt x="35" y="80"/>
                    </a:lnTo>
                    <a:lnTo>
                      <a:pt x="39" y="82"/>
                    </a:lnTo>
                    <a:lnTo>
                      <a:pt x="42" y="84"/>
                    </a:lnTo>
                    <a:lnTo>
                      <a:pt x="44" y="86"/>
                    </a:lnTo>
                    <a:lnTo>
                      <a:pt x="48" y="88"/>
                    </a:lnTo>
                    <a:lnTo>
                      <a:pt x="50" y="92"/>
                    </a:lnTo>
                    <a:lnTo>
                      <a:pt x="56" y="97"/>
                    </a:lnTo>
                    <a:lnTo>
                      <a:pt x="58" y="101"/>
                    </a:lnTo>
                    <a:lnTo>
                      <a:pt x="56" y="107"/>
                    </a:lnTo>
                    <a:lnTo>
                      <a:pt x="54" y="113"/>
                    </a:lnTo>
                    <a:lnTo>
                      <a:pt x="50" y="119"/>
                    </a:lnTo>
                    <a:lnTo>
                      <a:pt x="46" y="124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50" y="128"/>
                    </a:lnTo>
                    <a:lnTo>
                      <a:pt x="54" y="128"/>
                    </a:lnTo>
                    <a:lnTo>
                      <a:pt x="60" y="130"/>
                    </a:lnTo>
                    <a:lnTo>
                      <a:pt x="64" y="132"/>
                    </a:lnTo>
                    <a:lnTo>
                      <a:pt x="67" y="130"/>
                    </a:lnTo>
                    <a:lnTo>
                      <a:pt x="73" y="130"/>
                    </a:lnTo>
                    <a:lnTo>
                      <a:pt x="77" y="132"/>
                    </a:lnTo>
                    <a:lnTo>
                      <a:pt x="83" y="132"/>
                    </a:lnTo>
                    <a:lnTo>
                      <a:pt x="85" y="132"/>
                    </a:lnTo>
                    <a:lnTo>
                      <a:pt x="85" y="130"/>
                    </a:lnTo>
                    <a:lnTo>
                      <a:pt x="87" y="128"/>
                    </a:lnTo>
                    <a:lnTo>
                      <a:pt x="89" y="124"/>
                    </a:lnTo>
                    <a:lnTo>
                      <a:pt x="92" y="121"/>
                    </a:lnTo>
                    <a:lnTo>
                      <a:pt x="94" y="115"/>
                    </a:lnTo>
                    <a:lnTo>
                      <a:pt x="94" y="109"/>
                    </a:lnTo>
                    <a:lnTo>
                      <a:pt x="94" y="105"/>
                    </a:lnTo>
                    <a:lnTo>
                      <a:pt x="96" y="101"/>
                    </a:lnTo>
                    <a:lnTo>
                      <a:pt x="96" y="96"/>
                    </a:lnTo>
                    <a:lnTo>
                      <a:pt x="98" y="88"/>
                    </a:lnTo>
                    <a:lnTo>
                      <a:pt x="100" y="80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2" y="76"/>
                    </a:lnTo>
                    <a:lnTo>
                      <a:pt x="90" y="74"/>
                    </a:lnTo>
                    <a:lnTo>
                      <a:pt x="89" y="69"/>
                    </a:lnTo>
                    <a:lnTo>
                      <a:pt x="89" y="61"/>
                    </a:lnTo>
                    <a:lnTo>
                      <a:pt x="89" y="55"/>
                    </a:lnTo>
                    <a:lnTo>
                      <a:pt x="89" y="51"/>
                    </a:lnTo>
                    <a:lnTo>
                      <a:pt x="89" y="50"/>
                    </a:lnTo>
                    <a:lnTo>
                      <a:pt x="85" y="50"/>
                    </a:lnTo>
                    <a:lnTo>
                      <a:pt x="83" y="48"/>
                    </a:lnTo>
                    <a:lnTo>
                      <a:pt x="79" y="46"/>
                    </a:lnTo>
                    <a:lnTo>
                      <a:pt x="79" y="44"/>
                    </a:lnTo>
                    <a:lnTo>
                      <a:pt x="77" y="40"/>
                    </a:lnTo>
                    <a:lnTo>
                      <a:pt x="73" y="42"/>
                    </a:lnTo>
                    <a:lnTo>
                      <a:pt x="67" y="42"/>
                    </a:lnTo>
                    <a:lnTo>
                      <a:pt x="60" y="40"/>
                    </a:lnTo>
                    <a:lnTo>
                      <a:pt x="58" y="34"/>
                    </a:lnTo>
                    <a:lnTo>
                      <a:pt x="58" y="28"/>
                    </a:lnTo>
                    <a:lnTo>
                      <a:pt x="60" y="23"/>
                    </a:lnTo>
                    <a:lnTo>
                      <a:pt x="58" y="17"/>
                    </a:lnTo>
                    <a:lnTo>
                      <a:pt x="56" y="13"/>
                    </a:lnTo>
                    <a:lnTo>
                      <a:pt x="54" y="11"/>
                    </a:lnTo>
                    <a:lnTo>
                      <a:pt x="50" y="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5" name="Freeform 113"/>
              <p:cNvSpPr>
                <a:spLocks noEditPoints="1"/>
              </p:cNvSpPr>
              <p:nvPr/>
            </p:nvSpPr>
            <p:spPr bwMode="gray">
              <a:xfrm>
                <a:off x="7098913" y="4516439"/>
                <a:ext cx="301591" cy="209550"/>
              </a:xfrm>
              <a:custGeom>
                <a:avLst/>
                <a:gdLst>
                  <a:gd name="T0" fmla="*/ 23 w 190"/>
                  <a:gd name="T1" fmla="*/ 107 h 132"/>
                  <a:gd name="T2" fmla="*/ 34 w 190"/>
                  <a:gd name="T3" fmla="*/ 103 h 132"/>
                  <a:gd name="T4" fmla="*/ 36 w 190"/>
                  <a:gd name="T5" fmla="*/ 90 h 132"/>
                  <a:gd name="T6" fmla="*/ 65 w 190"/>
                  <a:gd name="T7" fmla="*/ 94 h 132"/>
                  <a:gd name="T8" fmla="*/ 75 w 190"/>
                  <a:gd name="T9" fmla="*/ 111 h 132"/>
                  <a:gd name="T10" fmla="*/ 88 w 190"/>
                  <a:gd name="T11" fmla="*/ 124 h 132"/>
                  <a:gd name="T12" fmla="*/ 121 w 190"/>
                  <a:gd name="T13" fmla="*/ 130 h 132"/>
                  <a:gd name="T14" fmla="*/ 113 w 190"/>
                  <a:gd name="T15" fmla="*/ 122 h 132"/>
                  <a:gd name="T16" fmla="*/ 111 w 190"/>
                  <a:gd name="T17" fmla="*/ 119 h 132"/>
                  <a:gd name="T18" fmla="*/ 105 w 190"/>
                  <a:gd name="T19" fmla="*/ 109 h 132"/>
                  <a:gd name="T20" fmla="*/ 96 w 190"/>
                  <a:gd name="T21" fmla="*/ 101 h 132"/>
                  <a:gd name="T22" fmla="*/ 86 w 190"/>
                  <a:gd name="T23" fmla="*/ 92 h 132"/>
                  <a:gd name="T24" fmla="*/ 84 w 190"/>
                  <a:gd name="T25" fmla="*/ 73 h 132"/>
                  <a:gd name="T26" fmla="*/ 88 w 190"/>
                  <a:gd name="T27" fmla="*/ 59 h 132"/>
                  <a:gd name="T28" fmla="*/ 77 w 190"/>
                  <a:gd name="T29" fmla="*/ 55 h 132"/>
                  <a:gd name="T30" fmla="*/ 63 w 190"/>
                  <a:gd name="T31" fmla="*/ 50 h 132"/>
                  <a:gd name="T32" fmla="*/ 59 w 190"/>
                  <a:gd name="T33" fmla="*/ 38 h 132"/>
                  <a:gd name="T34" fmla="*/ 50 w 190"/>
                  <a:gd name="T35" fmla="*/ 32 h 132"/>
                  <a:gd name="T36" fmla="*/ 29 w 190"/>
                  <a:gd name="T37" fmla="*/ 19 h 132"/>
                  <a:gd name="T38" fmla="*/ 2 w 190"/>
                  <a:gd name="T39" fmla="*/ 9 h 132"/>
                  <a:gd name="T40" fmla="*/ 4 w 190"/>
                  <a:gd name="T41" fmla="*/ 76 h 132"/>
                  <a:gd name="T42" fmla="*/ 125 w 190"/>
                  <a:gd name="T43" fmla="*/ 119 h 132"/>
                  <a:gd name="T44" fmla="*/ 125 w 190"/>
                  <a:gd name="T45" fmla="*/ 117 h 132"/>
                  <a:gd name="T46" fmla="*/ 173 w 190"/>
                  <a:gd name="T47" fmla="*/ 55 h 132"/>
                  <a:gd name="T48" fmla="*/ 182 w 190"/>
                  <a:gd name="T49" fmla="*/ 74 h 132"/>
                  <a:gd name="T50" fmla="*/ 190 w 190"/>
                  <a:gd name="T51" fmla="*/ 71 h 132"/>
                  <a:gd name="T52" fmla="*/ 171 w 190"/>
                  <a:gd name="T53" fmla="*/ 44 h 132"/>
                  <a:gd name="T54" fmla="*/ 136 w 190"/>
                  <a:gd name="T55" fmla="*/ 36 h 132"/>
                  <a:gd name="T56" fmla="*/ 134 w 190"/>
                  <a:gd name="T57" fmla="*/ 42 h 132"/>
                  <a:gd name="T58" fmla="*/ 130 w 190"/>
                  <a:gd name="T59" fmla="*/ 50 h 132"/>
                  <a:gd name="T60" fmla="*/ 121 w 190"/>
                  <a:gd name="T61" fmla="*/ 51 h 132"/>
                  <a:gd name="T62" fmla="*/ 117 w 190"/>
                  <a:gd name="T63" fmla="*/ 50 h 132"/>
                  <a:gd name="T64" fmla="*/ 100 w 190"/>
                  <a:gd name="T65" fmla="*/ 53 h 132"/>
                  <a:gd name="T66" fmla="*/ 117 w 190"/>
                  <a:gd name="T67" fmla="*/ 63 h 132"/>
                  <a:gd name="T68" fmla="*/ 136 w 190"/>
                  <a:gd name="T69" fmla="*/ 55 h 132"/>
                  <a:gd name="T70" fmla="*/ 142 w 190"/>
                  <a:gd name="T71" fmla="*/ 50 h 132"/>
                  <a:gd name="T72" fmla="*/ 146 w 190"/>
                  <a:gd name="T73" fmla="*/ 36 h 132"/>
                  <a:gd name="T74" fmla="*/ 146 w 190"/>
                  <a:gd name="T75" fmla="*/ 28 h 132"/>
                  <a:gd name="T76" fmla="*/ 151 w 190"/>
                  <a:gd name="T77" fmla="*/ 38 h 132"/>
                  <a:gd name="T78" fmla="*/ 153 w 190"/>
                  <a:gd name="T79" fmla="*/ 34 h 132"/>
                  <a:gd name="T80" fmla="*/ 142 w 190"/>
                  <a:gd name="T81" fmla="*/ 21 h 132"/>
                  <a:gd name="T82" fmla="*/ 132 w 190"/>
                  <a:gd name="T83" fmla="*/ 19 h 132"/>
                  <a:gd name="T84" fmla="*/ 140 w 190"/>
                  <a:gd name="T85" fmla="*/ 17 h 132"/>
                  <a:gd name="T86" fmla="*/ 117 w 190"/>
                  <a:gd name="T87" fmla="*/ 7 h 132"/>
                  <a:gd name="T88" fmla="*/ 123 w 190"/>
                  <a:gd name="T89" fmla="*/ 13 h 132"/>
                  <a:gd name="T90" fmla="*/ 117 w 190"/>
                  <a:gd name="T91" fmla="*/ 7 h 132"/>
                  <a:gd name="T92" fmla="*/ 79 w 190"/>
                  <a:gd name="T93" fmla="*/ 3 h 132"/>
                  <a:gd name="T94" fmla="*/ 73 w 190"/>
                  <a:gd name="T9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0" h="132">
                    <a:moveTo>
                      <a:pt x="4" y="109"/>
                    </a:moveTo>
                    <a:lnTo>
                      <a:pt x="13" y="109"/>
                    </a:lnTo>
                    <a:lnTo>
                      <a:pt x="23" y="107"/>
                    </a:lnTo>
                    <a:lnTo>
                      <a:pt x="29" y="107"/>
                    </a:lnTo>
                    <a:lnTo>
                      <a:pt x="32" y="105"/>
                    </a:lnTo>
                    <a:lnTo>
                      <a:pt x="34" y="103"/>
                    </a:lnTo>
                    <a:lnTo>
                      <a:pt x="36" y="99"/>
                    </a:lnTo>
                    <a:lnTo>
                      <a:pt x="36" y="96"/>
                    </a:lnTo>
                    <a:lnTo>
                      <a:pt x="36" y="90"/>
                    </a:lnTo>
                    <a:lnTo>
                      <a:pt x="44" y="90"/>
                    </a:lnTo>
                    <a:lnTo>
                      <a:pt x="56" y="92"/>
                    </a:lnTo>
                    <a:lnTo>
                      <a:pt x="65" y="94"/>
                    </a:lnTo>
                    <a:lnTo>
                      <a:pt x="71" y="99"/>
                    </a:lnTo>
                    <a:lnTo>
                      <a:pt x="73" y="105"/>
                    </a:lnTo>
                    <a:lnTo>
                      <a:pt x="75" y="111"/>
                    </a:lnTo>
                    <a:lnTo>
                      <a:pt x="79" y="113"/>
                    </a:lnTo>
                    <a:lnTo>
                      <a:pt x="82" y="113"/>
                    </a:lnTo>
                    <a:lnTo>
                      <a:pt x="88" y="124"/>
                    </a:lnTo>
                    <a:lnTo>
                      <a:pt x="103" y="128"/>
                    </a:lnTo>
                    <a:lnTo>
                      <a:pt x="121" y="132"/>
                    </a:lnTo>
                    <a:lnTo>
                      <a:pt x="121" y="130"/>
                    </a:lnTo>
                    <a:lnTo>
                      <a:pt x="121" y="126"/>
                    </a:lnTo>
                    <a:lnTo>
                      <a:pt x="117" y="124"/>
                    </a:lnTo>
                    <a:lnTo>
                      <a:pt x="113" y="122"/>
                    </a:lnTo>
                    <a:lnTo>
                      <a:pt x="115" y="121"/>
                    </a:lnTo>
                    <a:lnTo>
                      <a:pt x="115" y="119"/>
                    </a:lnTo>
                    <a:lnTo>
                      <a:pt x="111" y="119"/>
                    </a:lnTo>
                    <a:lnTo>
                      <a:pt x="105" y="117"/>
                    </a:lnTo>
                    <a:lnTo>
                      <a:pt x="105" y="113"/>
                    </a:lnTo>
                    <a:lnTo>
                      <a:pt x="105" y="109"/>
                    </a:lnTo>
                    <a:lnTo>
                      <a:pt x="102" y="109"/>
                    </a:lnTo>
                    <a:lnTo>
                      <a:pt x="98" y="107"/>
                    </a:lnTo>
                    <a:lnTo>
                      <a:pt x="96" y="101"/>
                    </a:lnTo>
                    <a:lnTo>
                      <a:pt x="94" y="94"/>
                    </a:lnTo>
                    <a:lnTo>
                      <a:pt x="90" y="94"/>
                    </a:lnTo>
                    <a:lnTo>
                      <a:pt x="86" y="92"/>
                    </a:lnTo>
                    <a:lnTo>
                      <a:pt x="82" y="84"/>
                    </a:lnTo>
                    <a:lnTo>
                      <a:pt x="80" y="74"/>
                    </a:lnTo>
                    <a:lnTo>
                      <a:pt x="84" y="73"/>
                    </a:lnTo>
                    <a:lnTo>
                      <a:pt x="90" y="71"/>
                    </a:lnTo>
                    <a:lnTo>
                      <a:pt x="90" y="65"/>
                    </a:lnTo>
                    <a:lnTo>
                      <a:pt x="88" y="59"/>
                    </a:lnTo>
                    <a:lnTo>
                      <a:pt x="84" y="59"/>
                    </a:lnTo>
                    <a:lnTo>
                      <a:pt x="79" y="59"/>
                    </a:lnTo>
                    <a:lnTo>
                      <a:pt x="77" y="55"/>
                    </a:lnTo>
                    <a:lnTo>
                      <a:pt x="75" y="51"/>
                    </a:lnTo>
                    <a:lnTo>
                      <a:pt x="69" y="51"/>
                    </a:lnTo>
                    <a:lnTo>
                      <a:pt x="63" y="50"/>
                    </a:lnTo>
                    <a:lnTo>
                      <a:pt x="63" y="46"/>
                    </a:lnTo>
                    <a:lnTo>
                      <a:pt x="63" y="42"/>
                    </a:lnTo>
                    <a:lnTo>
                      <a:pt x="59" y="38"/>
                    </a:lnTo>
                    <a:lnTo>
                      <a:pt x="56" y="32"/>
                    </a:lnTo>
                    <a:lnTo>
                      <a:pt x="54" y="32"/>
                    </a:lnTo>
                    <a:lnTo>
                      <a:pt x="50" y="32"/>
                    </a:lnTo>
                    <a:lnTo>
                      <a:pt x="48" y="28"/>
                    </a:lnTo>
                    <a:lnTo>
                      <a:pt x="44" y="25"/>
                    </a:lnTo>
                    <a:lnTo>
                      <a:pt x="29" y="19"/>
                    </a:lnTo>
                    <a:lnTo>
                      <a:pt x="13" y="15"/>
                    </a:lnTo>
                    <a:lnTo>
                      <a:pt x="9" y="13"/>
                    </a:lnTo>
                    <a:lnTo>
                      <a:pt x="2" y="9"/>
                    </a:lnTo>
                    <a:lnTo>
                      <a:pt x="4" y="65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4" y="109"/>
                    </a:lnTo>
                    <a:close/>
                    <a:moveTo>
                      <a:pt x="123" y="115"/>
                    </a:moveTo>
                    <a:lnTo>
                      <a:pt x="125" y="119"/>
                    </a:lnTo>
                    <a:lnTo>
                      <a:pt x="127" y="119"/>
                    </a:lnTo>
                    <a:lnTo>
                      <a:pt x="127" y="117"/>
                    </a:lnTo>
                    <a:lnTo>
                      <a:pt x="125" y="117"/>
                    </a:lnTo>
                    <a:lnTo>
                      <a:pt x="123" y="115"/>
                    </a:lnTo>
                    <a:close/>
                    <a:moveTo>
                      <a:pt x="171" y="44"/>
                    </a:moveTo>
                    <a:lnTo>
                      <a:pt x="173" y="55"/>
                    </a:lnTo>
                    <a:lnTo>
                      <a:pt x="175" y="61"/>
                    </a:lnTo>
                    <a:lnTo>
                      <a:pt x="178" y="69"/>
                    </a:lnTo>
                    <a:lnTo>
                      <a:pt x="182" y="74"/>
                    </a:lnTo>
                    <a:lnTo>
                      <a:pt x="186" y="74"/>
                    </a:lnTo>
                    <a:lnTo>
                      <a:pt x="188" y="73"/>
                    </a:lnTo>
                    <a:lnTo>
                      <a:pt x="190" y="71"/>
                    </a:lnTo>
                    <a:lnTo>
                      <a:pt x="190" y="67"/>
                    </a:lnTo>
                    <a:lnTo>
                      <a:pt x="180" y="57"/>
                    </a:lnTo>
                    <a:lnTo>
                      <a:pt x="171" y="44"/>
                    </a:lnTo>
                    <a:close/>
                    <a:moveTo>
                      <a:pt x="140" y="34"/>
                    </a:moveTo>
                    <a:lnTo>
                      <a:pt x="138" y="36"/>
                    </a:lnTo>
                    <a:lnTo>
                      <a:pt x="136" y="36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2" y="50"/>
                    </a:lnTo>
                    <a:lnTo>
                      <a:pt x="130" y="50"/>
                    </a:lnTo>
                    <a:lnTo>
                      <a:pt x="130" y="51"/>
                    </a:lnTo>
                    <a:lnTo>
                      <a:pt x="127" y="51"/>
                    </a:lnTo>
                    <a:lnTo>
                      <a:pt x="121" y="51"/>
                    </a:lnTo>
                    <a:lnTo>
                      <a:pt x="121" y="50"/>
                    </a:lnTo>
                    <a:lnTo>
                      <a:pt x="119" y="48"/>
                    </a:lnTo>
                    <a:lnTo>
                      <a:pt x="117" y="50"/>
                    </a:lnTo>
                    <a:lnTo>
                      <a:pt x="117" y="53"/>
                    </a:lnTo>
                    <a:lnTo>
                      <a:pt x="109" y="53"/>
                    </a:lnTo>
                    <a:lnTo>
                      <a:pt x="100" y="53"/>
                    </a:lnTo>
                    <a:lnTo>
                      <a:pt x="103" y="59"/>
                    </a:lnTo>
                    <a:lnTo>
                      <a:pt x="109" y="63"/>
                    </a:lnTo>
                    <a:lnTo>
                      <a:pt x="117" y="63"/>
                    </a:lnTo>
                    <a:lnTo>
                      <a:pt x="125" y="61"/>
                    </a:lnTo>
                    <a:lnTo>
                      <a:pt x="132" y="59"/>
                    </a:lnTo>
                    <a:lnTo>
                      <a:pt x="136" y="55"/>
                    </a:lnTo>
                    <a:lnTo>
                      <a:pt x="136" y="51"/>
                    </a:lnTo>
                    <a:lnTo>
                      <a:pt x="138" y="50"/>
                    </a:lnTo>
                    <a:lnTo>
                      <a:pt x="142" y="50"/>
                    </a:lnTo>
                    <a:lnTo>
                      <a:pt x="144" y="50"/>
                    </a:lnTo>
                    <a:lnTo>
                      <a:pt x="146" y="44"/>
                    </a:lnTo>
                    <a:lnTo>
                      <a:pt x="146" y="36"/>
                    </a:lnTo>
                    <a:lnTo>
                      <a:pt x="140" y="34"/>
                    </a:lnTo>
                    <a:close/>
                    <a:moveTo>
                      <a:pt x="142" y="21"/>
                    </a:moveTo>
                    <a:lnTo>
                      <a:pt x="146" y="28"/>
                    </a:lnTo>
                    <a:lnTo>
                      <a:pt x="148" y="40"/>
                    </a:lnTo>
                    <a:lnTo>
                      <a:pt x="150" y="40"/>
                    </a:lnTo>
                    <a:lnTo>
                      <a:pt x="151" y="38"/>
                    </a:lnTo>
                    <a:lnTo>
                      <a:pt x="153" y="36"/>
                    </a:lnTo>
                    <a:lnTo>
                      <a:pt x="151" y="34"/>
                    </a:lnTo>
                    <a:lnTo>
                      <a:pt x="153" y="34"/>
                    </a:lnTo>
                    <a:lnTo>
                      <a:pt x="153" y="30"/>
                    </a:lnTo>
                    <a:lnTo>
                      <a:pt x="148" y="26"/>
                    </a:lnTo>
                    <a:lnTo>
                      <a:pt x="142" y="21"/>
                    </a:lnTo>
                    <a:close/>
                    <a:moveTo>
                      <a:pt x="127" y="11"/>
                    </a:moveTo>
                    <a:lnTo>
                      <a:pt x="127" y="15"/>
                    </a:lnTo>
                    <a:lnTo>
                      <a:pt x="132" y="19"/>
                    </a:lnTo>
                    <a:lnTo>
                      <a:pt x="136" y="21"/>
                    </a:lnTo>
                    <a:lnTo>
                      <a:pt x="140" y="21"/>
                    </a:lnTo>
                    <a:lnTo>
                      <a:pt x="140" y="17"/>
                    </a:lnTo>
                    <a:lnTo>
                      <a:pt x="134" y="15"/>
                    </a:lnTo>
                    <a:lnTo>
                      <a:pt x="127" y="11"/>
                    </a:lnTo>
                    <a:close/>
                    <a:moveTo>
                      <a:pt x="117" y="7"/>
                    </a:moveTo>
                    <a:lnTo>
                      <a:pt x="119" y="11"/>
                    </a:lnTo>
                    <a:lnTo>
                      <a:pt x="119" y="13"/>
                    </a:lnTo>
                    <a:lnTo>
                      <a:pt x="123" y="13"/>
                    </a:lnTo>
                    <a:lnTo>
                      <a:pt x="123" y="11"/>
                    </a:lnTo>
                    <a:lnTo>
                      <a:pt x="123" y="9"/>
                    </a:lnTo>
                    <a:lnTo>
                      <a:pt x="117" y="7"/>
                    </a:lnTo>
                    <a:close/>
                    <a:moveTo>
                      <a:pt x="73" y="0"/>
                    </a:moveTo>
                    <a:lnTo>
                      <a:pt x="73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79" y="2"/>
                    </a:lnTo>
                    <a:lnTo>
                      <a:pt x="73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6" name="Freeform 114"/>
              <p:cNvSpPr>
                <a:spLocks noEditPoints="1"/>
              </p:cNvSpPr>
              <p:nvPr/>
            </p:nvSpPr>
            <p:spPr bwMode="gray">
              <a:xfrm>
                <a:off x="2684566" y="4217989"/>
                <a:ext cx="119049" cy="66675"/>
              </a:xfrm>
              <a:custGeom>
                <a:avLst/>
                <a:gdLst>
                  <a:gd name="T0" fmla="*/ 4 w 75"/>
                  <a:gd name="T1" fmla="*/ 0 h 42"/>
                  <a:gd name="T2" fmla="*/ 2 w 75"/>
                  <a:gd name="T3" fmla="*/ 1 h 42"/>
                  <a:gd name="T4" fmla="*/ 2 w 75"/>
                  <a:gd name="T5" fmla="*/ 11 h 42"/>
                  <a:gd name="T6" fmla="*/ 2 w 75"/>
                  <a:gd name="T7" fmla="*/ 19 h 42"/>
                  <a:gd name="T8" fmla="*/ 10 w 75"/>
                  <a:gd name="T9" fmla="*/ 21 h 42"/>
                  <a:gd name="T10" fmla="*/ 19 w 75"/>
                  <a:gd name="T11" fmla="*/ 26 h 42"/>
                  <a:gd name="T12" fmla="*/ 23 w 75"/>
                  <a:gd name="T13" fmla="*/ 28 h 42"/>
                  <a:gd name="T14" fmla="*/ 27 w 75"/>
                  <a:gd name="T15" fmla="*/ 32 h 42"/>
                  <a:gd name="T16" fmla="*/ 40 w 75"/>
                  <a:gd name="T17" fmla="*/ 34 h 42"/>
                  <a:gd name="T18" fmla="*/ 36 w 75"/>
                  <a:gd name="T19" fmla="*/ 32 h 42"/>
                  <a:gd name="T20" fmla="*/ 38 w 75"/>
                  <a:gd name="T21" fmla="*/ 30 h 42"/>
                  <a:gd name="T22" fmla="*/ 36 w 75"/>
                  <a:gd name="T23" fmla="*/ 24 h 42"/>
                  <a:gd name="T24" fmla="*/ 33 w 75"/>
                  <a:gd name="T25" fmla="*/ 21 h 42"/>
                  <a:gd name="T26" fmla="*/ 42 w 75"/>
                  <a:gd name="T27" fmla="*/ 15 h 42"/>
                  <a:gd name="T28" fmla="*/ 44 w 75"/>
                  <a:gd name="T29" fmla="*/ 11 h 42"/>
                  <a:gd name="T30" fmla="*/ 48 w 75"/>
                  <a:gd name="T31" fmla="*/ 9 h 42"/>
                  <a:gd name="T32" fmla="*/ 56 w 75"/>
                  <a:gd name="T33" fmla="*/ 23 h 42"/>
                  <a:gd name="T34" fmla="*/ 63 w 75"/>
                  <a:gd name="T35" fmla="*/ 21 h 42"/>
                  <a:gd name="T36" fmla="*/ 61 w 75"/>
                  <a:gd name="T37" fmla="*/ 24 h 42"/>
                  <a:gd name="T38" fmla="*/ 60 w 75"/>
                  <a:gd name="T39" fmla="*/ 36 h 42"/>
                  <a:gd name="T40" fmla="*/ 65 w 75"/>
                  <a:gd name="T41" fmla="*/ 42 h 42"/>
                  <a:gd name="T42" fmla="*/ 71 w 75"/>
                  <a:gd name="T43" fmla="*/ 42 h 42"/>
                  <a:gd name="T44" fmla="*/ 73 w 75"/>
                  <a:gd name="T45" fmla="*/ 36 h 42"/>
                  <a:gd name="T46" fmla="*/ 73 w 75"/>
                  <a:gd name="T47" fmla="*/ 28 h 42"/>
                  <a:gd name="T48" fmla="*/ 73 w 75"/>
                  <a:gd name="T49" fmla="*/ 21 h 42"/>
                  <a:gd name="T50" fmla="*/ 56 w 75"/>
                  <a:gd name="T51" fmla="*/ 1 h 42"/>
                  <a:gd name="T52" fmla="*/ 44 w 75"/>
                  <a:gd name="T53" fmla="*/ 0 h 42"/>
                  <a:gd name="T54" fmla="*/ 42 w 75"/>
                  <a:gd name="T55" fmla="*/ 5 h 42"/>
                  <a:gd name="T56" fmla="*/ 21 w 75"/>
                  <a:gd name="T57" fmla="*/ 11 h 42"/>
                  <a:gd name="T58" fmla="*/ 17 w 75"/>
                  <a:gd name="T59" fmla="*/ 7 h 42"/>
                  <a:gd name="T60" fmla="*/ 12 w 75"/>
                  <a:gd name="T61" fmla="*/ 9 h 42"/>
                  <a:gd name="T62" fmla="*/ 6 w 75"/>
                  <a:gd name="T63" fmla="*/ 0 h 42"/>
                  <a:gd name="T64" fmla="*/ 19 w 75"/>
                  <a:gd name="T65" fmla="*/ 36 h 42"/>
                  <a:gd name="T66" fmla="*/ 17 w 75"/>
                  <a:gd name="T67" fmla="*/ 3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42">
                    <a:moveTo>
                      <a:pt x="6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2" y="11"/>
                    </a:lnTo>
                    <a:lnTo>
                      <a:pt x="2" y="15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10" y="21"/>
                    </a:lnTo>
                    <a:lnTo>
                      <a:pt x="19" y="23"/>
                    </a:lnTo>
                    <a:lnTo>
                      <a:pt x="19" y="26"/>
                    </a:lnTo>
                    <a:lnTo>
                      <a:pt x="19" y="28"/>
                    </a:lnTo>
                    <a:lnTo>
                      <a:pt x="23" y="28"/>
                    </a:lnTo>
                    <a:lnTo>
                      <a:pt x="27" y="28"/>
                    </a:lnTo>
                    <a:lnTo>
                      <a:pt x="27" y="32"/>
                    </a:lnTo>
                    <a:lnTo>
                      <a:pt x="33" y="34"/>
                    </a:lnTo>
                    <a:lnTo>
                      <a:pt x="40" y="34"/>
                    </a:lnTo>
                    <a:lnTo>
                      <a:pt x="38" y="32"/>
                    </a:lnTo>
                    <a:lnTo>
                      <a:pt x="36" y="32"/>
                    </a:lnTo>
                    <a:lnTo>
                      <a:pt x="35" y="32"/>
                    </a:lnTo>
                    <a:lnTo>
                      <a:pt x="38" y="30"/>
                    </a:lnTo>
                    <a:lnTo>
                      <a:pt x="36" y="26"/>
                    </a:lnTo>
                    <a:lnTo>
                      <a:pt x="36" y="24"/>
                    </a:lnTo>
                    <a:lnTo>
                      <a:pt x="33" y="24"/>
                    </a:lnTo>
                    <a:lnTo>
                      <a:pt x="33" y="21"/>
                    </a:lnTo>
                    <a:lnTo>
                      <a:pt x="36" y="17"/>
                    </a:lnTo>
                    <a:lnTo>
                      <a:pt x="42" y="15"/>
                    </a:lnTo>
                    <a:lnTo>
                      <a:pt x="40" y="13"/>
                    </a:lnTo>
                    <a:lnTo>
                      <a:pt x="44" y="11"/>
                    </a:lnTo>
                    <a:lnTo>
                      <a:pt x="46" y="11"/>
                    </a:lnTo>
                    <a:lnTo>
                      <a:pt x="48" y="9"/>
                    </a:lnTo>
                    <a:lnTo>
                      <a:pt x="52" y="15"/>
                    </a:lnTo>
                    <a:lnTo>
                      <a:pt x="56" y="23"/>
                    </a:lnTo>
                    <a:lnTo>
                      <a:pt x="60" y="21"/>
                    </a:lnTo>
                    <a:lnTo>
                      <a:pt x="63" y="21"/>
                    </a:lnTo>
                    <a:lnTo>
                      <a:pt x="61" y="23"/>
                    </a:lnTo>
                    <a:lnTo>
                      <a:pt x="61" y="24"/>
                    </a:lnTo>
                    <a:lnTo>
                      <a:pt x="60" y="30"/>
                    </a:lnTo>
                    <a:lnTo>
                      <a:pt x="60" y="36"/>
                    </a:lnTo>
                    <a:lnTo>
                      <a:pt x="61" y="40"/>
                    </a:lnTo>
                    <a:lnTo>
                      <a:pt x="65" y="42"/>
                    </a:lnTo>
                    <a:lnTo>
                      <a:pt x="67" y="42"/>
                    </a:lnTo>
                    <a:lnTo>
                      <a:pt x="71" y="42"/>
                    </a:lnTo>
                    <a:lnTo>
                      <a:pt x="71" y="38"/>
                    </a:lnTo>
                    <a:lnTo>
                      <a:pt x="73" y="36"/>
                    </a:lnTo>
                    <a:lnTo>
                      <a:pt x="75" y="32"/>
                    </a:lnTo>
                    <a:lnTo>
                      <a:pt x="73" y="28"/>
                    </a:lnTo>
                    <a:lnTo>
                      <a:pt x="71" y="26"/>
                    </a:lnTo>
                    <a:lnTo>
                      <a:pt x="73" y="21"/>
                    </a:lnTo>
                    <a:lnTo>
                      <a:pt x="63" y="13"/>
                    </a:lnTo>
                    <a:lnTo>
                      <a:pt x="56" y="1"/>
                    </a:lnTo>
                    <a:lnTo>
                      <a:pt x="48" y="1"/>
                    </a:lnTo>
                    <a:lnTo>
                      <a:pt x="44" y="0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31" y="9"/>
                    </a:lnTo>
                    <a:lnTo>
                      <a:pt x="21" y="11"/>
                    </a:lnTo>
                    <a:lnTo>
                      <a:pt x="19" y="9"/>
                    </a:lnTo>
                    <a:lnTo>
                      <a:pt x="17" y="7"/>
                    </a:lnTo>
                    <a:lnTo>
                      <a:pt x="15" y="9"/>
                    </a:lnTo>
                    <a:lnTo>
                      <a:pt x="12" y="9"/>
                    </a:lnTo>
                    <a:lnTo>
                      <a:pt x="10" y="5"/>
                    </a:lnTo>
                    <a:lnTo>
                      <a:pt x="6" y="0"/>
                    </a:lnTo>
                    <a:close/>
                    <a:moveTo>
                      <a:pt x="17" y="32"/>
                    </a:moveTo>
                    <a:lnTo>
                      <a:pt x="19" y="36"/>
                    </a:lnTo>
                    <a:lnTo>
                      <a:pt x="19" y="36"/>
                    </a:lnTo>
                    <a:lnTo>
                      <a:pt x="17" y="3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7" name="Freeform 115"/>
              <p:cNvSpPr>
                <a:spLocks/>
              </p:cNvSpPr>
              <p:nvPr/>
            </p:nvSpPr>
            <p:spPr bwMode="gray">
              <a:xfrm>
                <a:off x="5541749" y="3529014"/>
                <a:ext cx="301591" cy="341313"/>
              </a:xfrm>
              <a:custGeom>
                <a:avLst/>
                <a:gdLst>
                  <a:gd name="T0" fmla="*/ 90 w 190"/>
                  <a:gd name="T1" fmla="*/ 209 h 215"/>
                  <a:gd name="T2" fmla="*/ 100 w 190"/>
                  <a:gd name="T3" fmla="*/ 199 h 215"/>
                  <a:gd name="T4" fmla="*/ 106 w 190"/>
                  <a:gd name="T5" fmla="*/ 190 h 215"/>
                  <a:gd name="T6" fmla="*/ 100 w 190"/>
                  <a:gd name="T7" fmla="*/ 178 h 215"/>
                  <a:gd name="T8" fmla="*/ 96 w 190"/>
                  <a:gd name="T9" fmla="*/ 165 h 215"/>
                  <a:gd name="T10" fmla="*/ 106 w 190"/>
                  <a:gd name="T11" fmla="*/ 157 h 215"/>
                  <a:gd name="T12" fmla="*/ 111 w 190"/>
                  <a:gd name="T13" fmla="*/ 155 h 215"/>
                  <a:gd name="T14" fmla="*/ 123 w 190"/>
                  <a:gd name="T15" fmla="*/ 144 h 215"/>
                  <a:gd name="T16" fmla="*/ 129 w 190"/>
                  <a:gd name="T17" fmla="*/ 132 h 215"/>
                  <a:gd name="T18" fmla="*/ 142 w 190"/>
                  <a:gd name="T19" fmla="*/ 125 h 215"/>
                  <a:gd name="T20" fmla="*/ 150 w 190"/>
                  <a:gd name="T21" fmla="*/ 115 h 215"/>
                  <a:gd name="T22" fmla="*/ 152 w 190"/>
                  <a:gd name="T23" fmla="*/ 100 h 215"/>
                  <a:gd name="T24" fmla="*/ 159 w 190"/>
                  <a:gd name="T25" fmla="*/ 88 h 215"/>
                  <a:gd name="T26" fmla="*/ 154 w 190"/>
                  <a:gd name="T27" fmla="*/ 77 h 215"/>
                  <a:gd name="T28" fmla="*/ 146 w 190"/>
                  <a:gd name="T29" fmla="*/ 71 h 215"/>
                  <a:gd name="T30" fmla="*/ 140 w 190"/>
                  <a:gd name="T31" fmla="*/ 56 h 215"/>
                  <a:gd name="T32" fmla="*/ 148 w 190"/>
                  <a:gd name="T33" fmla="*/ 46 h 215"/>
                  <a:gd name="T34" fmla="*/ 156 w 190"/>
                  <a:gd name="T35" fmla="*/ 46 h 215"/>
                  <a:gd name="T36" fmla="*/ 161 w 190"/>
                  <a:gd name="T37" fmla="*/ 42 h 215"/>
                  <a:gd name="T38" fmla="*/ 175 w 190"/>
                  <a:gd name="T39" fmla="*/ 36 h 215"/>
                  <a:gd name="T40" fmla="*/ 184 w 190"/>
                  <a:gd name="T41" fmla="*/ 29 h 215"/>
                  <a:gd name="T42" fmla="*/ 190 w 190"/>
                  <a:gd name="T43" fmla="*/ 17 h 215"/>
                  <a:gd name="T44" fmla="*/ 182 w 190"/>
                  <a:gd name="T45" fmla="*/ 8 h 215"/>
                  <a:gd name="T46" fmla="*/ 159 w 190"/>
                  <a:gd name="T47" fmla="*/ 0 h 215"/>
                  <a:gd name="T48" fmla="*/ 154 w 190"/>
                  <a:gd name="T49" fmla="*/ 2 h 215"/>
                  <a:gd name="T50" fmla="*/ 136 w 190"/>
                  <a:gd name="T51" fmla="*/ 6 h 215"/>
                  <a:gd name="T52" fmla="*/ 115 w 190"/>
                  <a:gd name="T53" fmla="*/ 15 h 215"/>
                  <a:gd name="T54" fmla="*/ 111 w 190"/>
                  <a:gd name="T55" fmla="*/ 27 h 215"/>
                  <a:gd name="T56" fmla="*/ 111 w 190"/>
                  <a:gd name="T57" fmla="*/ 38 h 215"/>
                  <a:gd name="T58" fmla="*/ 100 w 190"/>
                  <a:gd name="T59" fmla="*/ 38 h 215"/>
                  <a:gd name="T60" fmla="*/ 102 w 190"/>
                  <a:gd name="T61" fmla="*/ 48 h 215"/>
                  <a:gd name="T62" fmla="*/ 96 w 190"/>
                  <a:gd name="T63" fmla="*/ 59 h 215"/>
                  <a:gd name="T64" fmla="*/ 96 w 190"/>
                  <a:gd name="T65" fmla="*/ 71 h 215"/>
                  <a:gd name="T66" fmla="*/ 85 w 190"/>
                  <a:gd name="T67" fmla="*/ 69 h 215"/>
                  <a:gd name="T68" fmla="*/ 79 w 190"/>
                  <a:gd name="T69" fmla="*/ 71 h 215"/>
                  <a:gd name="T70" fmla="*/ 77 w 190"/>
                  <a:gd name="T71" fmla="*/ 80 h 215"/>
                  <a:gd name="T72" fmla="*/ 73 w 190"/>
                  <a:gd name="T73" fmla="*/ 84 h 215"/>
                  <a:gd name="T74" fmla="*/ 60 w 190"/>
                  <a:gd name="T75" fmla="*/ 94 h 215"/>
                  <a:gd name="T76" fmla="*/ 52 w 190"/>
                  <a:gd name="T77" fmla="*/ 103 h 215"/>
                  <a:gd name="T78" fmla="*/ 44 w 190"/>
                  <a:gd name="T79" fmla="*/ 109 h 215"/>
                  <a:gd name="T80" fmla="*/ 37 w 190"/>
                  <a:gd name="T81" fmla="*/ 113 h 215"/>
                  <a:gd name="T82" fmla="*/ 21 w 190"/>
                  <a:gd name="T83" fmla="*/ 113 h 215"/>
                  <a:gd name="T84" fmla="*/ 4 w 190"/>
                  <a:gd name="T85" fmla="*/ 107 h 215"/>
                  <a:gd name="T86" fmla="*/ 6 w 190"/>
                  <a:gd name="T87" fmla="*/ 125 h 215"/>
                  <a:gd name="T88" fmla="*/ 14 w 190"/>
                  <a:gd name="T89" fmla="*/ 136 h 215"/>
                  <a:gd name="T90" fmla="*/ 23 w 190"/>
                  <a:gd name="T91" fmla="*/ 144 h 215"/>
                  <a:gd name="T92" fmla="*/ 29 w 190"/>
                  <a:gd name="T93" fmla="*/ 155 h 215"/>
                  <a:gd name="T94" fmla="*/ 25 w 190"/>
                  <a:gd name="T95" fmla="*/ 163 h 215"/>
                  <a:gd name="T96" fmla="*/ 10 w 190"/>
                  <a:gd name="T97" fmla="*/ 167 h 215"/>
                  <a:gd name="T98" fmla="*/ 0 w 190"/>
                  <a:gd name="T99" fmla="*/ 192 h 215"/>
                  <a:gd name="T100" fmla="*/ 29 w 190"/>
                  <a:gd name="T101" fmla="*/ 186 h 215"/>
                  <a:gd name="T102" fmla="*/ 60 w 190"/>
                  <a:gd name="T103" fmla="*/ 186 h 215"/>
                  <a:gd name="T104" fmla="*/ 64 w 190"/>
                  <a:gd name="T105" fmla="*/ 196 h 215"/>
                  <a:gd name="T106" fmla="*/ 67 w 190"/>
                  <a:gd name="T107" fmla="*/ 199 h 215"/>
                  <a:gd name="T108" fmla="*/ 75 w 190"/>
                  <a:gd name="T109" fmla="*/ 201 h 215"/>
                  <a:gd name="T110" fmla="*/ 77 w 190"/>
                  <a:gd name="T111" fmla="*/ 205 h 215"/>
                  <a:gd name="T112" fmla="*/ 77 w 190"/>
                  <a:gd name="T113" fmla="*/ 209 h 215"/>
                  <a:gd name="T114" fmla="*/ 77 w 190"/>
                  <a:gd name="T115" fmla="*/ 21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0" h="215">
                    <a:moveTo>
                      <a:pt x="87" y="215"/>
                    </a:moveTo>
                    <a:lnTo>
                      <a:pt x="90" y="209"/>
                    </a:lnTo>
                    <a:lnTo>
                      <a:pt x="92" y="201"/>
                    </a:lnTo>
                    <a:lnTo>
                      <a:pt x="100" y="199"/>
                    </a:lnTo>
                    <a:lnTo>
                      <a:pt x="108" y="198"/>
                    </a:lnTo>
                    <a:lnTo>
                      <a:pt x="106" y="190"/>
                    </a:lnTo>
                    <a:lnTo>
                      <a:pt x="100" y="184"/>
                    </a:lnTo>
                    <a:lnTo>
                      <a:pt x="100" y="178"/>
                    </a:lnTo>
                    <a:lnTo>
                      <a:pt x="104" y="174"/>
                    </a:lnTo>
                    <a:lnTo>
                      <a:pt x="96" y="165"/>
                    </a:lnTo>
                    <a:lnTo>
                      <a:pt x="100" y="161"/>
                    </a:lnTo>
                    <a:lnTo>
                      <a:pt x="106" y="157"/>
                    </a:lnTo>
                    <a:lnTo>
                      <a:pt x="108" y="151"/>
                    </a:lnTo>
                    <a:lnTo>
                      <a:pt x="111" y="155"/>
                    </a:lnTo>
                    <a:lnTo>
                      <a:pt x="117" y="150"/>
                    </a:lnTo>
                    <a:lnTo>
                      <a:pt x="123" y="144"/>
                    </a:lnTo>
                    <a:lnTo>
                      <a:pt x="127" y="140"/>
                    </a:lnTo>
                    <a:lnTo>
                      <a:pt x="129" y="132"/>
                    </a:lnTo>
                    <a:lnTo>
                      <a:pt x="138" y="128"/>
                    </a:lnTo>
                    <a:lnTo>
                      <a:pt x="142" y="125"/>
                    </a:lnTo>
                    <a:lnTo>
                      <a:pt x="144" y="119"/>
                    </a:lnTo>
                    <a:lnTo>
                      <a:pt x="150" y="115"/>
                    </a:lnTo>
                    <a:lnTo>
                      <a:pt x="150" y="107"/>
                    </a:lnTo>
                    <a:lnTo>
                      <a:pt x="152" y="100"/>
                    </a:lnTo>
                    <a:lnTo>
                      <a:pt x="158" y="94"/>
                    </a:lnTo>
                    <a:lnTo>
                      <a:pt x="159" y="88"/>
                    </a:lnTo>
                    <a:lnTo>
                      <a:pt x="159" y="82"/>
                    </a:lnTo>
                    <a:lnTo>
                      <a:pt x="154" y="77"/>
                    </a:lnTo>
                    <a:lnTo>
                      <a:pt x="150" y="73"/>
                    </a:lnTo>
                    <a:lnTo>
                      <a:pt x="146" y="71"/>
                    </a:lnTo>
                    <a:lnTo>
                      <a:pt x="144" y="59"/>
                    </a:lnTo>
                    <a:lnTo>
                      <a:pt x="140" y="56"/>
                    </a:lnTo>
                    <a:lnTo>
                      <a:pt x="142" y="50"/>
                    </a:lnTo>
                    <a:lnTo>
                      <a:pt x="148" y="46"/>
                    </a:lnTo>
                    <a:lnTo>
                      <a:pt x="152" y="44"/>
                    </a:lnTo>
                    <a:lnTo>
                      <a:pt x="156" y="46"/>
                    </a:lnTo>
                    <a:lnTo>
                      <a:pt x="159" y="44"/>
                    </a:lnTo>
                    <a:lnTo>
                      <a:pt x="161" y="42"/>
                    </a:lnTo>
                    <a:lnTo>
                      <a:pt x="167" y="38"/>
                    </a:lnTo>
                    <a:lnTo>
                      <a:pt x="175" y="36"/>
                    </a:lnTo>
                    <a:lnTo>
                      <a:pt x="181" y="32"/>
                    </a:lnTo>
                    <a:lnTo>
                      <a:pt x="184" y="29"/>
                    </a:lnTo>
                    <a:lnTo>
                      <a:pt x="188" y="25"/>
                    </a:lnTo>
                    <a:lnTo>
                      <a:pt x="190" y="17"/>
                    </a:lnTo>
                    <a:lnTo>
                      <a:pt x="186" y="11"/>
                    </a:lnTo>
                    <a:lnTo>
                      <a:pt x="182" y="8"/>
                    </a:lnTo>
                    <a:lnTo>
                      <a:pt x="169" y="0"/>
                    </a:lnTo>
                    <a:lnTo>
                      <a:pt x="159" y="0"/>
                    </a:lnTo>
                    <a:lnTo>
                      <a:pt x="158" y="2"/>
                    </a:lnTo>
                    <a:lnTo>
                      <a:pt x="154" y="2"/>
                    </a:lnTo>
                    <a:lnTo>
                      <a:pt x="146" y="2"/>
                    </a:lnTo>
                    <a:lnTo>
                      <a:pt x="136" y="6"/>
                    </a:lnTo>
                    <a:lnTo>
                      <a:pt x="129" y="8"/>
                    </a:lnTo>
                    <a:lnTo>
                      <a:pt x="115" y="15"/>
                    </a:lnTo>
                    <a:lnTo>
                      <a:pt x="115" y="23"/>
                    </a:lnTo>
                    <a:lnTo>
                      <a:pt x="111" y="27"/>
                    </a:lnTo>
                    <a:lnTo>
                      <a:pt x="113" y="31"/>
                    </a:lnTo>
                    <a:lnTo>
                      <a:pt x="111" y="38"/>
                    </a:lnTo>
                    <a:lnTo>
                      <a:pt x="106" y="40"/>
                    </a:lnTo>
                    <a:lnTo>
                      <a:pt x="100" y="38"/>
                    </a:lnTo>
                    <a:lnTo>
                      <a:pt x="98" y="44"/>
                    </a:lnTo>
                    <a:lnTo>
                      <a:pt x="102" y="48"/>
                    </a:lnTo>
                    <a:lnTo>
                      <a:pt x="102" y="56"/>
                    </a:lnTo>
                    <a:lnTo>
                      <a:pt x="96" y="59"/>
                    </a:lnTo>
                    <a:lnTo>
                      <a:pt x="96" y="65"/>
                    </a:lnTo>
                    <a:lnTo>
                      <a:pt x="96" y="71"/>
                    </a:lnTo>
                    <a:lnTo>
                      <a:pt x="90" y="71"/>
                    </a:lnTo>
                    <a:lnTo>
                      <a:pt x="85" y="69"/>
                    </a:lnTo>
                    <a:lnTo>
                      <a:pt x="83" y="67"/>
                    </a:lnTo>
                    <a:lnTo>
                      <a:pt x="79" y="71"/>
                    </a:lnTo>
                    <a:lnTo>
                      <a:pt x="73" y="75"/>
                    </a:lnTo>
                    <a:lnTo>
                      <a:pt x="77" y="80"/>
                    </a:lnTo>
                    <a:lnTo>
                      <a:pt x="75" y="82"/>
                    </a:lnTo>
                    <a:lnTo>
                      <a:pt x="73" y="84"/>
                    </a:lnTo>
                    <a:lnTo>
                      <a:pt x="69" y="82"/>
                    </a:lnTo>
                    <a:lnTo>
                      <a:pt x="60" y="94"/>
                    </a:lnTo>
                    <a:lnTo>
                      <a:pt x="54" y="98"/>
                    </a:lnTo>
                    <a:lnTo>
                      <a:pt x="52" y="103"/>
                    </a:lnTo>
                    <a:lnTo>
                      <a:pt x="52" y="109"/>
                    </a:lnTo>
                    <a:lnTo>
                      <a:pt x="44" y="109"/>
                    </a:lnTo>
                    <a:lnTo>
                      <a:pt x="42" y="115"/>
                    </a:lnTo>
                    <a:lnTo>
                      <a:pt x="37" y="113"/>
                    </a:lnTo>
                    <a:lnTo>
                      <a:pt x="25" y="113"/>
                    </a:lnTo>
                    <a:lnTo>
                      <a:pt x="21" y="113"/>
                    </a:lnTo>
                    <a:lnTo>
                      <a:pt x="16" y="115"/>
                    </a:lnTo>
                    <a:lnTo>
                      <a:pt x="4" y="107"/>
                    </a:lnTo>
                    <a:lnTo>
                      <a:pt x="8" y="121"/>
                    </a:lnTo>
                    <a:lnTo>
                      <a:pt x="6" y="125"/>
                    </a:lnTo>
                    <a:lnTo>
                      <a:pt x="8" y="128"/>
                    </a:lnTo>
                    <a:lnTo>
                      <a:pt x="14" y="136"/>
                    </a:lnTo>
                    <a:lnTo>
                      <a:pt x="19" y="138"/>
                    </a:lnTo>
                    <a:lnTo>
                      <a:pt x="23" y="144"/>
                    </a:lnTo>
                    <a:lnTo>
                      <a:pt x="23" y="151"/>
                    </a:lnTo>
                    <a:lnTo>
                      <a:pt x="29" y="155"/>
                    </a:lnTo>
                    <a:lnTo>
                      <a:pt x="29" y="159"/>
                    </a:lnTo>
                    <a:lnTo>
                      <a:pt x="25" y="163"/>
                    </a:lnTo>
                    <a:lnTo>
                      <a:pt x="17" y="165"/>
                    </a:lnTo>
                    <a:lnTo>
                      <a:pt x="10" y="167"/>
                    </a:lnTo>
                    <a:lnTo>
                      <a:pt x="2" y="178"/>
                    </a:lnTo>
                    <a:lnTo>
                      <a:pt x="0" y="192"/>
                    </a:lnTo>
                    <a:lnTo>
                      <a:pt x="12" y="190"/>
                    </a:lnTo>
                    <a:lnTo>
                      <a:pt x="29" y="186"/>
                    </a:lnTo>
                    <a:lnTo>
                      <a:pt x="46" y="184"/>
                    </a:lnTo>
                    <a:lnTo>
                      <a:pt x="60" y="186"/>
                    </a:lnTo>
                    <a:lnTo>
                      <a:pt x="65" y="194"/>
                    </a:lnTo>
                    <a:lnTo>
                      <a:pt x="64" y="196"/>
                    </a:lnTo>
                    <a:lnTo>
                      <a:pt x="64" y="199"/>
                    </a:lnTo>
                    <a:lnTo>
                      <a:pt x="67" y="199"/>
                    </a:lnTo>
                    <a:lnTo>
                      <a:pt x="71" y="199"/>
                    </a:lnTo>
                    <a:lnTo>
                      <a:pt x="75" y="201"/>
                    </a:lnTo>
                    <a:lnTo>
                      <a:pt x="77" y="203"/>
                    </a:lnTo>
                    <a:lnTo>
                      <a:pt x="77" y="205"/>
                    </a:lnTo>
                    <a:lnTo>
                      <a:pt x="75" y="207"/>
                    </a:lnTo>
                    <a:lnTo>
                      <a:pt x="77" y="209"/>
                    </a:lnTo>
                    <a:lnTo>
                      <a:pt x="77" y="211"/>
                    </a:lnTo>
                    <a:lnTo>
                      <a:pt x="77" y="211"/>
                    </a:lnTo>
                    <a:lnTo>
                      <a:pt x="87" y="21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8" name="Freeform 116"/>
              <p:cNvSpPr>
                <a:spLocks noEditPoints="1"/>
              </p:cNvSpPr>
              <p:nvPr/>
            </p:nvSpPr>
            <p:spPr bwMode="gray">
              <a:xfrm>
                <a:off x="5356032" y="3805239"/>
                <a:ext cx="152383" cy="238125"/>
              </a:xfrm>
              <a:custGeom>
                <a:avLst/>
                <a:gdLst>
                  <a:gd name="T0" fmla="*/ 50 w 96"/>
                  <a:gd name="T1" fmla="*/ 12 h 150"/>
                  <a:gd name="T2" fmla="*/ 48 w 96"/>
                  <a:gd name="T3" fmla="*/ 6 h 150"/>
                  <a:gd name="T4" fmla="*/ 52 w 96"/>
                  <a:gd name="T5" fmla="*/ 0 h 150"/>
                  <a:gd name="T6" fmla="*/ 56 w 96"/>
                  <a:gd name="T7" fmla="*/ 14 h 150"/>
                  <a:gd name="T8" fmla="*/ 21 w 96"/>
                  <a:gd name="T9" fmla="*/ 148 h 150"/>
                  <a:gd name="T10" fmla="*/ 25 w 96"/>
                  <a:gd name="T11" fmla="*/ 146 h 150"/>
                  <a:gd name="T12" fmla="*/ 33 w 96"/>
                  <a:gd name="T13" fmla="*/ 142 h 150"/>
                  <a:gd name="T14" fmla="*/ 38 w 96"/>
                  <a:gd name="T15" fmla="*/ 137 h 150"/>
                  <a:gd name="T16" fmla="*/ 48 w 96"/>
                  <a:gd name="T17" fmla="*/ 131 h 150"/>
                  <a:gd name="T18" fmla="*/ 58 w 96"/>
                  <a:gd name="T19" fmla="*/ 123 h 150"/>
                  <a:gd name="T20" fmla="*/ 65 w 96"/>
                  <a:gd name="T21" fmla="*/ 119 h 150"/>
                  <a:gd name="T22" fmla="*/ 73 w 96"/>
                  <a:gd name="T23" fmla="*/ 106 h 150"/>
                  <a:gd name="T24" fmla="*/ 77 w 96"/>
                  <a:gd name="T25" fmla="*/ 95 h 150"/>
                  <a:gd name="T26" fmla="*/ 83 w 96"/>
                  <a:gd name="T27" fmla="*/ 87 h 150"/>
                  <a:gd name="T28" fmla="*/ 88 w 96"/>
                  <a:gd name="T29" fmla="*/ 75 h 150"/>
                  <a:gd name="T30" fmla="*/ 96 w 96"/>
                  <a:gd name="T31" fmla="*/ 64 h 150"/>
                  <a:gd name="T32" fmla="*/ 94 w 96"/>
                  <a:gd name="T33" fmla="*/ 54 h 150"/>
                  <a:gd name="T34" fmla="*/ 88 w 96"/>
                  <a:gd name="T35" fmla="*/ 47 h 150"/>
                  <a:gd name="T36" fmla="*/ 77 w 96"/>
                  <a:gd name="T37" fmla="*/ 35 h 150"/>
                  <a:gd name="T38" fmla="*/ 62 w 96"/>
                  <a:gd name="T39" fmla="*/ 25 h 150"/>
                  <a:gd name="T40" fmla="*/ 54 w 96"/>
                  <a:gd name="T41" fmla="*/ 18 h 150"/>
                  <a:gd name="T42" fmla="*/ 48 w 96"/>
                  <a:gd name="T43" fmla="*/ 20 h 150"/>
                  <a:gd name="T44" fmla="*/ 48 w 96"/>
                  <a:gd name="T45" fmla="*/ 24 h 150"/>
                  <a:gd name="T46" fmla="*/ 48 w 96"/>
                  <a:gd name="T47" fmla="*/ 25 h 150"/>
                  <a:gd name="T48" fmla="*/ 44 w 96"/>
                  <a:gd name="T49" fmla="*/ 29 h 150"/>
                  <a:gd name="T50" fmla="*/ 44 w 96"/>
                  <a:gd name="T51" fmla="*/ 31 h 150"/>
                  <a:gd name="T52" fmla="*/ 46 w 96"/>
                  <a:gd name="T53" fmla="*/ 33 h 150"/>
                  <a:gd name="T54" fmla="*/ 40 w 96"/>
                  <a:gd name="T55" fmla="*/ 47 h 150"/>
                  <a:gd name="T56" fmla="*/ 48 w 96"/>
                  <a:gd name="T57" fmla="*/ 60 h 150"/>
                  <a:gd name="T58" fmla="*/ 40 w 96"/>
                  <a:gd name="T59" fmla="*/ 98 h 150"/>
                  <a:gd name="T60" fmla="*/ 0 w 96"/>
                  <a:gd name="T61" fmla="*/ 116 h 150"/>
                  <a:gd name="T62" fmla="*/ 12 w 96"/>
                  <a:gd name="T63" fmla="*/ 14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150">
                    <a:moveTo>
                      <a:pt x="56" y="14"/>
                    </a:moveTo>
                    <a:lnTo>
                      <a:pt x="50" y="12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52" y="0"/>
                    </a:lnTo>
                    <a:lnTo>
                      <a:pt x="52" y="8"/>
                    </a:lnTo>
                    <a:lnTo>
                      <a:pt x="56" y="14"/>
                    </a:lnTo>
                    <a:close/>
                    <a:moveTo>
                      <a:pt x="19" y="150"/>
                    </a:moveTo>
                    <a:lnTo>
                      <a:pt x="21" y="148"/>
                    </a:lnTo>
                    <a:lnTo>
                      <a:pt x="23" y="148"/>
                    </a:lnTo>
                    <a:lnTo>
                      <a:pt x="25" y="146"/>
                    </a:lnTo>
                    <a:lnTo>
                      <a:pt x="29" y="142"/>
                    </a:lnTo>
                    <a:lnTo>
                      <a:pt x="33" y="142"/>
                    </a:lnTo>
                    <a:lnTo>
                      <a:pt x="37" y="142"/>
                    </a:lnTo>
                    <a:lnTo>
                      <a:pt x="38" y="137"/>
                    </a:lnTo>
                    <a:lnTo>
                      <a:pt x="42" y="131"/>
                    </a:lnTo>
                    <a:lnTo>
                      <a:pt x="48" y="131"/>
                    </a:lnTo>
                    <a:lnTo>
                      <a:pt x="54" y="131"/>
                    </a:lnTo>
                    <a:lnTo>
                      <a:pt x="58" y="123"/>
                    </a:lnTo>
                    <a:lnTo>
                      <a:pt x="60" y="119"/>
                    </a:lnTo>
                    <a:lnTo>
                      <a:pt x="65" y="119"/>
                    </a:lnTo>
                    <a:lnTo>
                      <a:pt x="73" y="116"/>
                    </a:lnTo>
                    <a:lnTo>
                      <a:pt x="73" y="106"/>
                    </a:lnTo>
                    <a:lnTo>
                      <a:pt x="75" y="95"/>
                    </a:lnTo>
                    <a:lnTo>
                      <a:pt x="77" y="95"/>
                    </a:lnTo>
                    <a:lnTo>
                      <a:pt x="81" y="95"/>
                    </a:lnTo>
                    <a:lnTo>
                      <a:pt x="83" y="87"/>
                    </a:lnTo>
                    <a:lnTo>
                      <a:pt x="85" y="79"/>
                    </a:lnTo>
                    <a:lnTo>
                      <a:pt x="88" y="75"/>
                    </a:lnTo>
                    <a:lnTo>
                      <a:pt x="92" y="70"/>
                    </a:lnTo>
                    <a:lnTo>
                      <a:pt x="96" y="64"/>
                    </a:lnTo>
                    <a:lnTo>
                      <a:pt x="96" y="56"/>
                    </a:lnTo>
                    <a:lnTo>
                      <a:pt x="94" y="54"/>
                    </a:lnTo>
                    <a:lnTo>
                      <a:pt x="90" y="54"/>
                    </a:lnTo>
                    <a:lnTo>
                      <a:pt x="88" y="47"/>
                    </a:lnTo>
                    <a:lnTo>
                      <a:pt x="85" y="39"/>
                    </a:lnTo>
                    <a:lnTo>
                      <a:pt x="77" y="35"/>
                    </a:lnTo>
                    <a:lnTo>
                      <a:pt x="69" y="33"/>
                    </a:lnTo>
                    <a:lnTo>
                      <a:pt x="62" y="25"/>
                    </a:lnTo>
                    <a:lnTo>
                      <a:pt x="56" y="16"/>
                    </a:lnTo>
                    <a:lnTo>
                      <a:pt x="54" y="18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5"/>
                    </a:lnTo>
                    <a:lnTo>
                      <a:pt x="44" y="27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6" y="33"/>
                    </a:lnTo>
                    <a:lnTo>
                      <a:pt x="44" y="41"/>
                    </a:lnTo>
                    <a:lnTo>
                      <a:pt x="40" y="47"/>
                    </a:lnTo>
                    <a:lnTo>
                      <a:pt x="40" y="50"/>
                    </a:lnTo>
                    <a:lnTo>
                      <a:pt x="48" y="60"/>
                    </a:lnTo>
                    <a:lnTo>
                      <a:pt x="46" y="79"/>
                    </a:lnTo>
                    <a:lnTo>
                      <a:pt x="40" y="98"/>
                    </a:lnTo>
                    <a:lnTo>
                      <a:pt x="17" y="108"/>
                    </a:lnTo>
                    <a:lnTo>
                      <a:pt x="0" y="116"/>
                    </a:lnTo>
                    <a:lnTo>
                      <a:pt x="0" y="119"/>
                    </a:lnTo>
                    <a:lnTo>
                      <a:pt x="12" y="142"/>
                    </a:lnTo>
                    <a:lnTo>
                      <a:pt x="19" y="15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19" name="Freeform 117"/>
              <p:cNvSpPr>
                <a:spLocks noEditPoints="1"/>
              </p:cNvSpPr>
              <p:nvPr/>
            </p:nvSpPr>
            <p:spPr bwMode="gray">
              <a:xfrm>
                <a:off x="4427448" y="2063751"/>
                <a:ext cx="520642" cy="842963"/>
              </a:xfrm>
              <a:custGeom>
                <a:avLst/>
                <a:gdLst>
                  <a:gd name="T0" fmla="*/ 92 w 328"/>
                  <a:gd name="T1" fmla="*/ 483 h 531"/>
                  <a:gd name="T2" fmla="*/ 90 w 328"/>
                  <a:gd name="T3" fmla="*/ 447 h 531"/>
                  <a:gd name="T4" fmla="*/ 113 w 328"/>
                  <a:gd name="T5" fmla="*/ 384 h 531"/>
                  <a:gd name="T6" fmla="*/ 148 w 328"/>
                  <a:gd name="T7" fmla="*/ 338 h 531"/>
                  <a:gd name="T8" fmla="*/ 176 w 328"/>
                  <a:gd name="T9" fmla="*/ 309 h 531"/>
                  <a:gd name="T10" fmla="*/ 211 w 328"/>
                  <a:gd name="T11" fmla="*/ 282 h 531"/>
                  <a:gd name="T12" fmla="*/ 263 w 328"/>
                  <a:gd name="T13" fmla="*/ 286 h 531"/>
                  <a:gd name="T14" fmla="*/ 299 w 328"/>
                  <a:gd name="T15" fmla="*/ 274 h 531"/>
                  <a:gd name="T16" fmla="*/ 322 w 328"/>
                  <a:gd name="T17" fmla="*/ 270 h 531"/>
                  <a:gd name="T18" fmla="*/ 320 w 328"/>
                  <a:gd name="T19" fmla="*/ 257 h 531"/>
                  <a:gd name="T20" fmla="*/ 313 w 328"/>
                  <a:gd name="T21" fmla="*/ 245 h 531"/>
                  <a:gd name="T22" fmla="*/ 299 w 328"/>
                  <a:gd name="T23" fmla="*/ 238 h 531"/>
                  <a:gd name="T24" fmla="*/ 276 w 328"/>
                  <a:gd name="T25" fmla="*/ 245 h 531"/>
                  <a:gd name="T26" fmla="*/ 257 w 328"/>
                  <a:gd name="T27" fmla="*/ 257 h 531"/>
                  <a:gd name="T28" fmla="*/ 247 w 328"/>
                  <a:gd name="T29" fmla="*/ 247 h 531"/>
                  <a:gd name="T30" fmla="*/ 213 w 328"/>
                  <a:gd name="T31" fmla="*/ 259 h 531"/>
                  <a:gd name="T32" fmla="*/ 192 w 328"/>
                  <a:gd name="T33" fmla="*/ 263 h 531"/>
                  <a:gd name="T34" fmla="*/ 176 w 328"/>
                  <a:gd name="T35" fmla="*/ 276 h 531"/>
                  <a:gd name="T36" fmla="*/ 159 w 328"/>
                  <a:gd name="T37" fmla="*/ 274 h 531"/>
                  <a:gd name="T38" fmla="*/ 153 w 328"/>
                  <a:gd name="T39" fmla="*/ 316 h 531"/>
                  <a:gd name="T40" fmla="*/ 125 w 328"/>
                  <a:gd name="T41" fmla="*/ 343 h 531"/>
                  <a:gd name="T42" fmla="*/ 100 w 328"/>
                  <a:gd name="T43" fmla="*/ 380 h 531"/>
                  <a:gd name="T44" fmla="*/ 77 w 328"/>
                  <a:gd name="T45" fmla="*/ 401 h 531"/>
                  <a:gd name="T46" fmla="*/ 63 w 328"/>
                  <a:gd name="T47" fmla="*/ 405 h 531"/>
                  <a:gd name="T48" fmla="*/ 48 w 328"/>
                  <a:gd name="T49" fmla="*/ 416 h 531"/>
                  <a:gd name="T50" fmla="*/ 21 w 328"/>
                  <a:gd name="T51" fmla="*/ 433 h 531"/>
                  <a:gd name="T52" fmla="*/ 0 w 328"/>
                  <a:gd name="T53" fmla="*/ 455 h 531"/>
                  <a:gd name="T54" fmla="*/ 7 w 328"/>
                  <a:gd name="T55" fmla="*/ 478 h 531"/>
                  <a:gd name="T56" fmla="*/ 17 w 328"/>
                  <a:gd name="T57" fmla="*/ 489 h 531"/>
                  <a:gd name="T58" fmla="*/ 13 w 328"/>
                  <a:gd name="T59" fmla="*/ 512 h 531"/>
                  <a:gd name="T60" fmla="*/ 54 w 328"/>
                  <a:gd name="T61" fmla="*/ 522 h 531"/>
                  <a:gd name="T62" fmla="*/ 29 w 328"/>
                  <a:gd name="T63" fmla="*/ 460 h 531"/>
                  <a:gd name="T64" fmla="*/ 19 w 328"/>
                  <a:gd name="T65" fmla="*/ 460 h 531"/>
                  <a:gd name="T66" fmla="*/ 161 w 328"/>
                  <a:gd name="T67" fmla="*/ 305 h 531"/>
                  <a:gd name="T68" fmla="*/ 130 w 328"/>
                  <a:gd name="T69" fmla="*/ 290 h 531"/>
                  <a:gd name="T70" fmla="*/ 134 w 328"/>
                  <a:gd name="T71" fmla="*/ 301 h 531"/>
                  <a:gd name="T72" fmla="*/ 149 w 328"/>
                  <a:gd name="T73" fmla="*/ 280 h 531"/>
                  <a:gd name="T74" fmla="*/ 171 w 328"/>
                  <a:gd name="T75" fmla="*/ 261 h 531"/>
                  <a:gd name="T76" fmla="*/ 188 w 328"/>
                  <a:gd name="T77" fmla="*/ 249 h 531"/>
                  <a:gd name="T78" fmla="*/ 219 w 328"/>
                  <a:gd name="T79" fmla="*/ 245 h 531"/>
                  <a:gd name="T80" fmla="*/ 242 w 328"/>
                  <a:gd name="T81" fmla="*/ 236 h 531"/>
                  <a:gd name="T82" fmla="*/ 226 w 328"/>
                  <a:gd name="T83" fmla="*/ 234 h 531"/>
                  <a:gd name="T84" fmla="*/ 199 w 328"/>
                  <a:gd name="T85" fmla="*/ 88 h 531"/>
                  <a:gd name="T86" fmla="*/ 192 w 328"/>
                  <a:gd name="T87" fmla="*/ 65 h 531"/>
                  <a:gd name="T88" fmla="*/ 209 w 328"/>
                  <a:gd name="T89" fmla="*/ 67 h 531"/>
                  <a:gd name="T90" fmla="*/ 313 w 328"/>
                  <a:gd name="T91" fmla="*/ 52 h 531"/>
                  <a:gd name="T92" fmla="*/ 88 w 328"/>
                  <a:gd name="T93" fmla="*/ 59 h 531"/>
                  <a:gd name="T94" fmla="*/ 113 w 328"/>
                  <a:gd name="T95" fmla="*/ 30 h 531"/>
                  <a:gd name="T96" fmla="*/ 90 w 328"/>
                  <a:gd name="T97" fmla="*/ 23 h 531"/>
                  <a:gd name="T98" fmla="*/ 100 w 328"/>
                  <a:gd name="T99" fmla="*/ 57 h 531"/>
                  <a:gd name="T100" fmla="*/ 144 w 328"/>
                  <a:gd name="T101" fmla="*/ 61 h 531"/>
                  <a:gd name="T102" fmla="*/ 113 w 328"/>
                  <a:gd name="T103" fmla="*/ 77 h 531"/>
                  <a:gd name="T104" fmla="*/ 119 w 328"/>
                  <a:gd name="T105" fmla="*/ 98 h 531"/>
                  <a:gd name="T106" fmla="*/ 149 w 328"/>
                  <a:gd name="T107" fmla="*/ 109 h 531"/>
                  <a:gd name="T108" fmla="*/ 178 w 328"/>
                  <a:gd name="T109" fmla="*/ 80 h 531"/>
                  <a:gd name="T110" fmla="*/ 169 w 328"/>
                  <a:gd name="T111" fmla="*/ 38 h 531"/>
                  <a:gd name="T112" fmla="*/ 190 w 328"/>
                  <a:gd name="T113" fmla="*/ 6 h 531"/>
                  <a:gd name="T114" fmla="*/ 174 w 328"/>
                  <a:gd name="T115" fmla="*/ 23 h 531"/>
                  <a:gd name="T116" fmla="*/ 213 w 328"/>
                  <a:gd name="T117" fmla="*/ 42 h 531"/>
                  <a:gd name="T118" fmla="*/ 276 w 328"/>
                  <a:gd name="T119" fmla="*/ 30 h 531"/>
                  <a:gd name="T120" fmla="*/ 251 w 328"/>
                  <a:gd name="T121" fmla="*/ 15 h 531"/>
                  <a:gd name="T122" fmla="*/ 226 w 328"/>
                  <a:gd name="T123" fmla="*/ 17 h 5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531">
                    <a:moveTo>
                      <a:pt x="82" y="510"/>
                    </a:moveTo>
                    <a:lnTo>
                      <a:pt x="82" y="510"/>
                    </a:lnTo>
                    <a:lnTo>
                      <a:pt x="86" y="510"/>
                    </a:lnTo>
                    <a:lnTo>
                      <a:pt x="88" y="508"/>
                    </a:lnTo>
                    <a:lnTo>
                      <a:pt x="88" y="503"/>
                    </a:lnTo>
                    <a:lnTo>
                      <a:pt x="86" y="501"/>
                    </a:lnTo>
                    <a:lnTo>
                      <a:pt x="84" y="497"/>
                    </a:lnTo>
                    <a:lnTo>
                      <a:pt x="84" y="493"/>
                    </a:lnTo>
                    <a:lnTo>
                      <a:pt x="86" y="491"/>
                    </a:lnTo>
                    <a:lnTo>
                      <a:pt x="88" y="489"/>
                    </a:lnTo>
                    <a:lnTo>
                      <a:pt x="90" y="487"/>
                    </a:lnTo>
                    <a:lnTo>
                      <a:pt x="92" y="485"/>
                    </a:lnTo>
                    <a:lnTo>
                      <a:pt x="92" y="483"/>
                    </a:lnTo>
                    <a:lnTo>
                      <a:pt x="92" y="483"/>
                    </a:lnTo>
                    <a:lnTo>
                      <a:pt x="90" y="480"/>
                    </a:lnTo>
                    <a:lnTo>
                      <a:pt x="88" y="478"/>
                    </a:lnTo>
                    <a:lnTo>
                      <a:pt x="90" y="474"/>
                    </a:lnTo>
                    <a:lnTo>
                      <a:pt x="90" y="468"/>
                    </a:lnTo>
                    <a:lnTo>
                      <a:pt x="90" y="464"/>
                    </a:lnTo>
                    <a:lnTo>
                      <a:pt x="92" y="466"/>
                    </a:lnTo>
                    <a:lnTo>
                      <a:pt x="94" y="464"/>
                    </a:lnTo>
                    <a:lnTo>
                      <a:pt x="96" y="460"/>
                    </a:lnTo>
                    <a:lnTo>
                      <a:pt x="96" y="455"/>
                    </a:lnTo>
                    <a:lnTo>
                      <a:pt x="94" y="451"/>
                    </a:lnTo>
                    <a:lnTo>
                      <a:pt x="92" y="449"/>
                    </a:lnTo>
                    <a:lnTo>
                      <a:pt x="90" y="447"/>
                    </a:lnTo>
                    <a:lnTo>
                      <a:pt x="92" y="443"/>
                    </a:lnTo>
                    <a:lnTo>
                      <a:pt x="92" y="437"/>
                    </a:lnTo>
                    <a:lnTo>
                      <a:pt x="92" y="432"/>
                    </a:lnTo>
                    <a:lnTo>
                      <a:pt x="92" y="426"/>
                    </a:lnTo>
                    <a:lnTo>
                      <a:pt x="92" y="420"/>
                    </a:lnTo>
                    <a:lnTo>
                      <a:pt x="92" y="416"/>
                    </a:lnTo>
                    <a:lnTo>
                      <a:pt x="92" y="412"/>
                    </a:lnTo>
                    <a:lnTo>
                      <a:pt x="94" y="409"/>
                    </a:lnTo>
                    <a:lnTo>
                      <a:pt x="98" y="403"/>
                    </a:lnTo>
                    <a:lnTo>
                      <a:pt x="101" y="397"/>
                    </a:lnTo>
                    <a:lnTo>
                      <a:pt x="103" y="393"/>
                    </a:lnTo>
                    <a:lnTo>
                      <a:pt x="107" y="387"/>
                    </a:lnTo>
                    <a:lnTo>
                      <a:pt x="113" y="384"/>
                    </a:lnTo>
                    <a:lnTo>
                      <a:pt x="119" y="386"/>
                    </a:lnTo>
                    <a:lnTo>
                      <a:pt x="123" y="391"/>
                    </a:lnTo>
                    <a:lnTo>
                      <a:pt x="125" y="389"/>
                    </a:lnTo>
                    <a:lnTo>
                      <a:pt x="126" y="384"/>
                    </a:lnTo>
                    <a:lnTo>
                      <a:pt x="126" y="376"/>
                    </a:lnTo>
                    <a:lnTo>
                      <a:pt x="126" y="370"/>
                    </a:lnTo>
                    <a:lnTo>
                      <a:pt x="128" y="366"/>
                    </a:lnTo>
                    <a:lnTo>
                      <a:pt x="134" y="364"/>
                    </a:lnTo>
                    <a:lnTo>
                      <a:pt x="138" y="357"/>
                    </a:lnTo>
                    <a:lnTo>
                      <a:pt x="140" y="347"/>
                    </a:lnTo>
                    <a:lnTo>
                      <a:pt x="140" y="341"/>
                    </a:lnTo>
                    <a:lnTo>
                      <a:pt x="144" y="338"/>
                    </a:lnTo>
                    <a:lnTo>
                      <a:pt x="148" y="338"/>
                    </a:lnTo>
                    <a:lnTo>
                      <a:pt x="149" y="336"/>
                    </a:lnTo>
                    <a:lnTo>
                      <a:pt x="151" y="332"/>
                    </a:lnTo>
                    <a:lnTo>
                      <a:pt x="155" y="330"/>
                    </a:lnTo>
                    <a:lnTo>
                      <a:pt x="157" y="328"/>
                    </a:lnTo>
                    <a:lnTo>
                      <a:pt x="159" y="324"/>
                    </a:lnTo>
                    <a:lnTo>
                      <a:pt x="159" y="318"/>
                    </a:lnTo>
                    <a:lnTo>
                      <a:pt x="161" y="315"/>
                    </a:lnTo>
                    <a:lnTo>
                      <a:pt x="165" y="311"/>
                    </a:lnTo>
                    <a:lnTo>
                      <a:pt x="167" y="309"/>
                    </a:lnTo>
                    <a:lnTo>
                      <a:pt x="172" y="315"/>
                    </a:lnTo>
                    <a:lnTo>
                      <a:pt x="174" y="316"/>
                    </a:lnTo>
                    <a:lnTo>
                      <a:pt x="174" y="313"/>
                    </a:lnTo>
                    <a:lnTo>
                      <a:pt x="176" y="309"/>
                    </a:lnTo>
                    <a:lnTo>
                      <a:pt x="176" y="307"/>
                    </a:lnTo>
                    <a:lnTo>
                      <a:pt x="180" y="307"/>
                    </a:lnTo>
                    <a:lnTo>
                      <a:pt x="184" y="307"/>
                    </a:lnTo>
                    <a:lnTo>
                      <a:pt x="188" y="309"/>
                    </a:lnTo>
                    <a:lnTo>
                      <a:pt x="192" y="305"/>
                    </a:lnTo>
                    <a:lnTo>
                      <a:pt x="194" y="303"/>
                    </a:lnTo>
                    <a:lnTo>
                      <a:pt x="196" y="293"/>
                    </a:lnTo>
                    <a:lnTo>
                      <a:pt x="192" y="290"/>
                    </a:lnTo>
                    <a:lnTo>
                      <a:pt x="199" y="290"/>
                    </a:lnTo>
                    <a:lnTo>
                      <a:pt x="205" y="286"/>
                    </a:lnTo>
                    <a:lnTo>
                      <a:pt x="205" y="284"/>
                    </a:lnTo>
                    <a:lnTo>
                      <a:pt x="207" y="282"/>
                    </a:lnTo>
                    <a:lnTo>
                      <a:pt x="211" y="282"/>
                    </a:lnTo>
                    <a:lnTo>
                      <a:pt x="224" y="297"/>
                    </a:lnTo>
                    <a:lnTo>
                      <a:pt x="230" y="297"/>
                    </a:lnTo>
                    <a:lnTo>
                      <a:pt x="238" y="297"/>
                    </a:lnTo>
                    <a:lnTo>
                      <a:pt x="242" y="297"/>
                    </a:lnTo>
                    <a:lnTo>
                      <a:pt x="244" y="295"/>
                    </a:lnTo>
                    <a:lnTo>
                      <a:pt x="247" y="297"/>
                    </a:lnTo>
                    <a:lnTo>
                      <a:pt x="247" y="297"/>
                    </a:lnTo>
                    <a:lnTo>
                      <a:pt x="255" y="303"/>
                    </a:lnTo>
                    <a:lnTo>
                      <a:pt x="255" y="301"/>
                    </a:lnTo>
                    <a:lnTo>
                      <a:pt x="257" y="297"/>
                    </a:lnTo>
                    <a:lnTo>
                      <a:pt x="261" y="295"/>
                    </a:lnTo>
                    <a:lnTo>
                      <a:pt x="263" y="290"/>
                    </a:lnTo>
                    <a:lnTo>
                      <a:pt x="263" y="286"/>
                    </a:lnTo>
                    <a:lnTo>
                      <a:pt x="263" y="282"/>
                    </a:lnTo>
                    <a:lnTo>
                      <a:pt x="263" y="280"/>
                    </a:lnTo>
                    <a:lnTo>
                      <a:pt x="265" y="278"/>
                    </a:lnTo>
                    <a:lnTo>
                      <a:pt x="267" y="274"/>
                    </a:lnTo>
                    <a:lnTo>
                      <a:pt x="270" y="272"/>
                    </a:lnTo>
                    <a:lnTo>
                      <a:pt x="272" y="270"/>
                    </a:lnTo>
                    <a:lnTo>
                      <a:pt x="274" y="267"/>
                    </a:lnTo>
                    <a:lnTo>
                      <a:pt x="278" y="268"/>
                    </a:lnTo>
                    <a:lnTo>
                      <a:pt x="282" y="268"/>
                    </a:lnTo>
                    <a:lnTo>
                      <a:pt x="288" y="267"/>
                    </a:lnTo>
                    <a:lnTo>
                      <a:pt x="291" y="263"/>
                    </a:lnTo>
                    <a:lnTo>
                      <a:pt x="295" y="268"/>
                    </a:lnTo>
                    <a:lnTo>
                      <a:pt x="299" y="274"/>
                    </a:lnTo>
                    <a:lnTo>
                      <a:pt x="303" y="278"/>
                    </a:lnTo>
                    <a:lnTo>
                      <a:pt x="307" y="280"/>
                    </a:lnTo>
                    <a:lnTo>
                      <a:pt x="311" y="282"/>
                    </a:lnTo>
                    <a:lnTo>
                      <a:pt x="313" y="282"/>
                    </a:lnTo>
                    <a:lnTo>
                      <a:pt x="313" y="286"/>
                    </a:lnTo>
                    <a:lnTo>
                      <a:pt x="313" y="286"/>
                    </a:lnTo>
                    <a:lnTo>
                      <a:pt x="316" y="286"/>
                    </a:lnTo>
                    <a:lnTo>
                      <a:pt x="318" y="282"/>
                    </a:lnTo>
                    <a:lnTo>
                      <a:pt x="318" y="276"/>
                    </a:lnTo>
                    <a:lnTo>
                      <a:pt x="318" y="274"/>
                    </a:lnTo>
                    <a:lnTo>
                      <a:pt x="316" y="274"/>
                    </a:lnTo>
                    <a:lnTo>
                      <a:pt x="320" y="272"/>
                    </a:lnTo>
                    <a:lnTo>
                      <a:pt x="322" y="270"/>
                    </a:lnTo>
                    <a:lnTo>
                      <a:pt x="326" y="267"/>
                    </a:lnTo>
                    <a:lnTo>
                      <a:pt x="328" y="265"/>
                    </a:lnTo>
                    <a:lnTo>
                      <a:pt x="324" y="265"/>
                    </a:lnTo>
                    <a:lnTo>
                      <a:pt x="322" y="265"/>
                    </a:lnTo>
                    <a:lnTo>
                      <a:pt x="320" y="268"/>
                    </a:lnTo>
                    <a:lnTo>
                      <a:pt x="316" y="268"/>
                    </a:lnTo>
                    <a:lnTo>
                      <a:pt x="311" y="270"/>
                    </a:lnTo>
                    <a:lnTo>
                      <a:pt x="309" y="267"/>
                    </a:lnTo>
                    <a:lnTo>
                      <a:pt x="307" y="263"/>
                    </a:lnTo>
                    <a:lnTo>
                      <a:pt x="311" y="263"/>
                    </a:lnTo>
                    <a:lnTo>
                      <a:pt x="316" y="263"/>
                    </a:lnTo>
                    <a:lnTo>
                      <a:pt x="318" y="259"/>
                    </a:lnTo>
                    <a:lnTo>
                      <a:pt x="320" y="257"/>
                    </a:lnTo>
                    <a:lnTo>
                      <a:pt x="324" y="257"/>
                    </a:lnTo>
                    <a:lnTo>
                      <a:pt x="328" y="259"/>
                    </a:lnTo>
                    <a:lnTo>
                      <a:pt x="326" y="255"/>
                    </a:lnTo>
                    <a:lnTo>
                      <a:pt x="324" y="249"/>
                    </a:lnTo>
                    <a:lnTo>
                      <a:pt x="322" y="249"/>
                    </a:lnTo>
                    <a:lnTo>
                      <a:pt x="322" y="251"/>
                    </a:lnTo>
                    <a:lnTo>
                      <a:pt x="318" y="251"/>
                    </a:lnTo>
                    <a:lnTo>
                      <a:pt x="316" y="251"/>
                    </a:lnTo>
                    <a:lnTo>
                      <a:pt x="316" y="249"/>
                    </a:lnTo>
                    <a:lnTo>
                      <a:pt x="318" y="247"/>
                    </a:lnTo>
                    <a:lnTo>
                      <a:pt x="316" y="245"/>
                    </a:lnTo>
                    <a:lnTo>
                      <a:pt x="313" y="249"/>
                    </a:lnTo>
                    <a:lnTo>
                      <a:pt x="313" y="245"/>
                    </a:lnTo>
                    <a:lnTo>
                      <a:pt x="309" y="245"/>
                    </a:lnTo>
                    <a:lnTo>
                      <a:pt x="309" y="244"/>
                    </a:lnTo>
                    <a:lnTo>
                      <a:pt x="311" y="242"/>
                    </a:lnTo>
                    <a:lnTo>
                      <a:pt x="309" y="240"/>
                    </a:lnTo>
                    <a:lnTo>
                      <a:pt x="305" y="240"/>
                    </a:lnTo>
                    <a:lnTo>
                      <a:pt x="303" y="242"/>
                    </a:lnTo>
                    <a:lnTo>
                      <a:pt x="303" y="245"/>
                    </a:lnTo>
                    <a:lnTo>
                      <a:pt x="299" y="245"/>
                    </a:lnTo>
                    <a:lnTo>
                      <a:pt x="295" y="247"/>
                    </a:lnTo>
                    <a:lnTo>
                      <a:pt x="295" y="244"/>
                    </a:lnTo>
                    <a:lnTo>
                      <a:pt x="295" y="240"/>
                    </a:lnTo>
                    <a:lnTo>
                      <a:pt x="299" y="240"/>
                    </a:lnTo>
                    <a:lnTo>
                      <a:pt x="299" y="238"/>
                    </a:lnTo>
                    <a:lnTo>
                      <a:pt x="299" y="236"/>
                    </a:lnTo>
                    <a:lnTo>
                      <a:pt x="297" y="236"/>
                    </a:lnTo>
                    <a:lnTo>
                      <a:pt x="295" y="234"/>
                    </a:lnTo>
                    <a:lnTo>
                      <a:pt x="290" y="232"/>
                    </a:lnTo>
                    <a:lnTo>
                      <a:pt x="288" y="238"/>
                    </a:lnTo>
                    <a:lnTo>
                      <a:pt x="286" y="238"/>
                    </a:lnTo>
                    <a:lnTo>
                      <a:pt x="284" y="240"/>
                    </a:lnTo>
                    <a:lnTo>
                      <a:pt x="286" y="245"/>
                    </a:lnTo>
                    <a:lnTo>
                      <a:pt x="282" y="249"/>
                    </a:lnTo>
                    <a:lnTo>
                      <a:pt x="278" y="251"/>
                    </a:lnTo>
                    <a:lnTo>
                      <a:pt x="278" y="253"/>
                    </a:lnTo>
                    <a:lnTo>
                      <a:pt x="276" y="249"/>
                    </a:lnTo>
                    <a:lnTo>
                      <a:pt x="276" y="245"/>
                    </a:lnTo>
                    <a:lnTo>
                      <a:pt x="278" y="244"/>
                    </a:lnTo>
                    <a:lnTo>
                      <a:pt x="278" y="244"/>
                    </a:lnTo>
                    <a:lnTo>
                      <a:pt x="276" y="242"/>
                    </a:lnTo>
                    <a:lnTo>
                      <a:pt x="276" y="240"/>
                    </a:lnTo>
                    <a:lnTo>
                      <a:pt x="272" y="242"/>
                    </a:lnTo>
                    <a:lnTo>
                      <a:pt x="272" y="245"/>
                    </a:lnTo>
                    <a:lnTo>
                      <a:pt x="267" y="249"/>
                    </a:lnTo>
                    <a:lnTo>
                      <a:pt x="263" y="255"/>
                    </a:lnTo>
                    <a:lnTo>
                      <a:pt x="263" y="257"/>
                    </a:lnTo>
                    <a:lnTo>
                      <a:pt x="263" y="261"/>
                    </a:lnTo>
                    <a:lnTo>
                      <a:pt x="259" y="263"/>
                    </a:lnTo>
                    <a:lnTo>
                      <a:pt x="257" y="265"/>
                    </a:lnTo>
                    <a:lnTo>
                      <a:pt x="257" y="257"/>
                    </a:lnTo>
                    <a:lnTo>
                      <a:pt x="259" y="251"/>
                    </a:lnTo>
                    <a:lnTo>
                      <a:pt x="263" y="251"/>
                    </a:lnTo>
                    <a:lnTo>
                      <a:pt x="265" y="249"/>
                    </a:lnTo>
                    <a:lnTo>
                      <a:pt x="261" y="240"/>
                    </a:lnTo>
                    <a:lnTo>
                      <a:pt x="259" y="240"/>
                    </a:lnTo>
                    <a:lnTo>
                      <a:pt x="259" y="244"/>
                    </a:lnTo>
                    <a:lnTo>
                      <a:pt x="257" y="242"/>
                    </a:lnTo>
                    <a:lnTo>
                      <a:pt x="255" y="240"/>
                    </a:lnTo>
                    <a:lnTo>
                      <a:pt x="251" y="240"/>
                    </a:lnTo>
                    <a:lnTo>
                      <a:pt x="249" y="238"/>
                    </a:lnTo>
                    <a:lnTo>
                      <a:pt x="249" y="244"/>
                    </a:lnTo>
                    <a:lnTo>
                      <a:pt x="249" y="249"/>
                    </a:lnTo>
                    <a:lnTo>
                      <a:pt x="247" y="247"/>
                    </a:lnTo>
                    <a:lnTo>
                      <a:pt x="245" y="247"/>
                    </a:lnTo>
                    <a:lnTo>
                      <a:pt x="245" y="244"/>
                    </a:lnTo>
                    <a:lnTo>
                      <a:pt x="242" y="244"/>
                    </a:lnTo>
                    <a:lnTo>
                      <a:pt x="242" y="245"/>
                    </a:lnTo>
                    <a:lnTo>
                      <a:pt x="242" y="249"/>
                    </a:lnTo>
                    <a:lnTo>
                      <a:pt x="230" y="259"/>
                    </a:lnTo>
                    <a:lnTo>
                      <a:pt x="220" y="253"/>
                    </a:lnTo>
                    <a:lnTo>
                      <a:pt x="211" y="249"/>
                    </a:lnTo>
                    <a:lnTo>
                      <a:pt x="209" y="251"/>
                    </a:lnTo>
                    <a:lnTo>
                      <a:pt x="207" y="255"/>
                    </a:lnTo>
                    <a:lnTo>
                      <a:pt x="209" y="255"/>
                    </a:lnTo>
                    <a:lnTo>
                      <a:pt x="213" y="255"/>
                    </a:lnTo>
                    <a:lnTo>
                      <a:pt x="213" y="259"/>
                    </a:lnTo>
                    <a:lnTo>
                      <a:pt x="215" y="263"/>
                    </a:lnTo>
                    <a:lnTo>
                      <a:pt x="209" y="261"/>
                    </a:lnTo>
                    <a:lnTo>
                      <a:pt x="205" y="259"/>
                    </a:lnTo>
                    <a:lnTo>
                      <a:pt x="207" y="267"/>
                    </a:lnTo>
                    <a:lnTo>
                      <a:pt x="203" y="267"/>
                    </a:lnTo>
                    <a:lnTo>
                      <a:pt x="201" y="267"/>
                    </a:lnTo>
                    <a:lnTo>
                      <a:pt x="201" y="261"/>
                    </a:lnTo>
                    <a:lnTo>
                      <a:pt x="201" y="259"/>
                    </a:lnTo>
                    <a:lnTo>
                      <a:pt x="197" y="265"/>
                    </a:lnTo>
                    <a:lnTo>
                      <a:pt x="197" y="267"/>
                    </a:lnTo>
                    <a:lnTo>
                      <a:pt x="196" y="267"/>
                    </a:lnTo>
                    <a:lnTo>
                      <a:pt x="194" y="259"/>
                    </a:lnTo>
                    <a:lnTo>
                      <a:pt x="192" y="263"/>
                    </a:lnTo>
                    <a:lnTo>
                      <a:pt x="192" y="267"/>
                    </a:lnTo>
                    <a:lnTo>
                      <a:pt x="188" y="268"/>
                    </a:lnTo>
                    <a:lnTo>
                      <a:pt x="184" y="270"/>
                    </a:lnTo>
                    <a:lnTo>
                      <a:pt x="182" y="267"/>
                    </a:lnTo>
                    <a:lnTo>
                      <a:pt x="180" y="265"/>
                    </a:lnTo>
                    <a:lnTo>
                      <a:pt x="178" y="268"/>
                    </a:lnTo>
                    <a:lnTo>
                      <a:pt x="178" y="272"/>
                    </a:lnTo>
                    <a:lnTo>
                      <a:pt x="180" y="272"/>
                    </a:lnTo>
                    <a:lnTo>
                      <a:pt x="182" y="272"/>
                    </a:lnTo>
                    <a:lnTo>
                      <a:pt x="182" y="272"/>
                    </a:lnTo>
                    <a:lnTo>
                      <a:pt x="180" y="274"/>
                    </a:lnTo>
                    <a:lnTo>
                      <a:pt x="176" y="274"/>
                    </a:lnTo>
                    <a:lnTo>
                      <a:pt x="176" y="276"/>
                    </a:lnTo>
                    <a:lnTo>
                      <a:pt x="176" y="280"/>
                    </a:lnTo>
                    <a:lnTo>
                      <a:pt x="172" y="278"/>
                    </a:lnTo>
                    <a:lnTo>
                      <a:pt x="169" y="278"/>
                    </a:lnTo>
                    <a:lnTo>
                      <a:pt x="169" y="284"/>
                    </a:lnTo>
                    <a:lnTo>
                      <a:pt x="167" y="284"/>
                    </a:lnTo>
                    <a:lnTo>
                      <a:pt x="165" y="282"/>
                    </a:lnTo>
                    <a:lnTo>
                      <a:pt x="165" y="278"/>
                    </a:lnTo>
                    <a:lnTo>
                      <a:pt x="167" y="276"/>
                    </a:lnTo>
                    <a:lnTo>
                      <a:pt x="167" y="272"/>
                    </a:lnTo>
                    <a:lnTo>
                      <a:pt x="167" y="270"/>
                    </a:lnTo>
                    <a:lnTo>
                      <a:pt x="165" y="270"/>
                    </a:lnTo>
                    <a:lnTo>
                      <a:pt x="161" y="272"/>
                    </a:lnTo>
                    <a:lnTo>
                      <a:pt x="159" y="274"/>
                    </a:lnTo>
                    <a:lnTo>
                      <a:pt x="155" y="276"/>
                    </a:lnTo>
                    <a:lnTo>
                      <a:pt x="155" y="284"/>
                    </a:lnTo>
                    <a:lnTo>
                      <a:pt x="155" y="286"/>
                    </a:lnTo>
                    <a:lnTo>
                      <a:pt x="159" y="286"/>
                    </a:lnTo>
                    <a:lnTo>
                      <a:pt x="165" y="284"/>
                    </a:lnTo>
                    <a:lnTo>
                      <a:pt x="163" y="291"/>
                    </a:lnTo>
                    <a:lnTo>
                      <a:pt x="161" y="297"/>
                    </a:lnTo>
                    <a:lnTo>
                      <a:pt x="157" y="301"/>
                    </a:lnTo>
                    <a:lnTo>
                      <a:pt x="149" y="305"/>
                    </a:lnTo>
                    <a:lnTo>
                      <a:pt x="149" y="307"/>
                    </a:lnTo>
                    <a:lnTo>
                      <a:pt x="153" y="309"/>
                    </a:lnTo>
                    <a:lnTo>
                      <a:pt x="153" y="313"/>
                    </a:lnTo>
                    <a:lnTo>
                      <a:pt x="153" y="316"/>
                    </a:lnTo>
                    <a:lnTo>
                      <a:pt x="148" y="313"/>
                    </a:lnTo>
                    <a:lnTo>
                      <a:pt x="142" y="311"/>
                    </a:lnTo>
                    <a:lnTo>
                      <a:pt x="146" y="318"/>
                    </a:lnTo>
                    <a:lnTo>
                      <a:pt x="149" y="328"/>
                    </a:lnTo>
                    <a:lnTo>
                      <a:pt x="144" y="328"/>
                    </a:lnTo>
                    <a:lnTo>
                      <a:pt x="140" y="328"/>
                    </a:lnTo>
                    <a:lnTo>
                      <a:pt x="140" y="332"/>
                    </a:lnTo>
                    <a:lnTo>
                      <a:pt x="140" y="336"/>
                    </a:lnTo>
                    <a:lnTo>
                      <a:pt x="134" y="339"/>
                    </a:lnTo>
                    <a:lnTo>
                      <a:pt x="128" y="341"/>
                    </a:lnTo>
                    <a:lnTo>
                      <a:pt x="128" y="339"/>
                    </a:lnTo>
                    <a:lnTo>
                      <a:pt x="126" y="339"/>
                    </a:lnTo>
                    <a:lnTo>
                      <a:pt x="125" y="343"/>
                    </a:lnTo>
                    <a:lnTo>
                      <a:pt x="123" y="347"/>
                    </a:lnTo>
                    <a:lnTo>
                      <a:pt x="119" y="347"/>
                    </a:lnTo>
                    <a:lnTo>
                      <a:pt x="117" y="347"/>
                    </a:lnTo>
                    <a:lnTo>
                      <a:pt x="117" y="351"/>
                    </a:lnTo>
                    <a:lnTo>
                      <a:pt x="121" y="351"/>
                    </a:lnTo>
                    <a:lnTo>
                      <a:pt x="119" y="355"/>
                    </a:lnTo>
                    <a:lnTo>
                      <a:pt x="119" y="361"/>
                    </a:lnTo>
                    <a:lnTo>
                      <a:pt x="117" y="362"/>
                    </a:lnTo>
                    <a:lnTo>
                      <a:pt x="113" y="362"/>
                    </a:lnTo>
                    <a:lnTo>
                      <a:pt x="107" y="366"/>
                    </a:lnTo>
                    <a:lnTo>
                      <a:pt x="103" y="368"/>
                    </a:lnTo>
                    <a:lnTo>
                      <a:pt x="101" y="372"/>
                    </a:lnTo>
                    <a:lnTo>
                      <a:pt x="100" y="380"/>
                    </a:lnTo>
                    <a:lnTo>
                      <a:pt x="96" y="378"/>
                    </a:lnTo>
                    <a:lnTo>
                      <a:pt x="92" y="376"/>
                    </a:lnTo>
                    <a:lnTo>
                      <a:pt x="86" y="384"/>
                    </a:lnTo>
                    <a:lnTo>
                      <a:pt x="82" y="389"/>
                    </a:lnTo>
                    <a:lnTo>
                      <a:pt x="78" y="389"/>
                    </a:lnTo>
                    <a:lnTo>
                      <a:pt x="77" y="391"/>
                    </a:lnTo>
                    <a:lnTo>
                      <a:pt x="75" y="395"/>
                    </a:lnTo>
                    <a:lnTo>
                      <a:pt x="73" y="401"/>
                    </a:lnTo>
                    <a:lnTo>
                      <a:pt x="69" y="401"/>
                    </a:lnTo>
                    <a:lnTo>
                      <a:pt x="69" y="403"/>
                    </a:lnTo>
                    <a:lnTo>
                      <a:pt x="71" y="405"/>
                    </a:lnTo>
                    <a:lnTo>
                      <a:pt x="75" y="405"/>
                    </a:lnTo>
                    <a:lnTo>
                      <a:pt x="77" y="401"/>
                    </a:lnTo>
                    <a:lnTo>
                      <a:pt x="80" y="399"/>
                    </a:lnTo>
                    <a:lnTo>
                      <a:pt x="82" y="399"/>
                    </a:lnTo>
                    <a:lnTo>
                      <a:pt x="84" y="399"/>
                    </a:lnTo>
                    <a:lnTo>
                      <a:pt x="84" y="401"/>
                    </a:lnTo>
                    <a:lnTo>
                      <a:pt x="84" y="403"/>
                    </a:lnTo>
                    <a:lnTo>
                      <a:pt x="80" y="405"/>
                    </a:lnTo>
                    <a:lnTo>
                      <a:pt x="77" y="407"/>
                    </a:lnTo>
                    <a:lnTo>
                      <a:pt x="77" y="410"/>
                    </a:lnTo>
                    <a:lnTo>
                      <a:pt x="71" y="410"/>
                    </a:lnTo>
                    <a:lnTo>
                      <a:pt x="67" y="410"/>
                    </a:lnTo>
                    <a:lnTo>
                      <a:pt x="67" y="405"/>
                    </a:lnTo>
                    <a:lnTo>
                      <a:pt x="65" y="403"/>
                    </a:lnTo>
                    <a:lnTo>
                      <a:pt x="63" y="405"/>
                    </a:lnTo>
                    <a:lnTo>
                      <a:pt x="61" y="407"/>
                    </a:lnTo>
                    <a:lnTo>
                      <a:pt x="55" y="403"/>
                    </a:lnTo>
                    <a:lnTo>
                      <a:pt x="52" y="401"/>
                    </a:lnTo>
                    <a:lnTo>
                      <a:pt x="50" y="403"/>
                    </a:lnTo>
                    <a:lnTo>
                      <a:pt x="48" y="407"/>
                    </a:lnTo>
                    <a:lnTo>
                      <a:pt x="52" y="407"/>
                    </a:lnTo>
                    <a:lnTo>
                      <a:pt x="54" y="405"/>
                    </a:lnTo>
                    <a:lnTo>
                      <a:pt x="54" y="409"/>
                    </a:lnTo>
                    <a:lnTo>
                      <a:pt x="55" y="412"/>
                    </a:lnTo>
                    <a:lnTo>
                      <a:pt x="54" y="412"/>
                    </a:lnTo>
                    <a:lnTo>
                      <a:pt x="54" y="416"/>
                    </a:lnTo>
                    <a:lnTo>
                      <a:pt x="50" y="416"/>
                    </a:lnTo>
                    <a:lnTo>
                      <a:pt x="48" y="416"/>
                    </a:lnTo>
                    <a:lnTo>
                      <a:pt x="46" y="420"/>
                    </a:lnTo>
                    <a:lnTo>
                      <a:pt x="44" y="424"/>
                    </a:lnTo>
                    <a:lnTo>
                      <a:pt x="36" y="424"/>
                    </a:lnTo>
                    <a:lnTo>
                      <a:pt x="30" y="424"/>
                    </a:lnTo>
                    <a:lnTo>
                      <a:pt x="30" y="428"/>
                    </a:lnTo>
                    <a:lnTo>
                      <a:pt x="32" y="426"/>
                    </a:lnTo>
                    <a:lnTo>
                      <a:pt x="34" y="428"/>
                    </a:lnTo>
                    <a:lnTo>
                      <a:pt x="34" y="430"/>
                    </a:lnTo>
                    <a:lnTo>
                      <a:pt x="34" y="432"/>
                    </a:lnTo>
                    <a:lnTo>
                      <a:pt x="30" y="433"/>
                    </a:lnTo>
                    <a:lnTo>
                      <a:pt x="29" y="433"/>
                    </a:lnTo>
                    <a:lnTo>
                      <a:pt x="25" y="433"/>
                    </a:lnTo>
                    <a:lnTo>
                      <a:pt x="21" y="433"/>
                    </a:lnTo>
                    <a:lnTo>
                      <a:pt x="21" y="435"/>
                    </a:lnTo>
                    <a:lnTo>
                      <a:pt x="21" y="439"/>
                    </a:lnTo>
                    <a:lnTo>
                      <a:pt x="25" y="439"/>
                    </a:lnTo>
                    <a:lnTo>
                      <a:pt x="27" y="439"/>
                    </a:lnTo>
                    <a:lnTo>
                      <a:pt x="27" y="439"/>
                    </a:lnTo>
                    <a:lnTo>
                      <a:pt x="23" y="441"/>
                    </a:lnTo>
                    <a:lnTo>
                      <a:pt x="15" y="443"/>
                    </a:lnTo>
                    <a:lnTo>
                      <a:pt x="6" y="445"/>
                    </a:lnTo>
                    <a:lnTo>
                      <a:pt x="6" y="449"/>
                    </a:lnTo>
                    <a:lnTo>
                      <a:pt x="13" y="451"/>
                    </a:lnTo>
                    <a:lnTo>
                      <a:pt x="15" y="453"/>
                    </a:lnTo>
                    <a:lnTo>
                      <a:pt x="4" y="451"/>
                    </a:lnTo>
                    <a:lnTo>
                      <a:pt x="0" y="455"/>
                    </a:lnTo>
                    <a:lnTo>
                      <a:pt x="2" y="460"/>
                    </a:lnTo>
                    <a:lnTo>
                      <a:pt x="4" y="462"/>
                    </a:lnTo>
                    <a:lnTo>
                      <a:pt x="6" y="462"/>
                    </a:lnTo>
                    <a:lnTo>
                      <a:pt x="11" y="462"/>
                    </a:lnTo>
                    <a:lnTo>
                      <a:pt x="7" y="464"/>
                    </a:lnTo>
                    <a:lnTo>
                      <a:pt x="2" y="466"/>
                    </a:lnTo>
                    <a:lnTo>
                      <a:pt x="2" y="468"/>
                    </a:lnTo>
                    <a:lnTo>
                      <a:pt x="4" y="470"/>
                    </a:lnTo>
                    <a:lnTo>
                      <a:pt x="7" y="470"/>
                    </a:lnTo>
                    <a:lnTo>
                      <a:pt x="7" y="474"/>
                    </a:lnTo>
                    <a:lnTo>
                      <a:pt x="4" y="474"/>
                    </a:lnTo>
                    <a:lnTo>
                      <a:pt x="2" y="476"/>
                    </a:lnTo>
                    <a:lnTo>
                      <a:pt x="7" y="478"/>
                    </a:lnTo>
                    <a:lnTo>
                      <a:pt x="9" y="478"/>
                    </a:lnTo>
                    <a:lnTo>
                      <a:pt x="9" y="481"/>
                    </a:lnTo>
                    <a:lnTo>
                      <a:pt x="7" y="483"/>
                    </a:lnTo>
                    <a:lnTo>
                      <a:pt x="11" y="485"/>
                    </a:lnTo>
                    <a:lnTo>
                      <a:pt x="11" y="485"/>
                    </a:lnTo>
                    <a:lnTo>
                      <a:pt x="11" y="483"/>
                    </a:lnTo>
                    <a:lnTo>
                      <a:pt x="13" y="487"/>
                    </a:lnTo>
                    <a:lnTo>
                      <a:pt x="15" y="483"/>
                    </a:lnTo>
                    <a:lnTo>
                      <a:pt x="19" y="480"/>
                    </a:lnTo>
                    <a:lnTo>
                      <a:pt x="23" y="480"/>
                    </a:lnTo>
                    <a:lnTo>
                      <a:pt x="25" y="481"/>
                    </a:lnTo>
                    <a:lnTo>
                      <a:pt x="21" y="481"/>
                    </a:lnTo>
                    <a:lnTo>
                      <a:pt x="17" y="489"/>
                    </a:lnTo>
                    <a:lnTo>
                      <a:pt x="13" y="497"/>
                    </a:lnTo>
                    <a:lnTo>
                      <a:pt x="9" y="497"/>
                    </a:lnTo>
                    <a:lnTo>
                      <a:pt x="6" y="497"/>
                    </a:lnTo>
                    <a:lnTo>
                      <a:pt x="6" y="499"/>
                    </a:lnTo>
                    <a:lnTo>
                      <a:pt x="6" y="503"/>
                    </a:lnTo>
                    <a:lnTo>
                      <a:pt x="7" y="504"/>
                    </a:lnTo>
                    <a:lnTo>
                      <a:pt x="11" y="506"/>
                    </a:lnTo>
                    <a:lnTo>
                      <a:pt x="13" y="503"/>
                    </a:lnTo>
                    <a:lnTo>
                      <a:pt x="13" y="503"/>
                    </a:lnTo>
                    <a:lnTo>
                      <a:pt x="17" y="503"/>
                    </a:lnTo>
                    <a:lnTo>
                      <a:pt x="17" y="506"/>
                    </a:lnTo>
                    <a:lnTo>
                      <a:pt x="17" y="508"/>
                    </a:lnTo>
                    <a:lnTo>
                      <a:pt x="13" y="512"/>
                    </a:lnTo>
                    <a:lnTo>
                      <a:pt x="11" y="514"/>
                    </a:lnTo>
                    <a:lnTo>
                      <a:pt x="11" y="518"/>
                    </a:lnTo>
                    <a:lnTo>
                      <a:pt x="11" y="522"/>
                    </a:lnTo>
                    <a:lnTo>
                      <a:pt x="15" y="522"/>
                    </a:lnTo>
                    <a:lnTo>
                      <a:pt x="17" y="528"/>
                    </a:lnTo>
                    <a:lnTo>
                      <a:pt x="21" y="528"/>
                    </a:lnTo>
                    <a:lnTo>
                      <a:pt x="25" y="526"/>
                    </a:lnTo>
                    <a:lnTo>
                      <a:pt x="25" y="526"/>
                    </a:lnTo>
                    <a:lnTo>
                      <a:pt x="27" y="526"/>
                    </a:lnTo>
                    <a:lnTo>
                      <a:pt x="27" y="528"/>
                    </a:lnTo>
                    <a:lnTo>
                      <a:pt x="27" y="531"/>
                    </a:lnTo>
                    <a:lnTo>
                      <a:pt x="40" y="528"/>
                    </a:lnTo>
                    <a:lnTo>
                      <a:pt x="54" y="522"/>
                    </a:lnTo>
                    <a:lnTo>
                      <a:pt x="55" y="518"/>
                    </a:lnTo>
                    <a:lnTo>
                      <a:pt x="57" y="516"/>
                    </a:lnTo>
                    <a:lnTo>
                      <a:pt x="61" y="516"/>
                    </a:lnTo>
                    <a:lnTo>
                      <a:pt x="65" y="516"/>
                    </a:lnTo>
                    <a:lnTo>
                      <a:pt x="73" y="512"/>
                    </a:lnTo>
                    <a:lnTo>
                      <a:pt x="80" y="506"/>
                    </a:lnTo>
                    <a:lnTo>
                      <a:pt x="80" y="508"/>
                    </a:lnTo>
                    <a:lnTo>
                      <a:pt x="82" y="510"/>
                    </a:lnTo>
                    <a:close/>
                    <a:moveTo>
                      <a:pt x="9" y="485"/>
                    </a:moveTo>
                    <a:lnTo>
                      <a:pt x="11" y="489"/>
                    </a:lnTo>
                    <a:lnTo>
                      <a:pt x="11" y="485"/>
                    </a:lnTo>
                    <a:lnTo>
                      <a:pt x="9" y="485"/>
                    </a:lnTo>
                    <a:close/>
                    <a:moveTo>
                      <a:pt x="29" y="460"/>
                    </a:moveTo>
                    <a:lnTo>
                      <a:pt x="29" y="462"/>
                    </a:lnTo>
                    <a:lnTo>
                      <a:pt x="27" y="464"/>
                    </a:lnTo>
                    <a:lnTo>
                      <a:pt x="27" y="460"/>
                    </a:lnTo>
                    <a:lnTo>
                      <a:pt x="29" y="460"/>
                    </a:lnTo>
                    <a:close/>
                    <a:moveTo>
                      <a:pt x="19" y="460"/>
                    </a:moveTo>
                    <a:lnTo>
                      <a:pt x="23" y="464"/>
                    </a:lnTo>
                    <a:lnTo>
                      <a:pt x="23" y="468"/>
                    </a:lnTo>
                    <a:lnTo>
                      <a:pt x="19" y="466"/>
                    </a:lnTo>
                    <a:lnTo>
                      <a:pt x="13" y="464"/>
                    </a:lnTo>
                    <a:lnTo>
                      <a:pt x="11" y="464"/>
                    </a:lnTo>
                    <a:lnTo>
                      <a:pt x="17" y="464"/>
                    </a:lnTo>
                    <a:lnTo>
                      <a:pt x="17" y="460"/>
                    </a:lnTo>
                    <a:lnTo>
                      <a:pt x="19" y="460"/>
                    </a:lnTo>
                    <a:close/>
                    <a:moveTo>
                      <a:pt x="30" y="441"/>
                    </a:moveTo>
                    <a:lnTo>
                      <a:pt x="30" y="443"/>
                    </a:lnTo>
                    <a:lnTo>
                      <a:pt x="29" y="445"/>
                    </a:lnTo>
                    <a:lnTo>
                      <a:pt x="29" y="441"/>
                    </a:lnTo>
                    <a:lnTo>
                      <a:pt x="30" y="441"/>
                    </a:lnTo>
                    <a:close/>
                    <a:moveTo>
                      <a:pt x="113" y="307"/>
                    </a:moveTo>
                    <a:lnTo>
                      <a:pt x="113" y="311"/>
                    </a:lnTo>
                    <a:lnTo>
                      <a:pt x="115" y="311"/>
                    </a:lnTo>
                    <a:lnTo>
                      <a:pt x="117" y="309"/>
                    </a:lnTo>
                    <a:lnTo>
                      <a:pt x="115" y="307"/>
                    </a:lnTo>
                    <a:lnTo>
                      <a:pt x="113" y="307"/>
                    </a:lnTo>
                    <a:close/>
                    <a:moveTo>
                      <a:pt x="159" y="305"/>
                    </a:moveTo>
                    <a:lnTo>
                      <a:pt x="161" y="305"/>
                    </a:lnTo>
                    <a:lnTo>
                      <a:pt x="161" y="309"/>
                    </a:lnTo>
                    <a:lnTo>
                      <a:pt x="155" y="309"/>
                    </a:lnTo>
                    <a:lnTo>
                      <a:pt x="153" y="307"/>
                    </a:lnTo>
                    <a:lnTo>
                      <a:pt x="155" y="305"/>
                    </a:lnTo>
                    <a:lnTo>
                      <a:pt x="159" y="305"/>
                    </a:lnTo>
                    <a:close/>
                    <a:moveTo>
                      <a:pt x="126" y="301"/>
                    </a:moveTo>
                    <a:lnTo>
                      <a:pt x="123" y="303"/>
                    </a:lnTo>
                    <a:lnTo>
                      <a:pt x="121" y="307"/>
                    </a:lnTo>
                    <a:lnTo>
                      <a:pt x="123" y="307"/>
                    </a:lnTo>
                    <a:lnTo>
                      <a:pt x="128" y="305"/>
                    </a:lnTo>
                    <a:lnTo>
                      <a:pt x="128" y="301"/>
                    </a:lnTo>
                    <a:lnTo>
                      <a:pt x="126" y="301"/>
                    </a:lnTo>
                    <a:close/>
                    <a:moveTo>
                      <a:pt x="130" y="290"/>
                    </a:moveTo>
                    <a:lnTo>
                      <a:pt x="128" y="290"/>
                    </a:lnTo>
                    <a:lnTo>
                      <a:pt x="128" y="291"/>
                    </a:lnTo>
                    <a:lnTo>
                      <a:pt x="130" y="293"/>
                    </a:lnTo>
                    <a:lnTo>
                      <a:pt x="132" y="295"/>
                    </a:lnTo>
                    <a:lnTo>
                      <a:pt x="132" y="293"/>
                    </a:lnTo>
                    <a:lnTo>
                      <a:pt x="134" y="291"/>
                    </a:lnTo>
                    <a:lnTo>
                      <a:pt x="134" y="290"/>
                    </a:lnTo>
                    <a:lnTo>
                      <a:pt x="130" y="290"/>
                    </a:lnTo>
                    <a:close/>
                    <a:moveTo>
                      <a:pt x="140" y="288"/>
                    </a:moveTo>
                    <a:lnTo>
                      <a:pt x="138" y="291"/>
                    </a:lnTo>
                    <a:lnTo>
                      <a:pt x="136" y="297"/>
                    </a:lnTo>
                    <a:lnTo>
                      <a:pt x="132" y="297"/>
                    </a:lnTo>
                    <a:lnTo>
                      <a:pt x="134" y="301"/>
                    </a:lnTo>
                    <a:lnTo>
                      <a:pt x="136" y="307"/>
                    </a:lnTo>
                    <a:lnTo>
                      <a:pt x="144" y="303"/>
                    </a:lnTo>
                    <a:lnTo>
                      <a:pt x="149" y="297"/>
                    </a:lnTo>
                    <a:lnTo>
                      <a:pt x="149" y="293"/>
                    </a:lnTo>
                    <a:lnTo>
                      <a:pt x="151" y="291"/>
                    </a:lnTo>
                    <a:lnTo>
                      <a:pt x="151" y="290"/>
                    </a:lnTo>
                    <a:lnTo>
                      <a:pt x="151" y="290"/>
                    </a:lnTo>
                    <a:lnTo>
                      <a:pt x="149" y="290"/>
                    </a:lnTo>
                    <a:lnTo>
                      <a:pt x="144" y="291"/>
                    </a:lnTo>
                    <a:lnTo>
                      <a:pt x="142" y="293"/>
                    </a:lnTo>
                    <a:lnTo>
                      <a:pt x="142" y="290"/>
                    </a:lnTo>
                    <a:lnTo>
                      <a:pt x="140" y="288"/>
                    </a:lnTo>
                    <a:close/>
                    <a:moveTo>
                      <a:pt x="149" y="280"/>
                    </a:moveTo>
                    <a:lnTo>
                      <a:pt x="148" y="282"/>
                    </a:lnTo>
                    <a:lnTo>
                      <a:pt x="149" y="284"/>
                    </a:lnTo>
                    <a:lnTo>
                      <a:pt x="151" y="280"/>
                    </a:lnTo>
                    <a:lnTo>
                      <a:pt x="149" y="280"/>
                    </a:lnTo>
                    <a:close/>
                    <a:moveTo>
                      <a:pt x="171" y="261"/>
                    </a:moveTo>
                    <a:lnTo>
                      <a:pt x="171" y="265"/>
                    </a:lnTo>
                    <a:lnTo>
                      <a:pt x="169" y="268"/>
                    </a:lnTo>
                    <a:lnTo>
                      <a:pt x="172" y="267"/>
                    </a:lnTo>
                    <a:lnTo>
                      <a:pt x="176" y="267"/>
                    </a:lnTo>
                    <a:lnTo>
                      <a:pt x="174" y="265"/>
                    </a:lnTo>
                    <a:lnTo>
                      <a:pt x="174" y="263"/>
                    </a:lnTo>
                    <a:lnTo>
                      <a:pt x="174" y="261"/>
                    </a:lnTo>
                    <a:lnTo>
                      <a:pt x="171" y="261"/>
                    </a:lnTo>
                    <a:close/>
                    <a:moveTo>
                      <a:pt x="176" y="253"/>
                    </a:moveTo>
                    <a:lnTo>
                      <a:pt x="176" y="257"/>
                    </a:lnTo>
                    <a:lnTo>
                      <a:pt x="178" y="261"/>
                    </a:lnTo>
                    <a:lnTo>
                      <a:pt x="180" y="261"/>
                    </a:lnTo>
                    <a:lnTo>
                      <a:pt x="182" y="259"/>
                    </a:lnTo>
                    <a:lnTo>
                      <a:pt x="182" y="255"/>
                    </a:lnTo>
                    <a:lnTo>
                      <a:pt x="176" y="253"/>
                    </a:lnTo>
                    <a:close/>
                    <a:moveTo>
                      <a:pt x="196" y="249"/>
                    </a:moveTo>
                    <a:lnTo>
                      <a:pt x="197" y="253"/>
                    </a:lnTo>
                    <a:lnTo>
                      <a:pt x="197" y="249"/>
                    </a:lnTo>
                    <a:lnTo>
                      <a:pt x="196" y="249"/>
                    </a:lnTo>
                    <a:close/>
                    <a:moveTo>
                      <a:pt x="186" y="247"/>
                    </a:moveTo>
                    <a:lnTo>
                      <a:pt x="188" y="249"/>
                    </a:lnTo>
                    <a:lnTo>
                      <a:pt x="188" y="253"/>
                    </a:lnTo>
                    <a:lnTo>
                      <a:pt x="190" y="253"/>
                    </a:lnTo>
                    <a:lnTo>
                      <a:pt x="190" y="251"/>
                    </a:lnTo>
                    <a:lnTo>
                      <a:pt x="190" y="249"/>
                    </a:lnTo>
                    <a:lnTo>
                      <a:pt x="186" y="247"/>
                    </a:lnTo>
                    <a:close/>
                    <a:moveTo>
                      <a:pt x="301" y="245"/>
                    </a:moveTo>
                    <a:lnTo>
                      <a:pt x="301" y="247"/>
                    </a:lnTo>
                    <a:lnTo>
                      <a:pt x="303" y="251"/>
                    </a:lnTo>
                    <a:lnTo>
                      <a:pt x="301" y="251"/>
                    </a:lnTo>
                    <a:lnTo>
                      <a:pt x="299" y="253"/>
                    </a:lnTo>
                    <a:lnTo>
                      <a:pt x="299" y="247"/>
                    </a:lnTo>
                    <a:lnTo>
                      <a:pt x="301" y="245"/>
                    </a:lnTo>
                    <a:close/>
                    <a:moveTo>
                      <a:pt x="219" y="245"/>
                    </a:moveTo>
                    <a:lnTo>
                      <a:pt x="219" y="249"/>
                    </a:lnTo>
                    <a:lnTo>
                      <a:pt x="222" y="249"/>
                    </a:lnTo>
                    <a:lnTo>
                      <a:pt x="220" y="247"/>
                    </a:lnTo>
                    <a:lnTo>
                      <a:pt x="219" y="245"/>
                    </a:lnTo>
                    <a:close/>
                    <a:moveTo>
                      <a:pt x="232" y="242"/>
                    </a:moveTo>
                    <a:lnTo>
                      <a:pt x="228" y="244"/>
                    </a:lnTo>
                    <a:lnTo>
                      <a:pt x="226" y="245"/>
                    </a:lnTo>
                    <a:lnTo>
                      <a:pt x="228" y="249"/>
                    </a:lnTo>
                    <a:lnTo>
                      <a:pt x="232" y="251"/>
                    </a:lnTo>
                    <a:lnTo>
                      <a:pt x="234" y="245"/>
                    </a:lnTo>
                    <a:lnTo>
                      <a:pt x="232" y="242"/>
                    </a:lnTo>
                    <a:close/>
                    <a:moveTo>
                      <a:pt x="240" y="232"/>
                    </a:moveTo>
                    <a:lnTo>
                      <a:pt x="242" y="236"/>
                    </a:lnTo>
                    <a:lnTo>
                      <a:pt x="242" y="232"/>
                    </a:lnTo>
                    <a:lnTo>
                      <a:pt x="240" y="232"/>
                    </a:lnTo>
                    <a:close/>
                    <a:moveTo>
                      <a:pt x="224" y="232"/>
                    </a:moveTo>
                    <a:lnTo>
                      <a:pt x="222" y="234"/>
                    </a:lnTo>
                    <a:lnTo>
                      <a:pt x="220" y="238"/>
                    </a:lnTo>
                    <a:lnTo>
                      <a:pt x="215" y="238"/>
                    </a:lnTo>
                    <a:lnTo>
                      <a:pt x="211" y="240"/>
                    </a:lnTo>
                    <a:lnTo>
                      <a:pt x="211" y="242"/>
                    </a:lnTo>
                    <a:lnTo>
                      <a:pt x="211" y="245"/>
                    </a:lnTo>
                    <a:lnTo>
                      <a:pt x="213" y="245"/>
                    </a:lnTo>
                    <a:lnTo>
                      <a:pt x="219" y="242"/>
                    </a:lnTo>
                    <a:lnTo>
                      <a:pt x="224" y="236"/>
                    </a:lnTo>
                    <a:lnTo>
                      <a:pt x="226" y="234"/>
                    </a:lnTo>
                    <a:lnTo>
                      <a:pt x="228" y="232"/>
                    </a:lnTo>
                    <a:lnTo>
                      <a:pt x="226" y="232"/>
                    </a:lnTo>
                    <a:lnTo>
                      <a:pt x="224" y="232"/>
                    </a:lnTo>
                    <a:close/>
                    <a:moveTo>
                      <a:pt x="261" y="230"/>
                    </a:moveTo>
                    <a:lnTo>
                      <a:pt x="261" y="238"/>
                    </a:lnTo>
                    <a:lnTo>
                      <a:pt x="265" y="236"/>
                    </a:lnTo>
                    <a:lnTo>
                      <a:pt x="267" y="234"/>
                    </a:lnTo>
                    <a:lnTo>
                      <a:pt x="265" y="230"/>
                    </a:lnTo>
                    <a:lnTo>
                      <a:pt x="261" y="230"/>
                    </a:lnTo>
                    <a:close/>
                    <a:moveTo>
                      <a:pt x="203" y="78"/>
                    </a:moveTo>
                    <a:lnTo>
                      <a:pt x="199" y="80"/>
                    </a:lnTo>
                    <a:lnTo>
                      <a:pt x="197" y="84"/>
                    </a:lnTo>
                    <a:lnTo>
                      <a:pt x="199" y="88"/>
                    </a:lnTo>
                    <a:lnTo>
                      <a:pt x="201" y="92"/>
                    </a:lnTo>
                    <a:lnTo>
                      <a:pt x="197" y="94"/>
                    </a:lnTo>
                    <a:lnTo>
                      <a:pt x="197" y="98"/>
                    </a:lnTo>
                    <a:lnTo>
                      <a:pt x="217" y="96"/>
                    </a:lnTo>
                    <a:lnTo>
                      <a:pt x="242" y="94"/>
                    </a:lnTo>
                    <a:lnTo>
                      <a:pt x="244" y="86"/>
                    </a:lnTo>
                    <a:lnTo>
                      <a:pt x="240" y="86"/>
                    </a:lnTo>
                    <a:lnTo>
                      <a:pt x="234" y="88"/>
                    </a:lnTo>
                    <a:lnTo>
                      <a:pt x="228" y="82"/>
                    </a:lnTo>
                    <a:lnTo>
                      <a:pt x="222" y="78"/>
                    </a:lnTo>
                    <a:lnTo>
                      <a:pt x="203" y="78"/>
                    </a:lnTo>
                    <a:close/>
                    <a:moveTo>
                      <a:pt x="199" y="63"/>
                    </a:moveTo>
                    <a:lnTo>
                      <a:pt x="192" y="65"/>
                    </a:lnTo>
                    <a:lnTo>
                      <a:pt x="188" y="67"/>
                    </a:lnTo>
                    <a:lnTo>
                      <a:pt x="188" y="69"/>
                    </a:lnTo>
                    <a:lnTo>
                      <a:pt x="190" y="73"/>
                    </a:lnTo>
                    <a:lnTo>
                      <a:pt x="194" y="75"/>
                    </a:lnTo>
                    <a:lnTo>
                      <a:pt x="197" y="77"/>
                    </a:lnTo>
                    <a:lnTo>
                      <a:pt x="203" y="77"/>
                    </a:lnTo>
                    <a:lnTo>
                      <a:pt x="209" y="77"/>
                    </a:lnTo>
                    <a:lnTo>
                      <a:pt x="209" y="73"/>
                    </a:lnTo>
                    <a:lnTo>
                      <a:pt x="209" y="71"/>
                    </a:lnTo>
                    <a:lnTo>
                      <a:pt x="211" y="71"/>
                    </a:lnTo>
                    <a:lnTo>
                      <a:pt x="211" y="71"/>
                    </a:lnTo>
                    <a:lnTo>
                      <a:pt x="211" y="69"/>
                    </a:lnTo>
                    <a:lnTo>
                      <a:pt x="209" y="67"/>
                    </a:lnTo>
                    <a:lnTo>
                      <a:pt x="205" y="65"/>
                    </a:lnTo>
                    <a:lnTo>
                      <a:pt x="199" y="63"/>
                    </a:lnTo>
                    <a:close/>
                    <a:moveTo>
                      <a:pt x="278" y="55"/>
                    </a:moveTo>
                    <a:lnTo>
                      <a:pt x="280" y="61"/>
                    </a:lnTo>
                    <a:lnTo>
                      <a:pt x="282" y="61"/>
                    </a:lnTo>
                    <a:lnTo>
                      <a:pt x="282" y="59"/>
                    </a:lnTo>
                    <a:lnTo>
                      <a:pt x="280" y="57"/>
                    </a:lnTo>
                    <a:lnTo>
                      <a:pt x="278" y="55"/>
                    </a:lnTo>
                    <a:close/>
                    <a:moveTo>
                      <a:pt x="299" y="48"/>
                    </a:moveTo>
                    <a:lnTo>
                      <a:pt x="297" y="54"/>
                    </a:lnTo>
                    <a:lnTo>
                      <a:pt x="301" y="54"/>
                    </a:lnTo>
                    <a:lnTo>
                      <a:pt x="309" y="52"/>
                    </a:lnTo>
                    <a:lnTo>
                      <a:pt x="313" y="52"/>
                    </a:lnTo>
                    <a:lnTo>
                      <a:pt x="315" y="52"/>
                    </a:lnTo>
                    <a:lnTo>
                      <a:pt x="315" y="50"/>
                    </a:lnTo>
                    <a:lnTo>
                      <a:pt x="313" y="50"/>
                    </a:lnTo>
                    <a:lnTo>
                      <a:pt x="307" y="48"/>
                    </a:lnTo>
                    <a:lnTo>
                      <a:pt x="299" y="48"/>
                    </a:lnTo>
                    <a:close/>
                    <a:moveTo>
                      <a:pt x="138" y="46"/>
                    </a:moveTo>
                    <a:lnTo>
                      <a:pt x="138" y="48"/>
                    </a:lnTo>
                    <a:lnTo>
                      <a:pt x="136" y="50"/>
                    </a:lnTo>
                    <a:lnTo>
                      <a:pt x="136" y="46"/>
                    </a:lnTo>
                    <a:lnTo>
                      <a:pt x="138" y="46"/>
                    </a:lnTo>
                    <a:close/>
                    <a:moveTo>
                      <a:pt x="84" y="42"/>
                    </a:moveTo>
                    <a:lnTo>
                      <a:pt x="86" y="52"/>
                    </a:lnTo>
                    <a:lnTo>
                      <a:pt x="88" y="59"/>
                    </a:lnTo>
                    <a:lnTo>
                      <a:pt x="90" y="59"/>
                    </a:lnTo>
                    <a:lnTo>
                      <a:pt x="92" y="57"/>
                    </a:lnTo>
                    <a:lnTo>
                      <a:pt x="88" y="50"/>
                    </a:lnTo>
                    <a:lnTo>
                      <a:pt x="84" y="42"/>
                    </a:lnTo>
                    <a:close/>
                    <a:moveTo>
                      <a:pt x="144" y="15"/>
                    </a:moveTo>
                    <a:lnTo>
                      <a:pt x="138" y="23"/>
                    </a:lnTo>
                    <a:lnTo>
                      <a:pt x="134" y="27"/>
                    </a:lnTo>
                    <a:lnTo>
                      <a:pt x="134" y="34"/>
                    </a:lnTo>
                    <a:lnTo>
                      <a:pt x="136" y="46"/>
                    </a:lnTo>
                    <a:lnTo>
                      <a:pt x="126" y="34"/>
                    </a:lnTo>
                    <a:lnTo>
                      <a:pt x="119" y="23"/>
                    </a:lnTo>
                    <a:lnTo>
                      <a:pt x="115" y="27"/>
                    </a:lnTo>
                    <a:lnTo>
                      <a:pt x="113" y="30"/>
                    </a:lnTo>
                    <a:lnTo>
                      <a:pt x="113" y="34"/>
                    </a:lnTo>
                    <a:lnTo>
                      <a:pt x="109" y="30"/>
                    </a:lnTo>
                    <a:lnTo>
                      <a:pt x="107" y="29"/>
                    </a:lnTo>
                    <a:lnTo>
                      <a:pt x="107" y="27"/>
                    </a:lnTo>
                    <a:lnTo>
                      <a:pt x="113" y="23"/>
                    </a:lnTo>
                    <a:lnTo>
                      <a:pt x="111" y="23"/>
                    </a:lnTo>
                    <a:lnTo>
                      <a:pt x="111" y="21"/>
                    </a:lnTo>
                    <a:lnTo>
                      <a:pt x="103" y="21"/>
                    </a:lnTo>
                    <a:lnTo>
                      <a:pt x="98" y="21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2" y="23"/>
                    </a:lnTo>
                    <a:lnTo>
                      <a:pt x="90" y="23"/>
                    </a:lnTo>
                    <a:lnTo>
                      <a:pt x="88" y="29"/>
                    </a:lnTo>
                    <a:lnTo>
                      <a:pt x="88" y="34"/>
                    </a:lnTo>
                    <a:lnTo>
                      <a:pt x="90" y="32"/>
                    </a:lnTo>
                    <a:lnTo>
                      <a:pt x="94" y="32"/>
                    </a:lnTo>
                    <a:lnTo>
                      <a:pt x="92" y="36"/>
                    </a:lnTo>
                    <a:lnTo>
                      <a:pt x="94" y="40"/>
                    </a:lnTo>
                    <a:lnTo>
                      <a:pt x="90" y="38"/>
                    </a:lnTo>
                    <a:lnTo>
                      <a:pt x="90" y="40"/>
                    </a:lnTo>
                    <a:lnTo>
                      <a:pt x="90" y="44"/>
                    </a:lnTo>
                    <a:lnTo>
                      <a:pt x="90" y="46"/>
                    </a:lnTo>
                    <a:lnTo>
                      <a:pt x="94" y="48"/>
                    </a:lnTo>
                    <a:lnTo>
                      <a:pt x="98" y="50"/>
                    </a:lnTo>
                    <a:lnTo>
                      <a:pt x="100" y="57"/>
                    </a:lnTo>
                    <a:lnTo>
                      <a:pt x="100" y="63"/>
                    </a:lnTo>
                    <a:lnTo>
                      <a:pt x="103" y="63"/>
                    </a:lnTo>
                    <a:lnTo>
                      <a:pt x="109" y="63"/>
                    </a:lnTo>
                    <a:lnTo>
                      <a:pt x="109" y="59"/>
                    </a:lnTo>
                    <a:lnTo>
                      <a:pt x="111" y="57"/>
                    </a:lnTo>
                    <a:lnTo>
                      <a:pt x="113" y="59"/>
                    </a:lnTo>
                    <a:lnTo>
                      <a:pt x="119" y="59"/>
                    </a:lnTo>
                    <a:lnTo>
                      <a:pt x="121" y="52"/>
                    </a:lnTo>
                    <a:lnTo>
                      <a:pt x="125" y="52"/>
                    </a:lnTo>
                    <a:lnTo>
                      <a:pt x="128" y="52"/>
                    </a:lnTo>
                    <a:lnTo>
                      <a:pt x="128" y="55"/>
                    </a:lnTo>
                    <a:lnTo>
                      <a:pt x="128" y="59"/>
                    </a:lnTo>
                    <a:lnTo>
                      <a:pt x="144" y="61"/>
                    </a:lnTo>
                    <a:lnTo>
                      <a:pt x="149" y="65"/>
                    </a:lnTo>
                    <a:lnTo>
                      <a:pt x="144" y="65"/>
                    </a:lnTo>
                    <a:lnTo>
                      <a:pt x="138" y="67"/>
                    </a:lnTo>
                    <a:lnTo>
                      <a:pt x="132" y="67"/>
                    </a:lnTo>
                    <a:lnTo>
                      <a:pt x="123" y="69"/>
                    </a:lnTo>
                    <a:lnTo>
                      <a:pt x="119" y="71"/>
                    </a:lnTo>
                    <a:lnTo>
                      <a:pt x="117" y="71"/>
                    </a:lnTo>
                    <a:lnTo>
                      <a:pt x="115" y="67"/>
                    </a:lnTo>
                    <a:lnTo>
                      <a:pt x="111" y="67"/>
                    </a:lnTo>
                    <a:lnTo>
                      <a:pt x="107" y="69"/>
                    </a:lnTo>
                    <a:lnTo>
                      <a:pt x="109" y="80"/>
                    </a:lnTo>
                    <a:lnTo>
                      <a:pt x="111" y="78"/>
                    </a:lnTo>
                    <a:lnTo>
                      <a:pt x="113" y="77"/>
                    </a:lnTo>
                    <a:lnTo>
                      <a:pt x="123" y="77"/>
                    </a:lnTo>
                    <a:lnTo>
                      <a:pt x="134" y="77"/>
                    </a:lnTo>
                    <a:lnTo>
                      <a:pt x="130" y="78"/>
                    </a:lnTo>
                    <a:lnTo>
                      <a:pt x="125" y="82"/>
                    </a:lnTo>
                    <a:lnTo>
                      <a:pt x="125" y="84"/>
                    </a:lnTo>
                    <a:lnTo>
                      <a:pt x="125" y="86"/>
                    </a:lnTo>
                    <a:lnTo>
                      <a:pt x="125" y="88"/>
                    </a:lnTo>
                    <a:lnTo>
                      <a:pt x="128" y="90"/>
                    </a:lnTo>
                    <a:lnTo>
                      <a:pt x="117" y="88"/>
                    </a:lnTo>
                    <a:lnTo>
                      <a:pt x="111" y="88"/>
                    </a:lnTo>
                    <a:lnTo>
                      <a:pt x="111" y="92"/>
                    </a:lnTo>
                    <a:lnTo>
                      <a:pt x="113" y="98"/>
                    </a:lnTo>
                    <a:lnTo>
                      <a:pt x="119" y="98"/>
                    </a:lnTo>
                    <a:lnTo>
                      <a:pt x="126" y="100"/>
                    </a:lnTo>
                    <a:lnTo>
                      <a:pt x="126" y="103"/>
                    </a:lnTo>
                    <a:lnTo>
                      <a:pt x="130" y="103"/>
                    </a:lnTo>
                    <a:lnTo>
                      <a:pt x="132" y="105"/>
                    </a:lnTo>
                    <a:lnTo>
                      <a:pt x="136" y="103"/>
                    </a:lnTo>
                    <a:lnTo>
                      <a:pt x="138" y="103"/>
                    </a:lnTo>
                    <a:lnTo>
                      <a:pt x="138" y="107"/>
                    </a:lnTo>
                    <a:lnTo>
                      <a:pt x="140" y="113"/>
                    </a:lnTo>
                    <a:lnTo>
                      <a:pt x="142" y="113"/>
                    </a:lnTo>
                    <a:lnTo>
                      <a:pt x="144" y="115"/>
                    </a:lnTo>
                    <a:lnTo>
                      <a:pt x="146" y="113"/>
                    </a:lnTo>
                    <a:lnTo>
                      <a:pt x="149" y="113"/>
                    </a:lnTo>
                    <a:lnTo>
                      <a:pt x="149" y="109"/>
                    </a:lnTo>
                    <a:lnTo>
                      <a:pt x="148" y="107"/>
                    </a:lnTo>
                    <a:lnTo>
                      <a:pt x="148" y="103"/>
                    </a:lnTo>
                    <a:lnTo>
                      <a:pt x="151" y="101"/>
                    </a:lnTo>
                    <a:lnTo>
                      <a:pt x="157" y="103"/>
                    </a:lnTo>
                    <a:lnTo>
                      <a:pt x="159" y="100"/>
                    </a:lnTo>
                    <a:lnTo>
                      <a:pt x="163" y="98"/>
                    </a:lnTo>
                    <a:lnTo>
                      <a:pt x="165" y="96"/>
                    </a:lnTo>
                    <a:lnTo>
                      <a:pt x="165" y="92"/>
                    </a:lnTo>
                    <a:lnTo>
                      <a:pt x="169" y="92"/>
                    </a:lnTo>
                    <a:lnTo>
                      <a:pt x="172" y="92"/>
                    </a:lnTo>
                    <a:lnTo>
                      <a:pt x="172" y="86"/>
                    </a:lnTo>
                    <a:lnTo>
                      <a:pt x="172" y="82"/>
                    </a:lnTo>
                    <a:lnTo>
                      <a:pt x="178" y="80"/>
                    </a:lnTo>
                    <a:lnTo>
                      <a:pt x="178" y="78"/>
                    </a:lnTo>
                    <a:lnTo>
                      <a:pt x="176" y="78"/>
                    </a:lnTo>
                    <a:lnTo>
                      <a:pt x="176" y="71"/>
                    </a:lnTo>
                    <a:lnTo>
                      <a:pt x="176" y="65"/>
                    </a:lnTo>
                    <a:lnTo>
                      <a:pt x="186" y="61"/>
                    </a:lnTo>
                    <a:lnTo>
                      <a:pt x="196" y="61"/>
                    </a:lnTo>
                    <a:lnTo>
                      <a:pt x="194" y="57"/>
                    </a:lnTo>
                    <a:lnTo>
                      <a:pt x="194" y="55"/>
                    </a:lnTo>
                    <a:lnTo>
                      <a:pt x="184" y="54"/>
                    </a:lnTo>
                    <a:lnTo>
                      <a:pt x="176" y="52"/>
                    </a:lnTo>
                    <a:lnTo>
                      <a:pt x="174" y="46"/>
                    </a:lnTo>
                    <a:lnTo>
                      <a:pt x="172" y="38"/>
                    </a:lnTo>
                    <a:lnTo>
                      <a:pt x="169" y="38"/>
                    </a:lnTo>
                    <a:lnTo>
                      <a:pt x="165" y="38"/>
                    </a:lnTo>
                    <a:lnTo>
                      <a:pt x="167" y="34"/>
                    </a:lnTo>
                    <a:lnTo>
                      <a:pt x="167" y="29"/>
                    </a:lnTo>
                    <a:lnTo>
                      <a:pt x="161" y="27"/>
                    </a:lnTo>
                    <a:lnTo>
                      <a:pt x="157" y="23"/>
                    </a:lnTo>
                    <a:lnTo>
                      <a:pt x="155" y="21"/>
                    </a:lnTo>
                    <a:lnTo>
                      <a:pt x="151" y="21"/>
                    </a:lnTo>
                    <a:lnTo>
                      <a:pt x="149" y="23"/>
                    </a:lnTo>
                    <a:lnTo>
                      <a:pt x="148" y="17"/>
                    </a:lnTo>
                    <a:lnTo>
                      <a:pt x="144" y="15"/>
                    </a:lnTo>
                    <a:close/>
                    <a:moveTo>
                      <a:pt x="190" y="0"/>
                    </a:moveTo>
                    <a:lnTo>
                      <a:pt x="190" y="2"/>
                    </a:lnTo>
                    <a:lnTo>
                      <a:pt x="190" y="6"/>
                    </a:lnTo>
                    <a:lnTo>
                      <a:pt x="192" y="7"/>
                    </a:lnTo>
                    <a:lnTo>
                      <a:pt x="192" y="9"/>
                    </a:lnTo>
                    <a:lnTo>
                      <a:pt x="188" y="9"/>
                    </a:lnTo>
                    <a:lnTo>
                      <a:pt x="186" y="9"/>
                    </a:lnTo>
                    <a:lnTo>
                      <a:pt x="186" y="13"/>
                    </a:lnTo>
                    <a:lnTo>
                      <a:pt x="186" y="17"/>
                    </a:lnTo>
                    <a:lnTo>
                      <a:pt x="178" y="13"/>
                    </a:lnTo>
                    <a:lnTo>
                      <a:pt x="169" y="11"/>
                    </a:lnTo>
                    <a:lnTo>
                      <a:pt x="169" y="15"/>
                    </a:lnTo>
                    <a:lnTo>
                      <a:pt x="174" y="15"/>
                    </a:lnTo>
                    <a:lnTo>
                      <a:pt x="180" y="17"/>
                    </a:lnTo>
                    <a:lnTo>
                      <a:pt x="178" y="21"/>
                    </a:lnTo>
                    <a:lnTo>
                      <a:pt x="174" y="23"/>
                    </a:lnTo>
                    <a:lnTo>
                      <a:pt x="174" y="25"/>
                    </a:lnTo>
                    <a:lnTo>
                      <a:pt x="174" y="29"/>
                    </a:lnTo>
                    <a:lnTo>
                      <a:pt x="190" y="29"/>
                    </a:lnTo>
                    <a:lnTo>
                      <a:pt x="207" y="27"/>
                    </a:lnTo>
                    <a:lnTo>
                      <a:pt x="207" y="29"/>
                    </a:lnTo>
                    <a:lnTo>
                      <a:pt x="207" y="32"/>
                    </a:lnTo>
                    <a:lnTo>
                      <a:pt x="199" y="32"/>
                    </a:lnTo>
                    <a:lnTo>
                      <a:pt x="194" y="34"/>
                    </a:lnTo>
                    <a:lnTo>
                      <a:pt x="190" y="32"/>
                    </a:lnTo>
                    <a:lnTo>
                      <a:pt x="186" y="32"/>
                    </a:lnTo>
                    <a:lnTo>
                      <a:pt x="184" y="38"/>
                    </a:lnTo>
                    <a:lnTo>
                      <a:pt x="197" y="40"/>
                    </a:lnTo>
                    <a:lnTo>
                      <a:pt x="213" y="42"/>
                    </a:lnTo>
                    <a:lnTo>
                      <a:pt x="217" y="46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36" y="46"/>
                    </a:lnTo>
                    <a:lnTo>
                      <a:pt x="253" y="48"/>
                    </a:lnTo>
                    <a:lnTo>
                      <a:pt x="255" y="44"/>
                    </a:lnTo>
                    <a:lnTo>
                      <a:pt x="255" y="40"/>
                    </a:lnTo>
                    <a:lnTo>
                      <a:pt x="261" y="38"/>
                    </a:lnTo>
                    <a:lnTo>
                      <a:pt x="268" y="38"/>
                    </a:lnTo>
                    <a:lnTo>
                      <a:pt x="270" y="34"/>
                    </a:lnTo>
                    <a:lnTo>
                      <a:pt x="268" y="30"/>
                    </a:lnTo>
                    <a:lnTo>
                      <a:pt x="272" y="30"/>
                    </a:lnTo>
                    <a:lnTo>
                      <a:pt x="276" y="30"/>
                    </a:lnTo>
                    <a:lnTo>
                      <a:pt x="282" y="25"/>
                    </a:lnTo>
                    <a:lnTo>
                      <a:pt x="286" y="17"/>
                    </a:lnTo>
                    <a:lnTo>
                      <a:pt x="276" y="17"/>
                    </a:lnTo>
                    <a:lnTo>
                      <a:pt x="267" y="15"/>
                    </a:lnTo>
                    <a:lnTo>
                      <a:pt x="267" y="13"/>
                    </a:lnTo>
                    <a:lnTo>
                      <a:pt x="268" y="11"/>
                    </a:lnTo>
                    <a:lnTo>
                      <a:pt x="265" y="11"/>
                    </a:lnTo>
                    <a:lnTo>
                      <a:pt x="263" y="15"/>
                    </a:lnTo>
                    <a:lnTo>
                      <a:pt x="257" y="13"/>
                    </a:lnTo>
                    <a:lnTo>
                      <a:pt x="259" y="11"/>
                    </a:lnTo>
                    <a:lnTo>
                      <a:pt x="261" y="9"/>
                    </a:lnTo>
                    <a:lnTo>
                      <a:pt x="255" y="11"/>
                    </a:lnTo>
                    <a:lnTo>
                      <a:pt x="251" y="15"/>
                    </a:lnTo>
                    <a:lnTo>
                      <a:pt x="249" y="15"/>
                    </a:lnTo>
                    <a:lnTo>
                      <a:pt x="247" y="17"/>
                    </a:lnTo>
                    <a:lnTo>
                      <a:pt x="244" y="17"/>
                    </a:lnTo>
                    <a:lnTo>
                      <a:pt x="245" y="13"/>
                    </a:lnTo>
                    <a:lnTo>
                      <a:pt x="245" y="11"/>
                    </a:lnTo>
                    <a:lnTo>
                      <a:pt x="242" y="6"/>
                    </a:lnTo>
                    <a:lnTo>
                      <a:pt x="242" y="9"/>
                    </a:lnTo>
                    <a:lnTo>
                      <a:pt x="242" y="15"/>
                    </a:lnTo>
                    <a:lnTo>
                      <a:pt x="238" y="13"/>
                    </a:lnTo>
                    <a:lnTo>
                      <a:pt x="236" y="11"/>
                    </a:lnTo>
                    <a:lnTo>
                      <a:pt x="234" y="15"/>
                    </a:lnTo>
                    <a:lnTo>
                      <a:pt x="234" y="19"/>
                    </a:lnTo>
                    <a:lnTo>
                      <a:pt x="226" y="17"/>
                    </a:lnTo>
                    <a:lnTo>
                      <a:pt x="220" y="15"/>
                    </a:lnTo>
                    <a:lnTo>
                      <a:pt x="219" y="13"/>
                    </a:lnTo>
                    <a:lnTo>
                      <a:pt x="219" y="11"/>
                    </a:lnTo>
                    <a:lnTo>
                      <a:pt x="213" y="11"/>
                    </a:lnTo>
                    <a:lnTo>
                      <a:pt x="205" y="9"/>
                    </a:lnTo>
                    <a:lnTo>
                      <a:pt x="197" y="4"/>
                    </a:lnTo>
                    <a:lnTo>
                      <a:pt x="19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0" name="Freeform 118"/>
              <p:cNvSpPr>
                <a:spLocks/>
              </p:cNvSpPr>
              <p:nvPr/>
            </p:nvSpPr>
            <p:spPr bwMode="gray">
              <a:xfrm>
                <a:off x="6794147" y="3340101"/>
                <a:ext cx="119049" cy="161925"/>
              </a:xfrm>
              <a:custGeom>
                <a:avLst/>
                <a:gdLst>
                  <a:gd name="T0" fmla="*/ 67 w 75"/>
                  <a:gd name="T1" fmla="*/ 21 h 102"/>
                  <a:gd name="T2" fmla="*/ 58 w 75"/>
                  <a:gd name="T3" fmla="*/ 31 h 102"/>
                  <a:gd name="T4" fmla="*/ 59 w 75"/>
                  <a:gd name="T5" fmla="*/ 36 h 102"/>
                  <a:gd name="T6" fmla="*/ 61 w 75"/>
                  <a:gd name="T7" fmla="*/ 44 h 102"/>
                  <a:gd name="T8" fmla="*/ 56 w 75"/>
                  <a:gd name="T9" fmla="*/ 52 h 102"/>
                  <a:gd name="T10" fmla="*/ 48 w 75"/>
                  <a:gd name="T11" fmla="*/ 57 h 102"/>
                  <a:gd name="T12" fmla="*/ 40 w 75"/>
                  <a:gd name="T13" fmla="*/ 63 h 102"/>
                  <a:gd name="T14" fmla="*/ 34 w 75"/>
                  <a:gd name="T15" fmla="*/ 71 h 102"/>
                  <a:gd name="T16" fmla="*/ 40 w 75"/>
                  <a:gd name="T17" fmla="*/ 80 h 102"/>
                  <a:gd name="T18" fmla="*/ 46 w 75"/>
                  <a:gd name="T19" fmla="*/ 86 h 102"/>
                  <a:gd name="T20" fmla="*/ 46 w 75"/>
                  <a:gd name="T21" fmla="*/ 92 h 102"/>
                  <a:gd name="T22" fmla="*/ 44 w 75"/>
                  <a:gd name="T23" fmla="*/ 94 h 102"/>
                  <a:gd name="T24" fmla="*/ 36 w 75"/>
                  <a:gd name="T25" fmla="*/ 94 h 102"/>
                  <a:gd name="T26" fmla="*/ 31 w 75"/>
                  <a:gd name="T27" fmla="*/ 94 h 102"/>
                  <a:gd name="T28" fmla="*/ 17 w 75"/>
                  <a:gd name="T29" fmla="*/ 102 h 102"/>
                  <a:gd name="T30" fmla="*/ 11 w 75"/>
                  <a:gd name="T31" fmla="*/ 102 h 102"/>
                  <a:gd name="T32" fmla="*/ 8 w 75"/>
                  <a:gd name="T33" fmla="*/ 98 h 102"/>
                  <a:gd name="T34" fmla="*/ 4 w 75"/>
                  <a:gd name="T35" fmla="*/ 94 h 102"/>
                  <a:gd name="T36" fmla="*/ 0 w 75"/>
                  <a:gd name="T37" fmla="*/ 92 h 102"/>
                  <a:gd name="T38" fmla="*/ 2 w 75"/>
                  <a:gd name="T39" fmla="*/ 88 h 102"/>
                  <a:gd name="T40" fmla="*/ 4 w 75"/>
                  <a:gd name="T41" fmla="*/ 86 h 102"/>
                  <a:gd name="T42" fmla="*/ 8 w 75"/>
                  <a:gd name="T43" fmla="*/ 84 h 102"/>
                  <a:gd name="T44" fmla="*/ 8 w 75"/>
                  <a:gd name="T45" fmla="*/ 80 h 102"/>
                  <a:gd name="T46" fmla="*/ 8 w 75"/>
                  <a:gd name="T47" fmla="*/ 75 h 102"/>
                  <a:gd name="T48" fmla="*/ 4 w 75"/>
                  <a:gd name="T49" fmla="*/ 67 h 102"/>
                  <a:gd name="T50" fmla="*/ 6 w 75"/>
                  <a:gd name="T51" fmla="*/ 56 h 102"/>
                  <a:gd name="T52" fmla="*/ 15 w 75"/>
                  <a:gd name="T53" fmla="*/ 44 h 102"/>
                  <a:gd name="T54" fmla="*/ 27 w 75"/>
                  <a:gd name="T55" fmla="*/ 31 h 102"/>
                  <a:gd name="T56" fmla="*/ 33 w 75"/>
                  <a:gd name="T57" fmla="*/ 21 h 102"/>
                  <a:gd name="T58" fmla="*/ 40 w 75"/>
                  <a:gd name="T59" fmla="*/ 29 h 102"/>
                  <a:gd name="T60" fmla="*/ 48 w 75"/>
                  <a:gd name="T61" fmla="*/ 25 h 102"/>
                  <a:gd name="T62" fmla="*/ 52 w 75"/>
                  <a:gd name="T63" fmla="*/ 17 h 102"/>
                  <a:gd name="T64" fmla="*/ 59 w 75"/>
                  <a:gd name="T65" fmla="*/ 15 h 102"/>
                  <a:gd name="T66" fmla="*/ 65 w 75"/>
                  <a:gd name="T67" fmla="*/ 9 h 102"/>
                  <a:gd name="T68" fmla="*/ 75 w 75"/>
                  <a:gd name="T69" fmla="*/ 13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5" h="102">
                    <a:moveTo>
                      <a:pt x="75" y="13"/>
                    </a:moveTo>
                    <a:lnTo>
                      <a:pt x="67" y="21"/>
                    </a:lnTo>
                    <a:lnTo>
                      <a:pt x="58" y="29"/>
                    </a:lnTo>
                    <a:lnTo>
                      <a:pt x="58" y="31"/>
                    </a:lnTo>
                    <a:lnTo>
                      <a:pt x="58" y="34"/>
                    </a:lnTo>
                    <a:lnTo>
                      <a:pt x="59" y="36"/>
                    </a:lnTo>
                    <a:lnTo>
                      <a:pt x="63" y="36"/>
                    </a:lnTo>
                    <a:lnTo>
                      <a:pt x="61" y="44"/>
                    </a:lnTo>
                    <a:lnTo>
                      <a:pt x="59" y="52"/>
                    </a:lnTo>
                    <a:lnTo>
                      <a:pt x="56" y="52"/>
                    </a:lnTo>
                    <a:lnTo>
                      <a:pt x="50" y="54"/>
                    </a:lnTo>
                    <a:lnTo>
                      <a:pt x="48" y="57"/>
                    </a:lnTo>
                    <a:lnTo>
                      <a:pt x="46" y="61"/>
                    </a:lnTo>
                    <a:lnTo>
                      <a:pt x="40" y="63"/>
                    </a:lnTo>
                    <a:lnTo>
                      <a:pt x="36" y="65"/>
                    </a:lnTo>
                    <a:lnTo>
                      <a:pt x="34" y="71"/>
                    </a:lnTo>
                    <a:lnTo>
                      <a:pt x="33" y="79"/>
                    </a:lnTo>
                    <a:lnTo>
                      <a:pt x="40" y="80"/>
                    </a:lnTo>
                    <a:lnTo>
                      <a:pt x="46" y="84"/>
                    </a:lnTo>
                    <a:lnTo>
                      <a:pt x="46" y="86"/>
                    </a:lnTo>
                    <a:lnTo>
                      <a:pt x="44" y="90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4" y="94"/>
                    </a:lnTo>
                    <a:lnTo>
                      <a:pt x="40" y="96"/>
                    </a:lnTo>
                    <a:lnTo>
                      <a:pt x="36" y="94"/>
                    </a:lnTo>
                    <a:lnTo>
                      <a:pt x="34" y="92"/>
                    </a:lnTo>
                    <a:lnTo>
                      <a:pt x="31" y="94"/>
                    </a:lnTo>
                    <a:lnTo>
                      <a:pt x="23" y="102"/>
                    </a:lnTo>
                    <a:lnTo>
                      <a:pt x="17" y="102"/>
                    </a:lnTo>
                    <a:lnTo>
                      <a:pt x="13" y="102"/>
                    </a:lnTo>
                    <a:lnTo>
                      <a:pt x="11" y="102"/>
                    </a:lnTo>
                    <a:lnTo>
                      <a:pt x="6" y="102"/>
                    </a:lnTo>
                    <a:lnTo>
                      <a:pt x="8" y="98"/>
                    </a:lnTo>
                    <a:lnTo>
                      <a:pt x="8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4" y="86"/>
                    </a:lnTo>
                    <a:lnTo>
                      <a:pt x="4" y="84"/>
                    </a:lnTo>
                    <a:lnTo>
                      <a:pt x="8" y="84"/>
                    </a:lnTo>
                    <a:lnTo>
                      <a:pt x="10" y="84"/>
                    </a:lnTo>
                    <a:lnTo>
                      <a:pt x="8" y="80"/>
                    </a:lnTo>
                    <a:lnTo>
                      <a:pt x="6" y="79"/>
                    </a:lnTo>
                    <a:lnTo>
                      <a:pt x="8" y="75"/>
                    </a:lnTo>
                    <a:lnTo>
                      <a:pt x="8" y="71"/>
                    </a:lnTo>
                    <a:lnTo>
                      <a:pt x="4" y="67"/>
                    </a:lnTo>
                    <a:lnTo>
                      <a:pt x="2" y="67"/>
                    </a:lnTo>
                    <a:lnTo>
                      <a:pt x="6" y="56"/>
                    </a:lnTo>
                    <a:lnTo>
                      <a:pt x="11" y="52"/>
                    </a:lnTo>
                    <a:lnTo>
                      <a:pt x="15" y="44"/>
                    </a:lnTo>
                    <a:lnTo>
                      <a:pt x="19" y="38"/>
                    </a:lnTo>
                    <a:lnTo>
                      <a:pt x="27" y="31"/>
                    </a:lnTo>
                    <a:lnTo>
                      <a:pt x="27" y="23"/>
                    </a:lnTo>
                    <a:lnTo>
                      <a:pt x="33" y="21"/>
                    </a:lnTo>
                    <a:lnTo>
                      <a:pt x="34" y="27"/>
                    </a:lnTo>
                    <a:lnTo>
                      <a:pt x="40" y="29"/>
                    </a:lnTo>
                    <a:lnTo>
                      <a:pt x="48" y="29"/>
                    </a:lnTo>
                    <a:lnTo>
                      <a:pt x="48" y="25"/>
                    </a:lnTo>
                    <a:lnTo>
                      <a:pt x="46" y="21"/>
                    </a:lnTo>
                    <a:lnTo>
                      <a:pt x="52" y="17"/>
                    </a:lnTo>
                    <a:lnTo>
                      <a:pt x="58" y="17"/>
                    </a:lnTo>
                    <a:lnTo>
                      <a:pt x="59" y="15"/>
                    </a:lnTo>
                    <a:lnTo>
                      <a:pt x="59" y="11"/>
                    </a:lnTo>
                    <a:lnTo>
                      <a:pt x="65" y="9"/>
                    </a:lnTo>
                    <a:lnTo>
                      <a:pt x="67" y="0"/>
                    </a:lnTo>
                    <a:lnTo>
                      <a:pt x="75" y="1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1" name="Freeform 119"/>
              <p:cNvSpPr>
                <a:spLocks/>
              </p:cNvSpPr>
              <p:nvPr/>
            </p:nvSpPr>
            <p:spPr bwMode="gray">
              <a:xfrm>
                <a:off x="4381415" y="4105276"/>
                <a:ext cx="234924" cy="249238"/>
              </a:xfrm>
              <a:custGeom>
                <a:avLst/>
                <a:gdLst>
                  <a:gd name="T0" fmla="*/ 144 w 148"/>
                  <a:gd name="T1" fmla="*/ 23 h 157"/>
                  <a:gd name="T2" fmla="*/ 148 w 148"/>
                  <a:gd name="T3" fmla="*/ 26 h 157"/>
                  <a:gd name="T4" fmla="*/ 144 w 148"/>
                  <a:gd name="T5" fmla="*/ 38 h 157"/>
                  <a:gd name="T6" fmla="*/ 140 w 148"/>
                  <a:gd name="T7" fmla="*/ 40 h 157"/>
                  <a:gd name="T8" fmla="*/ 134 w 148"/>
                  <a:gd name="T9" fmla="*/ 48 h 157"/>
                  <a:gd name="T10" fmla="*/ 134 w 148"/>
                  <a:gd name="T11" fmla="*/ 53 h 157"/>
                  <a:gd name="T12" fmla="*/ 130 w 148"/>
                  <a:gd name="T13" fmla="*/ 61 h 157"/>
                  <a:gd name="T14" fmla="*/ 129 w 148"/>
                  <a:gd name="T15" fmla="*/ 65 h 157"/>
                  <a:gd name="T16" fmla="*/ 129 w 148"/>
                  <a:gd name="T17" fmla="*/ 72 h 157"/>
                  <a:gd name="T18" fmla="*/ 121 w 148"/>
                  <a:gd name="T19" fmla="*/ 76 h 157"/>
                  <a:gd name="T20" fmla="*/ 115 w 148"/>
                  <a:gd name="T21" fmla="*/ 82 h 157"/>
                  <a:gd name="T22" fmla="*/ 113 w 148"/>
                  <a:gd name="T23" fmla="*/ 90 h 157"/>
                  <a:gd name="T24" fmla="*/ 111 w 148"/>
                  <a:gd name="T25" fmla="*/ 95 h 157"/>
                  <a:gd name="T26" fmla="*/ 106 w 148"/>
                  <a:gd name="T27" fmla="*/ 101 h 157"/>
                  <a:gd name="T28" fmla="*/ 102 w 148"/>
                  <a:gd name="T29" fmla="*/ 111 h 157"/>
                  <a:gd name="T30" fmla="*/ 102 w 148"/>
                  <a:gd name="T31" fmla="*/ 117 h 157"/>
                  <a:gd name="T32" fmla="*/ 94 w 148"/>
                  <a:gd name="T33" fmla="*/ 124 h 157"/>
                  <a:gd name="T34" fmla="*/ 92 w 148"/>
                  <a:gd name="T35" fmla="*/ 117 h 157"/>
                  <a:gd name="T36" fmla="*/ 88 w 148"/>
                  <a:gd name="T37" fmla="*/ 115 h 157"/>
                  <a:gd name="T38" fmla="*/ 84 w 148"/>
                  <a:gd name="T39" fmla="*/ 117 h 157"/>
                  <a:gd name="T40" fmla="*/ 75 w 148"/>
                  <a:gd name="T41" fmla="*/ 120 h 157"/>
                  <a:gd name="T42" fmla="*/ 71 w 148"/>
                  <a:gd name="T43" fmla="*/ 130 h 157"/>
                  <a:gd name="T44" fmla="*/ 71 w 148"/>
                  <a:gd name="T45" fmla="*/ 134 h 157"/>
                  <a:gd name="T46" fmla="*/ 73 w 148"/>
                  <a:gd name="T47" fmla="*/ 138 h 157"/>
                  <a:gd name="T48" fmla="*/ 71 w 148"/>
                  <a:gd name="T49" fmla="*/ 153 h 157"/>
                  <a:gd name="T50" fmla="*/ 69 w 148"/>
                  <a:gd name="T51" fmla="*/ 149 h 157"/>
                  <a:gd name="T52" fmla="*/ 65 w 148"/>
                  <a:gd name="T53" fmla="*/ 153 h 157"/>
                  <a:gd name="T54" fmla="*/ 59 w 148"/>
                  <a:gd name="T55" fmla="*/ 149 h 157"/>
                  <a:gd name="T56" fmla="*/ 50 w 148"/>
                  <a:gd name="T57" fmla="*/ 155 h 157"/>
                  <a:gd name="T58" fmla="*/ 36 w 148"/>
                  <a:gd name="T59" fmla="*/ 153 h 157"/>
                  <a:gd name="T60" fmla="*/ 33 w 148"/>
                  <a:gd name="T61" fmla="*/ 142 h 157"/>
                  <a:gd name="T62" fmla="*/ 27 w 148"/>
                  <a:gd name="T63" fmla="*/ 128 h 157"/>
                  <a:gd name="T64" fmla="*/ 10 w 148"/>
                  <a:gd name="T65" fmla="*/ 120 h 157"/>
                  <a:gd name="T66" fmla="*/ 0 w 148"/>
                  <a:gd name="T67" fmla="*/ 117 h 157"/>
                  <a:gd name="T68" fmla="*/ 2 w 148"/>
                  <a:gd name="T69" fmla="*/ 107 h 157"/>
                  <a:gd name="T70" fmla="*/ 0 w 148"/>
                  <a:gd name="T71" fmla="*/ 94 h 157"/>
                  <a:gd name="T72" fmla="*/ 0 w 148"/>
                  <a:gd name="T73" fmla="*/ 80 h 157"/>
                  <a:gd name="T74" fmla="*/ 4 w 148"/>
                  <a:gd name="T75" fmla="*/ 80 h 157"/>
                  <a:gd name="T76" fmla="*/ 4 w 148"/>
                  <a:gd name="T77" fmla="*/ 78 h 157"/>
                  <a:gd name="T78" fmla="*/ 4 w 148"/>
                  <a:gd name="T79" fmla="*/ 72 h 157"/>
                  <a:gd name="T80" fmla="*/ 6 w 148"/>
                  <a:gd name="T81" fmla="*/ 67 h 157"/>
                  <a:gd name="T82" fmla="*/ 8 w 148"/>
                  <a:gd name="T83" fmla="*/ 59 h 157"/>
                  <a:gd name="T84" fmla="*/ 10 w 148"/>
                  <a:gd name="T85" fmla="*/ 55 h 157"/>
                  <a:gd name="T86" fmla="*/ 11 w 148"/>
                  <a:gd name="T87" fmla="*/ 46 h 157"/>
                  <a:gd name="T88" fmla="*/ 6 w 148"/>
                  <a:gd name="T89" fmla="*/ 40 h 157"/>
                  <a:gd name="T90" fmla="*/ 8 w 148"/>
                  <a:gd name="T91" fmla="*/ 34 h 157"/>
                  <a:gd name="T92" fmla="*/ 11 w 148"/>
                  <a:gd name="T93" fmla="*/ 21 h 157"/>
                  <a:gd name="T94" fmla="*/ 17 w 148"/>
                  <a:gd name="T95" fmla="*/ 13 h 157"/>
                  <a:gd name="T96" fmla="*/ 17 w 148"/>
                  <a:gd name="T97" fmla="*/ 5 h 157"/>
                  <a:gd name="T98" fmla="*/ 31 w 148"/>
                  <a:gd name="T99" fmla="*/ 0 h 157"/>
                  <a:gd name="T100" fmla="*/ 40 w 148"/>
                  <a:gd name="T101" fmla="*/ 0 h 157"/>
                  <a:gd name="T102" fmla="*/ 46 w 148"/>
                  <a:gd name="T103" fmla="*/ 1 h 157"/>
                  <a:gd name="T104" fmla="*/ 52 w 148"/>
                  <a:gd name="T105" fmla="*/ 9 h 157"/>
                  <a:gd name="T106" fmla="*/ 61 w 148"/>
                  <a:gd name="T107" fmla="*/ 7 h 157"/>
                  <a:gd name="T108" fmla="*/ 71 w 148"/>
                  <a:gd name="T109" fmla="*/ 7 h 157"/>
                  <a:gd name="T110" fmla="*/ 77 w 148"/>
                  <a:gd name="T111" fmla="*/ 11 h 157"/>
                  <a:gd name="T112" fmla="*/ 88 w 148"/>
                  <a:gd name="T113" fmla="*/ 11 h 157"/>
                  <a:gd name="T114" fmla="*/ 96 w 148"/>
                  <a:gd name="T115" fmla="*/ 5 h 157"/>
                  <a:gd name="T116" fmla="*/ 109 w 148"/>
                  <a:gd name="T117" fmla="*/ 5 h 157"/>
                  <a:gd name="T118" fmla="*/ 125 w 148"/>
                  <a:gd name="T119" fmla="*/ 7 h 157"/>
                  <a:gd name="T120" fmla="*/ 130 w 148"/>
                  <a:gd name="T121" fmla="*/ 1 h 157"/>
                  <a:gd name="T122" fmla="*/ 144 w 148"/>
                  <a:gd name="T123" fmla="*/ 9 h 157"/>
                  <a:gd name="T124" fmla="*/ 146 w 148"/>
                  <a:gd name="T125" fmla="*/ 1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8" h="157">
                    <a:moveTo>
                      <a:pt x="146" y="11"/>
                    </a:moveTo>
                    <a:lnTo>
                      <a:pt x="144" y="23"/>
                    </a:lnTo>
                    <a:lnTo>
                      <a:pt x="146" y="24"/>
                    </a:lnTo>
                    <a:lnTo>
                      <a:pt x="148" y="26"/>
                    </a:lnTo>
                    <a:lnTo>
                      <a:pt x="148" y="32"/>
                    </a:lnTo>
                    <a:lnTo>
                      <a:pt x="144" y="38"/>
                    </a:lnTo>
                    <a:lnTo>
                      <a:pt x="142" y="38"/>
                    </a:lnTo>
                    <a:lnTo>
                      <a:pt x="140" y="40"/>
                    </a:lnTo>
                    <a:lnTo>
                      <a:pt x="138" y="44"/>
                    </a:lnTo>
                    <a:lnTo>
                      <a:pt x="134" y="48"/>
                    </a:lnTo>
                    <a:lnTo>
                      <a:pt x="134" y="51"/>
                    </a:lnTo>
                    <a:lnTo>
                      <a:pt x="134" y="53"/>
                    </a:lnTo>
                    <a:lnTo>
                      <a:pt x="132" y="59"/>
                    </a:lnTo>
                    <a:lnTo>
                      <a:pt x="130" y="61"/>
                    </a:lnTo>
                    <a:lnTo>
                      <a:pt x="129" y="63"/>
                    </a:lnTo>
                    <a:lnTo>
                      <a:pt x="129" y="65"/>
                    </a:lnTo>
                    <a:lnTo>
                      <a:pt x="130" y="69"/>
                    </a:lnTo>
                    <a:lnTo>
                      <a:pt x="129" y="72"/>
                    </a:lnTo>
                    <a:lnTo>
                      <a:pt x="125" y="74"/>
                    </a:lnTo>
                    <a:lnTo>
                      <a:pt x="121" y="76"/>
                    </a:lnTo>
                    <a:lnTo>
                      <a:pt x="117" y="78"/>
                    </a:lnTo>
                    <a:lnTo>
                      <a:pt x="115" y="82"/>
                    </a:lnTo>
                    <a:lnTo>
                      <a:pt x="115" y="86"/>
                    </a:lnTo>
                    <a:lnTo>
                      <a:pt x="113" y="90"/>
                    </a:lnTo>
                    <a:lnTo>
                      <a:pt x="113" y="92"/>
                    </a:lnTo>
                    <a:lnTo>
                      <a:pt x="111" y="95"/>
                    </a:lnTo>
                    <a:lnTo>
                      <a:pt x="107" y="99"/>
                    </a:lnTo>
                    <a:lnTo>
                      <a:pt x="106" y="101"/>
                    </a:lnTo>
                    <a:lnTo>
                      <a:pt x="104" y="107"/>
                    </a:lnTo>
                    <a:lnTo>
                      <a:pt x="102" y="111"/>
                    </a:lnTo>
                    <a:lnTo>
                      <a:pt x="104" y="115"/>
                    </a:lnTo>
                    <a:lnTo>
                      <a:pt x="102" y="117"/>
                    </a:lnTo>
                    <a:lnTo>
                      <a:pt x="100" y="122"/>
                    </a:lnTo>
                    <a:lnTo>
                      <a:pt x="94" y="124"/>
                    </a:lnTo>
                    <a:lnTo>
                      <a:pt x="94" y="120"/>
                    </a:lnTo>
                    <a:lnTo>
                      <a:pt x="92" y="117"/>
                    </a:lnTo>
                    <a:lnTo>
                      <a:pt x="88" y="115"/>
                    </a:lnTo>
                    <a:lnTo>
                      <a:pt x="88" y="115"/>
                    </a:lnTo>
                    <a:lnTo>
                      <a:pt x="86" y="115"/>
                    </a:lnTo>
                    <a:lnTo>
                      <a:pt x="84" y="117"/>
                    </a:lnTo>
                    <a:lnTo>
                      <a:pt x="79" y="119"/>
                    </a:lnTo>
                    <a:lnTo>
                      <a:pt x="75" y="120"/>
                    </a:lnTo>
                    <a:lnTo>
                      <a:pt x="73" y="126"/>
                    </a:lnTo>
                    <a:lnTo>
                      <a:pt x="71" y="130"/>
                    </a:lnTo>
                    <a:lnTo>
                      <a:pt x="71" y="130"/>
                    </a:lnTo>
                    <a:lnTo>
                      <a:pt x="71" y="134"/>
                    </a:lnTo>
                    <a:lnTo>
                      <a:pt x="71" y="136"/>
                    </a:lnTo>
                    <a:lnTo>
                      <a:pt x="73" y="138"/>
                    </a:lnTo>
                    <a:lnTo>
                      <a:pt x="71" y="143"/>
                    </a:lnTo>
                    <a:lnTo>
                      <a:pt x="71" y="153"/>
                    </a:lnTo>
                    <a:lnTo>
                      <a:pt x="69" y="151"/>
                    </a:lnTo>
                    <a:lnTo>
                      <a:pt x="69" y="149"/>
                    </a:lnTo>
                    <a:lnTo>
                      <a:pt x="67" y="151"/>
                    </a:lnTo>
                    <a:lnTo>
                      <a:pt x="65" y="153"/>
                    </a:lnTo>
                    <a:lnTo>
                      <a:pt x="63" y="151"/>
                    </a:lnTo>
                    <a:lnTo>
                      <a:pt x="59" y="149"/>
                    </a:lnTo>
                    <a:lnTo>
                      <a:pt x="59" y="153"/>
                    </a:lnTo>
                    <a:lnTo>
                      <a:pt x="50" y="155"/>
                    </a:lnTo>
                    <a:lnTo>
                      <a:pt x="40" y="157"/>
                    </a:lnTo>
                    <a:lnTo>
                      <a:pt x="36" y="153"/>
                    </a:lnTo>
                    <a:lnTo>
                      <a:pt x="33" y="147"/>
                    </a:lnTo>
                    <a:lnTo>
                      <a:pt x="33" y="142"/>
                    </a:lnTo>
                    <a:lnTo>
                      <a:pt x="35" y="136"/>
                    </a:lnTo>
                    <a:lnTo>
                      <a:pt x="27" y="128"/>
                    </a:lnTo>
                    <a:lnTo>
                      <a:pt x="19" y="122"/>
                    </a:lnTo>
                    <a:lnTo>
                      <a:pt x="10" y="120"/>
                    </a:lnTo>
                    <a:lnTo>
                      <a:pt x="0" y="122"/>
                    </a:lnTo>
                    <a:lnTo>
                      <a:pt x="0" y="117"/>
                    </a:lnTo>
                    <a:lnTo>
                      <a:pt x="2" y="111"/>
                    </a:lnTo>
                    <a:lnTo>
                      <a:pt x="2" y="107"/>
                    </a:lnTo>
                    <a:lnTo>
                      <a:pt x="0" y="101"/>
                    </a:lnTo>
                    <a:lnTo>
                      <a:pt x="0" y="9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2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6" y="71"/>
                    </a:lnTo>
                    <a:lnTo>
                      <a:pt x="6" y="67"/>
                    </a:lnTo>
                    <a:lnTo>
                      <a:pt x="6" y="63"/>
                    </a:lnTo>
                    <a:lnTo>
                      <a:pt x="8" y="59"/>
                    </a:lnTo>
                    <a:lnTo>
                      <a:pt x="10" y="57"/>
                    </a:lnTo>
                    <a:lnTo>
                      <a:pt x="10" y="55"/>
                    </a:lnTo>
                    <a:lnTo>
                      <a:pt x="10" y="49"/>
                    </a:lnTo>
                    <a:lnTo>
                      <a:pt x="11" y="46"/>
                    </a:lnTo>
                    <a:lnTo>
                      <a:pt x="8" y="42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1" y="21"/>
                    </a:lnTo>
                    <a:lnTo>
                      <a:pt x="13" y="19"/>
                    </a:lnTo>
                    <a:lnTo>
                      <a:pt x="17" y="13"/>
                    </a:lnTo>
                    <a:lnTo>
                      <a:pt x="17" y="9"/>
                    </a:lnTo>
                    <a:lnTo>
                      <a:pt x="17" y="5"/>
                    </a:lnTo>
                    <a:lnTo>
                      <a:pt x="23" y="3"/>
                    </a:lnTo>
                    <a:lnTo>
                      <a:pt x="31" y="0"/>
                    </a:lnTo>
                    <a:lnTo>
                      <a:pt x="35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1"/>
                    </a:lnTo>
                    <a:lnTo>
                      <a:pt x="50" y="5"/>
                    </a:lnTo>
                    <a:lnTo>
                      <a:pt x="52" y="9"/>
                    </a:lnTo>
                    <a:lnTo>
                      <a:pt x="56" y="9"/>
                    </a:lnTo>
                    <a:lnTo>
                      <a:pt x="61" y="7"/>
                    </a:lnTo>
                    <a:lnTo>
                      <a:pt x="65" y="5"/>
                    </a:lnTo>
                    <a:lnTo>
                      <a:pt x="71" y="7"/>
                    </a:lnTo>
                    <a:lnTo>
                      <a:pt x="71" y="9"/>
                    </a:lnTo>
                    <a:lnTo>
                      <a:pt x="77" y="11"/>
                    </a:lnTo>
                    <a:lnTo>
                      <a:pt x="84" y="11"/>
                    </a:lnTo>
                    <a:lnTo>
                      <a:pt x="88" y="11"/>
                    </a:lnTo>
                    <a:lnTo>
                      <a:pt x="92" y="7"/>
                    </a:lnTo>
                    <a:lnTo>
                      <a:pt x="96" y="5"/>
                    </a:lnTo>
                    <a:lnTo>
                      <a:pt x="102" y="5"/>
                    </a:lnTo>
                    <a:lnTo>
                      <a:pt x="109" y="5"/>
                    </a:lnTo>
                    <a:lnTo>
                      <a:pt x="117" y="7"/>
                    </a:lnTo>
                    <a:lnTo>
                      <a:pt x="125" y="7"/>
                    </a:lnTo>
                    <a:lnTo>
                      <a:pt x="129" y="3"/>
                    </a:lnTo>
                    <a:lnTo>
                      <a:pt x="130" y="1"/>
                    </a:lnTo>
                    <a:lnTo>
                      <a:pt x="138" y="0"/>
                    </a:lnTo>
                    <a:lnTo>
                      <a:pt x="144" y="9"/>
                    </a:lnTo>
                    <a:lnTo>
                      <a:pt x="146" y="9"/>
                    </a:lnTo>
                    <a:lnTo>
                      <a:pt x="146" y="1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2" name="Freeform 120"/>
              <p:cNvSpPr>
                <a:spLocks/>
              </p:cNvSpPr>
              <p:nvPr/>
            </p:nvSpPr>
            <p:spPr bwMode="gray">
              <a:xfrm>
                <a:off x="4321097" y="3867151"/>
                <a:ext cx="315877" cy="285750"/>
              </a:xfrm>
              <a:custGeom>
                <a:avLst/>
                <a:gdLst>
                  <a:gd name="T0" fmla="*/ 168 w 199"/>
                  <a:gd name="T1" fmla="*/ 151 h 180"/>
                  <a:gd name="T2" fmla="*/ 163 w 199"/>
                  <a:gd name="T3" fmla="*/ 157 h 180"/>
                  <a:gd name="T4" fmla="*/ 147 w 199"/>
                  <a:gd name="T5" fmla="*/ 155 h 180"/>
                  <a:gd name="T6" fmla="*/ 134 w 199"/>
                  <a:gd name="T7" fmla="*/ 155 h 180"/>
                  <a:gd name="T8" fmla="*/ 126 w 199"/>
                  <a:gd name="T9" fmla="*/ 161 h 180"/>
                  <a:gd name="T10" fmla="*/ 115 w 199"/>
                  <a:gd name="T11" fmla="*/ 161 h 180"/>
                  <a:gd name="T12" fmla="*/ 109 w 199"/>
                  <a:gd name="T13" fmla="*/ 157 h 180"/>
                  <a:gd name="T14" fmla="*/ 99 w 199"/>
                  <a:gd name="T15" fmla="*/ 157 h 180"/>
                  <a:gd name="T16" fmla="*/ 90 w 199"/>
                  <a:gd name="T17" fmla="*/ 159 h 180"/>
                  <a:gd name="T18" fmla="*/ 84 w 199"/>
                  <a:gd name="T19" fmla="*/ 151 h 180"/>
                  <a:gd name="T20" fmla="*/ 78 w 199"/>
                  <a:gd name="T21" fmla="*/ 150 h 180"/>
                  <a:gd name="T22" fmla="*/ 69 w 199"/>
                  <a:gd name="T23" fmla="*/ 150 h 180"/>
                  <a:gd name="T24" fmla="*/ 55 w 199"/>
                  <a:gd name="T25" fmla="*/ 155 h 180"/>
                  <a:gd name="T26" fmla="*/ 55 w 199"/>
                  <a:gd name="T27" fmla="*/ 163 h 180"/>
                  <a:gd name="T28" fmla="*/ 49 w 199"/>
                  <a:gd name="T29" fmla="*/ 171 h 180"/>
                  <a:gd name="T30" fmla="*/ 38 w 199"/>
                  <a:gd name="T31" fmla="*/ 178 h 180"/>
                  <a:gd name="T32" fmla="*/ 36 w 199"/>
                  <a:gd name="T33" fmla="*/ 173 h 180"/>
                  <a:gd name="T34" fmla="*/ 30 w 199"/>
                  <a:gd name="T35" fmla="*/ 173 h 180"/>
                  <a:gd name="T36" fmla="*/ 23 w 199"/>
                  <a:gd name="T37" fmla="*/ 167 h 180"/>
                  <a:gd name="T38" fmla="*/ 23 w 199"/>
                  <a:gd name="T39" fmla="*/ 161 h 180"/>
                  <a:gd name="T40" fmla="*/ 19 w 199"/>
                  <a:gd name="T41" fmla="*/ 161 h 180"/>
                  <a:gd name="T42" fmla="*/ 15 w 199"/>
                  <a:gd name="T43" fmla="*/ 144 h 180"/>
                  <a:gd name="T44" fmla="*/ 0 w 199"/>
                  <a:gd name="T45" fmla="*/ 132 h 180"/>
                  <a:gd name="T46" fmla="*/ 5 w 199"/>
                  <a:gd name="T47" fmla="*/ 128 h 180"/>
                  <a:gd name="T48" fmla="*/ 9 w 199"/>
                  <a:gd name="T49" fmla="*/ 127 h 180"/>
                  <a:gd name="T50" fmla="*/ 21 w 199"/>
                  <a:gd name="T51" fmla="*/ 123 h 180"/>
                  <a:gd name="T52" fmla="*/ 38 w 199"/>
                  <a:gd name="T53" fmla="*/ 119 h 180"/>
                  <a:gd name="T54" fmla="*/ 51 w 199"/>
                  <a:gd name="T55" fmla="*/ 117 h 180"/>
                  <a:gd name="T56" fmla="*/ 53 w 199"/>
                  <a:gd name="T57" fmla="*/ 113 h 180"/>
                  <a:gd name="T58" fmla="*/ 53 w 199"/>
                  <a:gd name="T59" fmla="*/ 105 h 180"/>
                  <a:gd name="T60" fmla="*/ 55 w 199"/>
                  <a:gd name="T61" fmla="*/ 67 h 180"/>
                  <a:gd name="T62" fmla="*/ 80 w 199"/>
                  <a:gd name="T63" fmla="*/ 52 h 180"/>
                  <a:gd name="T64" fmla="*/ 176 w 199"/>
                  <a:gd name="T65" fmla="*/ 17 h 180"/>
                  <a:gd name="T66" fmla="*/ 188 w 199"/>
                  <a:gd name="T67" fmla="*/ 8 h 180"/>
                  <a:gd name="T68" fmla="*/ 197 w 199"/>
                  <a:gd name="T69" fmla="*/ 46 h 180"/>
                  <a:gd name="T70" fmla="*/ 197 w 199"/>
                  <a:gd name="T71" fmla="*/ 59 h 180"/>
                  <a:gd name="T72" fmla="*/ 195 w 199"/>
                  <a:gd name="T73" fmla="*/ 94 h 180"/>
                  <a:gd name="T74" fmla="*/ 176 w 199"/>
                  <a:gd name="T75" fmla="*/ 134 h 180"/>
                  <a:gd name="T76" fmla="*/ 176 w 199"/>
                  <a:gd name="T77" fmla="*/ 146 h 180"/>
                  <a:gd name="T78" fmla="*/ 176 w 199"/>
                  <a:gd name="T79" fmla="*/ 148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99" h="180">
                    <a:moveTo>
                      <a:pt x="176" y="150"/>
                    </a:moveTo>
                    <a:lnTo>
                      <a:pt x="168" y="151"/>
                    </a:lnTo>
                    <a:lnTo>
                      <a:pt x="167" y="153"/>
                    </a:lnTo>
                    <a:lnTo>
                      <a:pt x="163" y="157"/>
                    </a:lnTo>
                    <a:lnTo>
                      <a:pt x="155" y="157"/>
                    </a:lnTo>
                    <a:lnTo>
                      <a:pt x="147" y="155"/>
                    </a:lnTo>
                    <a:lnTo>
                      <a:pt x="140" y="155"/>
                    </a:lnTo>
                    <a:lnTo>
                      <a:pt x="134" y="155"/>
                    </a:lnTo>
                    <a:lnTo>
                      <a:pt x="130" y="157"/>
                    </a:lnTo>
                    <a:lnTo>
                      <a:pt x="126" y="161"/>
                    </a:lnTo>
                    <a:lnTo>
                      <a:pt x="122" y="161"/>
                    </a:lnTo>
                    <a:lnTo>
                      <a:pt x="115" y="161"/>
                    </a:lnTo>
                    <a:lnTo>
                      <a:pt x="109" y="159"/>
                    </a:lnTo>
                    <a:lnTo>
                      <a:pt x="109" y="157"/>
                    </a:lnTo>
                    <a:lnTo>
                      <a:pt x="103" y="155"/>
                    </a:lnTo>
                    <a:lnTo>
                      <a:pt x="99" y="157"/>
                    </a:lnTo>
                    <a:lnTo>
                      <a:pt x="94" y="159"/>
                    </a:lnTo>
                    <a:lnTo>
                      <a:pt x="90" y="159"/>
                    </a:lnTo>
                    <a:lnTo>
                      <a:pt x="88" y="155"/>
                    </a:lnTo>
                    <a:lnTo>
                      <a:pt x="84" y="151"/>
                    </a:lnTo>
                    <a:lnTo>
                      <a:pt x="82" y="150"/>
                    </a:lnTo>
                    <a:lnTo>
                      <a:pt x="78" y="150"/>
                    </a:lnTo>
                    <a:lnTo>
                      <a:pt x="73" y="150"/>
                    </a:lnTo>
                    <a:lnTo>
                      <a:pt x="69" y="150"/>
                    </a:lnTo>
                    <a:lnTo>
                      <a:pt x="61" y="153"/>
                    </a:lnTo>
                    <a:lnTo>
                      <a:pt x="55" y="155"/>
                    </a:lnTo>
                    <a:lnTo>
                      <a:pt x="55" y="159"/>
                    </a:lnTo>
                    <a:lnTo>
                      <a:pt x="55" y="163"/>
                    </a:lnTo>
                    <a:lnTo>
                      <a:pt x="51" y="169"/>
                    </a:lnTo>
                    <a:lnTo>
                      <a:pt x="49" y="171"/>
                    </a:lnTo>
                    <a:lnTo>
                      <a:pt x="46" y="180"/>
                    </a:lnTo>
                    <a:lnTo>
                      <a:pt x="38" y="178"/>
                    </a:lnTo>
                    <a:lnTo>
                      <a:pt x="38" y="176"/>
                    </a:lnTo>
                    <a:lnTo>
                      <a:pt x="36" y="173"/>
                    </a:lnTo>
                    <a:lnTo>
                      <a:pt x="32" y="173"/>
                    </a:lnTo>
                    <a:lnTo>
                      <a:pt x="30" y="173"/>
                    </a:lnTo>
                    <a:lnTo>
                      <a:pt x="26" y="178"/>
                    </a:lnTo>
                    <a:lnTo>
                      <a:pt x="23" y="167"/>
                    </a:lnTo>
                    <a:lnTo>
                      <a:pt x="23" y="165"/>
                    </a:lnTo>
                    <a:lnTo>
                      <a:pt x="23" y="161"/>
                    </a:lnTo>
                    <a:lnTo>
                      <a:pt x="21" y="159"/>
                    </a:lnTo>
                    <a:lnTo>
                      <a:pt x="19" y="161"/>
                    </a:lnTo>
                    <a:lnTo>
                      <a:pt x="13" y="150"/>
                    </a:lnTo>
                    <a:lnTo>
                      <a:pt x="15" y="144"/>
                    </a:lnTo>
                    <a:lnTo>
                      <a:pt x="5" y="138"/>
                    </a:lnTo>
                    <a:lnTo>
                      <a:pt x="0" y="132"/>
                    </a:lnTo>
                    <a:lnTo>
                      <a:pt x="3" y="128"/>
                    </a:lnTo>
                    <a:lnTo>
                      <a:pt x="5" y="128"/>
                    </a:lnTo>
                    <a:lnTo>
                      <a:pt x="7" y="127"/>
                    </a:lnTo>
                    <a:lnTo>
                      <a:pt x="9" y="127"/>
                    </a:lnTo>
                    <a:lnTo>
                      <a:pt x="15" y="125"/>
                    </a:lnTo>
                    <a:lnTo>
                      <a:pt x="21" y="123"/>
                    </a:lnTo>
                    <a:lnTo>
                      <a:pt x="28" y="123"/>
                    </a:lnTo>
                    <a:lnTo>
                      <a:pt x="38" y="119"/>
                    </a:lnTo>
                    <a:lnTo>
                      <a:pt x="44" y="117"/>
                    </a:lnTo>
                    <a:lnTo>
                      <a:pt x="51" y="117"/>
                    </a:lnTo>
                    <a:lnTo>
                      <a:pt x="51" y="115"/>
                    </a:lnTo>
                    <a:lnTo>
                      <a:pt x="53" y="113"/>
                    </a:lnTo>
                    <a:lnTo>
                      <a:pt x="53" y="107"/>
                    </a:lnTo>
                    <a:lnTo>
                      <a:pt x="53" y="105"/>
                    </a:lnTo>
                    <a:lnTo>
                      <a:pt x="57" y="103"/>
                    </a:lnTo>
                    <a:lnTo>
                      <a:pt x="55" y="67"/>
                    </a:lnTo>
                    <a:lnTo>
                      <a:pt x="73" y="63"/>
                    </a:lnTo>
                    <a:lnTo>
                      <a:pt x="80" y="52"/>
                    </a:lnTo>
                    <a:lnTo>
                      <a:pt x="147" y="0"/>
                    </a:lnTo>
                    <a:lnTo>
                      <a:pt x="176" y="17"/>
                    </a:lnTo>
                    <a:lnTo>
                      <a:pt x="178" y="15"/>
                    </a:lnTo>
                    <a:lnTo>
                      <a:pt x="188" y="8"/>
                    </a:lnTo>
                    <a:lnTo>
                      <a:pt x="195" y="40"/>
                    </a:lnTo>
                    <a:lnTo>
                      <a:pt x="197" y="46"/>
                    </a:lnTo>
                    <a:lnTo>
                      <a:pt x="199" y="54"/>
                    </a:lnTo>
                    <a:lnTo>
                      <a:pt x="197" y="59"/>
                    </a:lnTo>
                    <a:lnTo>
                      <a:pt x="195" y="65"/>
                    </a:lnTo>
                    <a:lnTo>
                      <a:pt x="195" y="94"/>
                    </a:lnTo>
                    <a:lnTo>
                      <a:pt x="195" y="117"/>
                    </a:lnTo>
                    <a:lnTo>
                      <a:pt x="176" y="134"/>
                    </a:lnTo>
                    <a:lnTo>
                      <a:pt x="176" y="146"/>
                    </a:lnTo>
                    <a:lnTo>
                      <a:pt x="176" y="146"/>
                    </a:lnTo>
                    <a:lnTo>
                      <a:pt x="176" y="146"/>
                    </a:lnTo>
                    <a:lnTo>
                      <a:pt x="176" y="148"/>
                    </a:lnTo>
                    <a:lnTo>
                      <a:pt x="176" y="15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3" name="Freeform 121"/>
              <p:cNvSpPr>
                <a:spLocks noEditPoints="1"/>
              </p:cNvSpPr>
              <p:nvPr/>
            </p:nvSpPr>
            <p:spPr bwMode="gray">
              <a:xfrm>
                <a:off x="2602026" y="4086226"/>
                <a:ext cx="79366" cy="96838"/>
              </a:xfrm>
              <a:custGeom>
                <a:avLst/>
                <a:gdLst>
                  <a:gd name="T0" fmla="*/ 21 w 50"/>
                  <a:gd name="T1" fmla="*/ 54 h 61"/>
                  <a:gd name="T2" fmla="*/ 19 w 50"/>
                  <a:gd name="T3" fmla="*/ 50 h 61"/>
                  <a:gd name="T4" fmla="*/ 17 w 50"/>
                  <a:gd name="T5" fmla="*/ 46 h 61"/>
                  <a:gd name="T6" fmla="*/ 17 w 50"/>
                  <a:gd name="T7" fmla="*/ 44 h 61"/>
                  <a:gd name="T8" fmla="*/ 21 w 50"/>
                  <a:gd name="T9" fmla="*/ 44 h 61"/>
                  <a:gd name="T10" fmla="*/ 27 w 50"/>
                  <a:gd name="T11" fmla="*/ 50 h 61"/>
                  <a:gd name="T12" fmla="*/ 31 w 50"/>
                  <a:gd name="T13" fmla="*/ 58 h 61"/>
                  <a:gd name="T14" fmla="*/ 35 w 50"/>
                  <a:gd name="T15" fmla="*/ 58 h 61"/>
                  <a:gd name="T16" fmla="*/ 37 w 50"/>
                  <a:gd name="T17" fmla="*/ 58 h 61"/>
                  <a:gd name="T18" fmla="*/ 37 w 50"/>
                  <a:gd name="T19" fmla="*/ 60 h 61"/>
                  <a:gd name="T20" fmla="*/ 41 w 50"/>
                  <a:gd name="T21" fmla="*/ 61 h 61"/>
                  <a:gd name="T22" fmla="*/ 42 w 50"/>
                  <a:gd name="T23" fmla="*/ 60 h 61"/>
                  <a:gd name="T24" fmla="*/ 42 w 50"/>
                  <a:gd name="T25" fmla="*/ 60 h 61"/>
                  <a:gd name="T26" fmla="*/ 42 w 50"/>
                  <a:gd name="T27" fmla="*/ 60 h 61"/>
                  <a:gd name="T28" fmla="*/ 42 w 50"/>
                  <a:gd name="T29" fmla="*/ 58 h 61"/>
                  <a:gd name="T30" fmla="*/ 50 w 50"/>
                  <a:gd name="T31" fmla="*/ 0 h 61"/>
                  <a:gd name="T32" fmla="*/ 41 w 50"/>
                  <a:gd name="T33" fmla="*/ 2 h 61"/>
                  <a:gd name="T34" fmla="*/ 39 w 50"/>
                  <a:gd name="T35" fmla="*/ 4 h 61"/>
                  <a:gd name="T36" fmla="*/ 37 w 50"/>
                  <a:gd name="T37" fmla="*/ 8 h 61"/>
                  <a:gd name="T38" fmla="*/ 33 w 50"/>
                  <a:gd name="T39" fmla="*/ 10 h 61"/>
                  <a:gd name="T40" fmla="*/ 27 w 50"/>
                  <a:gd name="T41" fmla="*/ 12 h 61"/>
                  <a:gd name="T42" fmla="*/ 23 w 50"/>
                  <a:gd name="T43" fmla="*/ 13 h 61"/>
                  <a:gd name="T44" fmla="*/ 21 w 50"/>
                  <a:gd name="T45" fmla="*/ 12 h 61"/>
                  <a:gd name="T46" fmla="*/ 19 w 50"/>
                  <a:gd name="T47" fmla="*/ 10 h 61"/>
                  <a:gd name="T48" fmla="*/ 14 w 50"/>
                  <a:gd name="T49" fmla="*/ 10 h 61"/>
                  <a:gd name="T50" fmla="*/ 8 w 50"/>
                  <a:gd name="T51" fmla="*/ 13 h 61"/>
                  <a:gd name="T52" fmla="*/ 4 w 50"/>
                  <a:gd name="T53" fmla="*/ 13 h 61"/>
                  <a:gd name="T54" fmla="*/ 6 w 50"/>
                  <a:gd name="T55" fmla="*/ 19 h 61"/>
                  <a:gd name="T56" fmla="*/ 4 w 50"/>
                  <a:gd name="T57" fmla="*/ 25 h 61"/>
                  <a:gd name="T58" fmla="*/ 2 w 50"/>
                  <a:gd name="T59" fmla="*/ 27 h 61"/>
                  <a:gd name="T60" fmla="*/ 0 w 50"/>
                  <a:gd name="T61" fmla="*/ 29 h 61"/>
                  <a:gd name="T62" fmla="*/ 0 w 50"/>
                  <a:gd name="T63" fmla="*/ 31 h 61"/>
                  <a:gd name="T64" fmla="*/ 0 w 50"/>
                  <a:gd name="T65" fmla="*/ 33 h 61"/>
                  <a:gd name="T66" fmla="*/ 4 w 50"/>
                  <a:gd name="T67" fmla="*/ 36 h 61"/>
                  <a:gd name="T68" fmla="*/ 8 w 50"/>
                  <a:gd name="T69" fmla="*/ 38 h 61"/>
                  <a:gd name="T70" fmla="*/ 10 w 50"/>
                  <a:gd name="T71" fmla="*/ 44 h 61"/>
                  <a:gd name="T72" fmla="*/ 12 w 50"/>
                  <a:gd name="T73" fmla="*/ 50 h 61"/>
                  <a:gd name="T74" fmla="*/ 14 w 50"/>
                  <a:gd name="T75" fmla="*/ 52 h 61"/>
                  <a:gd name="T76" fmla="*/ 17 w 50"/>
                  <a:gd name="T77" fmla="*/ 54 h 61"/>
                  <a:gd name="T78" fmla="*/ 17 w 50"/>
                  <a:gd name="T79" fmla="*/ 54 h 61"/>
                  <a:gd name="T80" fmla="*/ 21 w 50"/>
                  <a:gd name="T81" fmla="*/ 54 h 61"/>
                  <a:gd name="T82" fmla="*/ 12 w 50"/>
                  <a:gd name="T83" fmla="*/ 36 h 61"/>
                  <a:gd name="T84" fmla="*/ 14 w 50"/>
                  <a:gd name="T85" fmla="*/ 38 h 61"/>
                  <a:gd name="T86" fmla="*/ 16 w 50"/>
                  <a:gd name="T87" fmla="*/ 38 h 61"/>
                  <a:gd name="T88" fmla="*/ 14 w 50"/>
                  <a:gd name="T89" fmla="*/ 40 h 61"/>
                  <a:gd name="T90" fmla="*/ 12 w 50"/>
                  <a:gd name="T91" fmla="*/ 40 h 61"/>
                  <a:gd name="T92" fmla="*/ 10 w 50"/>
                  <a:gd name="T93" fmla="*/ 38 h 61"/>
                  <a:gd name="T94" fmla="*/ 12 w 50"/>
                  <a:gd name="T95" fmla="*/ 3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0" h="61">
                    <a:moveTo>
                      <a:pt x="21" y="54"/>
                    </a:moveTo>
                    <a:lnTo>
                      <a:pt x="19" y="50"/>
                    </a:lnTo>
                    <a:lnTo>
                      <a:pt x="17" y="46"/>
                    </a:lnTo>
                    <a:lnTo>
                      <a:pt x="17" y="44"/>
                    </a:lnTo>
                    <a:lnTo>
                      <a:pt x="21" y="44"/>
                    </a:lnTo>
                    <a:lnTo>
                      <a:pt x="27" y="50"/>
                    </a:lnTo>
                    <a:lnTo>
                      <a:pt x="31" y="58"/>
                    </a:lnTo>
                    <a:lnTo>
                      <a:pt x="35" y="58"/>
                    </a:lnTo>
                    <a:lnTo>
                      <a:pt x="37" y="58"/>
                    </a:lnTo>
                    <a:lnTo>
                      <a:pt x="37" y="60"/>
                    </a:lnTo>
                    <a:lnTo>
                      <a:pt x="41" y="61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50" y="0"/>
                    </a:lnTo>
                    <a:lnTo>
                      <a:pt x="41" y="2"/>
                    </a:lnTo>
                    <a:lnTo>
                      <a:pt x="39" y="4"/>
                    </a:lnTo>
                    <a:lnTo>
                      <a:pt x="37" y="8"/>
                    </a:lnTo>
                    <a:lnTo>
                      <a:pt x="33" y="10"/>
                    </a:lnTo>
                    <a:lnTo>
                      <a:pt x="27" y="12"/>
                    </a:lnTo>
                    <a:lnTo>
                      <a:pt x="23" y="13"/>
                    </a:lnTo>
                    <a:lnTo>
                      <a:pt x="21" y="12"/>
                    </a:lnTo>
                    <a:lnTo>
                      <a:pt x="19" y="10"/>
                    </a:lnTo>
                    <a:lnTo>
                      <a:pt x="14" y="10"/>
                    </a:lnTo>
                    <a:lnTo>
                      <a:pt x="8" y="13"/>
                    </a:lnTo>
                    <a:lnTo>
                      <a:pt x="4" y="13"/>
                    </a:lnTo>
                    <a:lnTo>
                      <a:pt x="6" y="19"/>
                    </a:lnTo>
                    <a:lnTo>
                      <a:pt x="4" y="25"/>
                    </a:lnTo>
                    <a:lnTo>
                      <a:pt x="2" y="27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4" y="36"/>
                    </a:lnTo>
                    <a:lnTo>
                      <a:pt x="8" y="38"/>
                    </a:lnTo>
                    <a:lnTo>
                      <a:pt x="10" y="44"/>
                    </a:lnTo>
                    <a:lnTo>
                      <a:pt x="12" y="50"/>
                    </a:lnTo>
                    <a:lnTo>
                      <a:pt x="14" y="52"/>
                    </a:lnTo>
                    <a:lnTo>
                      <a:pt x="17" y="54"/>
                    </a:lnTo>
                    <a:lnTo>
                      <a:pt x="17" y="54"/>
                    </a:lnTo>
                    <a:lnTo>
                      <a:pt x="21" y="54"/>
                    </a:lnTo>
                    <a:close/>
                    <a:moveTo>
                      <a:pt x="12" y="36"/>
                    </a:moveTo>
                    <a:lnTo>
                      <a:pt x="14" y="38"/>
                    </a:lnTo>
                    <a:lnTo>
                      <a:pt x="16" y="38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0" y="38"/>
                    </a:lnTo>
                    <a:lnTo>
                      <a:pt x="12" y="3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4" name="Freeform 122"/>
              <p:cNvSpPr>
                <a:spLocks/>
              </p:cNvSpPr>
              <p:nvPr/>
            </p:nvSpPr>
            <p:spPr bwMode="gray">
              <a:xfrm>
                <a:off x="7725905" y="5338764"/>
                <a:ext cx="119049" cy="195263"/>
              </a:xfrm>
              <a:custGeom>
                <a:avLst/>
                <a:gdLst>
                  <a:gd name="T0" fmla="*/ 0 w 75"/>
                  <a:gd name="T1" fmla="*/ 2 h 123"/>
                  <a:gd name="T2" fmla="*/ 8 w 75"/>
                  <a:gd name="T3" fmla="*/ 13 h 123"/>
                  <a:gd name="T4" fmla="*/ 16 w 75"/>
                  <a:gd name="T5" fmla="*/ 27 h 123"/>
                  <a:gd name="T6" fmla="*/ 19 w 75"/>
                  <a:gd name="T7" fmla="*/ 34 h 123"/>
                  <a:gd name="T8" fmla="*/ 23 w 75"/>
                  <a:gd name="T9" fmla="*/ 40 h 123"/>
                  <a:gd name="T10" fmla="*/ 25 w 75"/>
                  <a:gd name="T11" fmla="*/ 46 h 123"/>
                  <a:gd name="T12" fmla="*/ 27 w 75"/>
                  <a:gd name="T13" fmla="*/ 52 h 123"/>
                  <a:gd name="T14" fmla="*/ 27 w 75"/>
                  <a:gd name="T15" fmla="*/ 59 h 123"/>
                  <a:gd name="T16" fmla="*/ 25 w 75"/>
                  <a:gd name="T17" fmla="*/ 75 h 123"/>
                  <a:gd name="T18" fmla="*/ 14 w 75"/>
                  <a:gd name="T19" fmla="*/ 86 h 123"/>
                  <a:gd name="T20" fmla="*/ 27 w 75"/>
                  <a:gd name="T21" fmla="*/ 96 h 123"/>
                  <a:gd name="T22" fmla="*/ 33 w 75"/>
                  <a:gd name="T23" fmla="*/ 101 h 123"/>
                  <a:gd name="T24" fmla="*/ 33 w 75"/>
                  <a:gd name="T25" fmla="*/ 109 h 123"/>
                  <a:gd name="T26" fmla="*/ 29 w 75"/>
                  <a:gd name="T27" fmla="*/ 117 h 123"/>
                  <a:gd name="T28" fmla="*/ 35 w 75"/>
                  <a:gd name="T29" fmla="*/ 123 h 123"/>
                  <a:gd name="T30" fmla="*/ 42 w 75"/>
                  <a:gd name="T31" fmla="*/ 123 h 123"/>
                  <a:gd name="T32" fmla="*/ 46 w 75"/>
                  <a:gd name="T33" fmla="*/ 115 h 123"/>
                  <a:gd name="T34" fmla="*/ 54 w 75"/>
                  <a:gd name="T35" fmla="*/ 103 h 123"/>
                  <a:gd name="T36" fmla="*/ 58 w 75"/>
                  <a:gd name="T37" fmla="*/ 92 h 123"/>
                  <a:gd name="T38" fmla="*/ 60 w 75"/>
                  <a:gd name="T39" fmla="*/ 88 h 123"/>
                  <a:gd name="T40" fmla="*/ 69 w 75"/>
                  <a:gd name="T41" fmla="*/ 88 h 123"/>
                  <a:gd name="T42" fmla="*/ 67 w 75"/>
                  <a:gd name="T43" fmla="*/ 80 h 123"/>
                  <a:gd name="T44" fmla="*/ 75 w 75"/>
                  <a:gd name="T45" fmla="*/ 69 h 123"/>
                  <a:gd name="T46" fmla="*/ 75 w 75"/>
                  <a:gd name="T47" fmla="*/ 61 h 123"/>
                  <a:gd name="T48" fmla="*/ 69 w 75"/>
                  <a:gd name="T49" fmla="*/ 59 h 123"/>
                  <a:gd name="T50" fmla="*/ 64 w 75"/>
                  <a:gd name="T51" fmla="*/ 65 h 123"/>
                  <a:gd name="T52" fmla="*/ 54 w 75"/>
                  <a:gd name="T53" fmla="*/ 65 h 123"/>
                  <a:gd name="T54" fmla="*/ 44 w 75"/>
                  <a:gd name="T55" fmla="*/ 59 h 123"/>
                  <a:gd name="T56" fmla="*/ 44 w 75"/>
                  <a:gd name="T57" fmla="*/ 46 h 123"/>
                  <a:gd name="T58" fmla="*/ 41 w 75"/>
                  <a:gd name="T59" fmla="*/ 40 h 123"/>
                  <a:gd name="T60" fmla="*/ 35 w 75"/>
                  <a:gd name="T61" fmla="*/ 48 h 123"/>
                  <a:gd name="T62" fmla="*/ 31 w 75"/>
                  <a:gd name="T63" fmla="*/ 46 h 123"/>
                  <a:gd name="T64" fmla="*/ 29 w 75"/>
                  <a:gd name="T65" fmla="*/ 38 h 123"/>
                  <a:gd name="T66" fmla="*/ 27 w 75"/>
                  <a:gd name="T67" fmla="*/ 19 h 123"/>
                  <a:gd name="T68" fmla="*/ 21 w 75"/>
                  <a:gd name="T69" fmla="*/ 19 h 123"/>
                  <a:gd name="T70" fmla="*/ 23 w 75"/>
                  <a:gd name="T71" fmla="*/ 15 h 123"/>
                  <a:gd name="T72" fmla="*/ 14 w 75"/>
                  <a:gd name="T73" fmla="*/ 7 h 123"/>
                  <a:gd name="T74" fmla="*/ 10 w 75"/>
                  <a:gd name="T75" fmla="*/ 11 h 123"/>
                  <a:gd name="T76" fmla="*/ 4 w 75"/>
                  <a:gd name="T77" fmla="*/ 4 h 123"/>
                  <a:gd name="T78" fmla="*/ 6 w 75"/>
                  <a:gd name="T79" fmla="*/ 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5" h="123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8" y="13"/>
                    </a:lnTo>
                    <a:lnTo>
                      <a:pt x="12" y="23"/>
                    </a:lnTo>
                    <a:lnTo>
                      <a:pt x="16" y="27"/>
                    </a:lnTo>
                    <a:lnTo>
                      <a:pt x="19" y="32"/>
                    </a:lnTo>
                    <a:lnTo>
                      <a:pt x="19" y="34"/>
                    </a:lnTo>
                    <a:lnTo>
                      <a:pt x="23" y="34"/>
                    </a:lnTo>
                    <a:lnTo>
                      <a:pt x="23" y="40"/>
                    </a:lnTo>
                    <a:lnTo>
                      <a:pt x="21" y="44"/>
                    </a:lnTo>
                    <a:lnTo>
                      <a:pt x="25" y="46"/>
                    </a:lnTo>
                    <a:lnTo>
                      <a:pt x="27" y="48"/>
                    </a:lnTo>
                    <a:lnTo>
                      <a:pt x="27" y="52"/>
                    </a:lnTo>
                    <a:lnTo>
                      <a:pt x="25" y="53"/>
                    </a:lnTo>
                    <a:lnTo>
                      <a:pt x="27" y="59"/>
                    </a:lnTo>
                    <a:lnTo>
                      <a:pt x="27" y="67"/>
                    </a:lnTo>
                    <a:lnTo>
                      <a:pt x="25" y="75"/>
                    </a:lnTo>
                    <a:lnTo>
                      <a:pt x="23" y="80"/>
                    </a:lnTo>
                    <a:lnTo>
                      <a:pt x="14" y="86"/>
                    </a:lnTo>
                    <a:lnTo>
                      <a:pt x="19" y="90"/>
                    </a:lnTo>
                    <a:lnTo>
                      <a:pt x="27" y="96"/>
                    </a:lnTo>
                    <a:lnTo>
                      <a:pt x="31" y="98"/>
                    </a:lnTo>
                    <a:lnTo>
                      <a:pt x="33" y="101"/>
                    </a:lnTo>
                    <a:lnTo>
                      <a:pt x="33" y="105"/>
                    </a:lnTo>
                    <a:lnTo>
                      <a:pt x="33" y="109"/>
                    </a:lnTo>
                    <a:lnTo>
                      <a:pt x="29" y="113"/>
                    </a:lnTo>
                    <a:lnTo>
                      <a:pt x="29" y="117"/>
                    </a:lnTo>
                    <a:lnTo>
                      <a:pt x="29" y="121"/>
                    </a:lnTo>
                    <a:lnTo>
                      <a:pt x="35" y="123"/>
                    </a:lnTo>
                    <a:lnTo>
                      <a:pt x="41" y="123"/>
                    </a:lnTo>
                    <a:lnTo>
                      <a:pt x="42" y="123"/>
                    </a:lnTo>
                    <a:lnTo>
                      <a:pt x="44" y="121"/>
                    </a:lnTo>
                    <a:lnTo>
                      <a:pt x="46" y="115"/>
                    </a:lnTo>
                    <a:lnTo>
                      <a:pt x="50" y="105"/>
                    </a:lnTo>
                    <a:lnTo>
                      <a:pt x="54" y="103"/>
                    </a:lnTo>
                    <a:lnTo>
                      <a:pt x="58" y="96"/>
                    </a:lnTo>
                    <a:lnTo>
                      <a:pt x="58" y="92"/>
                    </a:lnTo>
                    <a:lnTo>
                      <a:pt x="56" y="90"/>
                    </a:lnTo>
                    <a:lnTo>
                      <a:pt x="60" y="88"/>
                    </a:lnTo>
                    <a:lnTo>
                      <a:pt x="65" y="84"/>
                    </a:lnTo>
                    <a:lnTo>
                      <a:pt x="69" y="88"/>
                    </a:lnTo>
                    <a:lnTo>
                      <a:pt x="69" y="84"/>
                    </a:lnTo>
                    <a:lnTo>
                      <a:pt x="67" y="80"/>
                    </a:lnTo>
                    <a:lnTo>
                      <a:pt x="71" y="75"/>
                    </a:lnTo>
                    <a:lnTo>
                      <a:pt x="75" y="69"/>
                    </a:lnTo>
                    <a:lnTo>
                      <a:pt x="75" y="65"/>
                    </a:lnTo>
                    <a:lnTo>
                      <a:pt x="75" y="61"/>
                    </a:lnTo>
                    <a:lnTo>
                      <a:pt x="71" y="61"/>
                    </a:lnTo>
                    <a:lnTo>
                      <a:pt x="69" y="59"/>
                    </a:lnTo>
                    <a:lnTo>
                      <a:pt x="67" y="63"/>
                    </a:lnTo>
                    <a:lnTo>
                      <a:pt x="64" y="65"/>
                    </a:lnTo>
                    <a:lnTo>
                      <a:pt x="58" y="67"/>
                    </a:lnTo>
                    <a:lnTo>
                      <a:pt x="54" y="65"/>
                    </a:lnTo>
                    <a:lnTo>
                      <a:pt x="50" y="61"/>
                    </a:lnTo>
                    <a:lnTo>
                      <a:pt x="44" y="59"/>
                    </a:lnTo>
                    <a:lnTo>
                      <a:pt x="44" y="53"/>
                    </a:lnTo>
                    <a:lnTo>
                      <a:pt x="44" y="46"/>
                    </a:lnTo>
                    <a:lnTo>
                      <a:pt x="41" y="44"/>
                    </a:lnTo>
                    <a:lnTo>
                      <a:pt x="41" y="40"/>
                    </a:lnTo>
                    <a:lnTo>
                      <a:pt x="39" y="46"/>
                    </a:lnTo>
                    <a:lnTo>
                      <a:pt x="35" y="48"/>
                    </a:lnTo>
                    <a:lnTo>
                      <a:pt x="33" y="48"/>
                    </a:lnTo>
                    <a:lnTo>
                      <a:pt x="31" y="46"/>
                    </a:lnTo>
                    <a:lnTo>
                      <a:pt x="29" y="42"/>
                    </a:lnTo>
                    <a:lnTo>
                      <a:pt x="29" y="38"/>
                    </a:lnTo>
                    <a:lnTo>
                      <a:pt x="29" y="29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1" y="19"/>
                    </a:lnTo>
                    <a:lnTo>
                      <a:pt x="21" y="17"/>
                    </a:lnTo>
                    <a:lnTo>
                      <a:pt x="23" y="15"/>
                    </a:lnTo>
                    <a:lnTo>
                      <a:pt x="19" y="11"/>
                    </a:lnTo>
                    <a:lnTo>
                      <a:pt x="14" y="7"/>
                    </a:lnTo>
                    <a:lnTo>
                      <a:pt x="12" y="9"/>
                    </a:lnTo>
                    <a:lnTo>
                      <a:pt x="10" y="11"/>
                    </a:lnTo>
                    <a:lnTo>
                      <a:pt x="8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5" name="Freeform 123"/>
              <p:cNvSpPr>
                <a:spLocks/>
              </p:cNvSpPr>
              <p:nvPr/>
            </p:nvSpPr>
            <p:spPr bwMode="gray">
              <a:xfrm>
                <a:off x="7603682" y="5505451"/>
                <a:ext cx="155558" cy="174625"/>
              </a:xfrm>
              <a:custGeom>
                <a:avLst/>
                <a:gdLst>
                  <a:gd name="T0" fmla="*/ 75 w 98"/>
                  <a:gd name="T1" fmla="*/ 0 h 110"/>
                  <a:gd name="T2" fmla="*/ 73 w 98"/>
                  <a:gd name="T3" fmla="*/ 4 h 110"/>
                  <a:gd name="T4" fmla="*/ 70 w 98"/>
                  <a:gd name="T5" fmla="*/ 6 h 110"/>
                  <a:gd name="T6" fmla="*/ 70 w 98"/>
                  <a:gd name="T7" fmla="*/ 14 h 110"/>
                  <a:gd name="T8" fmla="*/ 70 w 98"/>
                  <a:gd name="T9" fmla="*/ 19 h 110"/>
                  <a:gd name="T10" fmla="*/ 68 w 98"/>
                  <a:gd name="T11" fmla="*/ 21 h 110"/>
                  <a:gd name="T12" fmla="*/ 64 w 98"/>
                  <a:gd name="T13" fmla="*/ 23 h 110"/>
                  <a:gd name="T14" fmla="*/ 64 w 98"/>
                  <a:gd name="T15" fmla="*/ 27 h 110"/>
                  <a:gd name="T16" fmla="*/ 64 w 98"/>
                  <a:gd name="T17" fmla="*/ 29 h 110"/>
                  <a:gd name="T18" fmla="*/ 62 w 98"/>
                  <a:gd name="T19" fmla="*/ 31 h 110"/>
                  <a:gd name="T20" fmla="*/ 60 w 98"/>
                  <a:gd name="T21" fmla="*/ 31 h 110"/>
                  <a:gd name="T22" fmla="*/ 56 w 98"/>
                  <a:gd name="T23" fmla="*/ 39 h 110"/>
                  <a:gd name="T24" fmla="*/ 54 w 98"/>
                  <a:gd name="T25" fmla="*/ 46 h 110"/>
                  <a:gd name="T26" fmla="*/ 48 w 98"/>
                  <a:gd name="T27" fmla="*/ 54 h 110"/>
                  <a:gd name="T28" fmla="*/ 43 w 98"/>
                  <a:gd name="T29" fmla="*/ 58 h 110"/>
                  <a:gd name="T30" fmla="*/ 35 w 98"/>
                  <a:gd name="T31" fmla="*/ 62 h 110"/>
                  <a:gd name="T32" fmla="*/ 25 w 98"/>
                  <a:gd name="T33" fmla="*/ 64 h 110"/>
                  <a:gd name="T34" fmla="*/ 23 w 98"/>
                  <a:gd name="T35" fmla="*/ 67 h 110"/>
                  <a:gd name="T36" fmla="*/ 23 w 98"/>
                  <a:gd name="T37" fmla="*/ 69 h 110"/>
                  <a:gd name="T38" fmla="*/ 20 w 98"/>
                  <a:gd name="T39" fmla="*/ 69 h 110"/>
                  <a:gd name="T40" fmla="*/ 20 w 98"/>
                  <a:gd name="T41" fmla="*/ 73 h 110"/>
                  <a:gd name="T42" fmla="*/ 18 w 98"/>
                  <a:gd name="T43" fmla="*/ 73 h 110"/>
                  <a:gd name="T44" fmla="*/ 14 w 98"/>
                  <a:gd name="T45" fmla="*/ 73 h 110"/>
                  <a:gd name="T46" fmla="*/ 10 w 98"/>
                  <a:gd name="T47" fmla="*/ 77 h 110"/>
                  <a:gd name="T48" fmla="*/ 8 w 98"/>
                  <a:gd name="T49" fmla="*/ 83 h 110"/>
                  <a:gd name="T50" fmla="*/ 4 w 98"/>
                  <a:gd name="T51" fmla="*/ 83 h 110"/>
                  <a:gd name="T52" fmla="*/ 4 w 98"/>
                  <a:gd name="T53" fmla="*/ 89 h 110"/>
                  <a:gd name="T54" fmla="*/ 2 w 98"/>
                  <a:gd name="T55" fmla="*/ 94 h 110"/>
                  <a:gd name="T56" fmla="*/ 0 w 98"/>
                  <a:gd name="T57" fmla="*/ 98 h 110"/>
                  <a:gd name="T58" fmla="*/ 2 w 98"/>
                  <a:gd name="T59" fmla="*/ 102 h 110"/>
                  <a:gd name="T60" fmla="*/ 10 w 98"/>
                  <a:gd name="T61" fmla="*/ 104 h 110"/>
                  <a:gd name="T62" fmla="*/ 16 w 98"/>
                  <a:gd name="T63" fmla="*/ 102 h 110"/>
                  <a:gd name="T64" fmla="*/ 18 w 98"/>
                  <a:gd name="T65" fmla="*/ 108 h 110"/>
                  <a:gd name="T66" fmla="*/ 25 w 98"/>
                  <a:gd name="T67" fmla="*/ 110 h 110"/>
                  <a:gd name="T68" fmla="*/ 37 w 98"/>
                  <a:gd name="T69" fmla="*/ 110 h 110"/>
                  <a:gd name="T70" fmla="*/ 43 w 98"/>
                  <a:gd name="T71" fmla="*/ 106 h 110"/>
                  <a:gd name="T72" fmla="*/ 48 w 98"/>
                  <a:gd name="T73" fmla="*/ 96 h 110"/>
                  <a:gd name="T74" fmla="*/ 54 w 98"/>
                  <a:gd name="T75" fmla="*/ 87 h 110"/>
                  <a:gd name="T76" fmla="*/ 58 w 98"/>
                  <a:gd name="T77" fmla="*/ 79 h 110"/>
                  <a:gd name="T78" fmla="*/ 58 w 98"/>
                  <a:gd name="T79" fmla="*/ 75 h 110"/>
                  <a:gd name="T80" fmla="*/ 58 w 98"/>
                  <a:gd name="T81" fmla="*/ 69 h 110"/>
                  <a:gd name="T82" fmla="*/ 68 w 98"/>
                  <a:gd name="T83" fmla="*/ 66 h 110"/>
                  <a:gd name="T84" fmla="*/ 79 w 98"/>
                  <a:gd name="T85" fmla="*/ 62 h 110"/>
                  <a:gd name="T86" fmla="*/ 79 w 98"/>
                  <a:gd name="T87" fmla="*/ 56 h 110"/>
                  <a:gd name="T88" fmla="*/ 77 w 98"/>
                  <a:gd name="T89" fmla="*/ 52 h 110"/>
                  <a:gd name="T90" fmla="*/ 87 w 98"/>
                  <a:gd name="T91" fmla="*/ 41 h 110"/>
                  <a:gd name="T92" fmla="*/ 98 w 98"/>
                  <a:gd name="T93" fmla="*/ 27 h 110"/>
                  <a:gd name="T94" fmla="*/ 98 w 98"/>
                  <a:gd name="T95" fmla="*/ 19 h 110"/>
                  <a:gd name="T96" fmla="*/ 98 w 98"/>
                  <a:gd name="T97" fmla="*/ 10 h 110"/>
                  <a:gd name="T98" fmla="*/ 96 w 98"/>
                  <a:gd name="T99" fmla="*/ 12 h 110"/>
                  <a:gd name="T100" fmla="*/ 96 w 98"/>
                  <a:gd name="T101" fmla="*/ 14 h 110"/>
                  <a:gd name="T102" fmla="*/ 93 w 98"/>
                  <a:gd name="T103" fmla="*/ 12 h 110"/>
                  <a:gd name="T104" fmla="*/ 91 w 98"/>
                  <a:gd name="T105" fmla="*/ 8 h 110"/>
                  <a:gd name="T106" fmla="*/ 89 w 98"/>
                  <a:gd name="T107" fmla="*/ 12 h 110"/>
                  <a:gd name="T108" fmla="*/ 89 w 98"/>
                  <a:gd name="T109" fmla="*/ 14 h 110"/>
                  <a:gd name="T110" fmla="*/ 87 w 98"/>
                  <a:gd name="T111" fmla="*/ 14 h 110"/>
                  <a:gd name="T112" fmla="*/ 83 w 98"/>
                  <a:gd name="T113" fmla="*/ 14 h 110"/>
                  <a:gd name="T114" fmla="*/ 81 w 98"/>
                  <a:gd name="T115" fmla="*/ 6 h 110"/>
                  <a:gd name="T116" fmla="*/ 81 w 98"/>
                  <a:gd name="T117" fmla="*/ 0 h 110"/>
                  <a:gd name="T118" fmla="*/ 79 w 98"/>
                  <a:gd name="T119" fmla="*/ 0 h 110"/>
                  <a:gd name="T120" fmla="*/ 75 w 98"/>
                  <a:gd name="T121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8" h="110">
                    <a:moveTo>
                      <a:pt x="75" y="0"/>
                    </a:moveTo>
                    <a:lnTo>
                      <a:pt x="73" y="4"/>
                    </a:lnTo>
                    <a:lnTo>
                      <a:pt x="70" y="6"/>
                    </a:lnTo>
                    <a:lnTo>
                      <a:pt x="70" y="14"/>
                    </a:lnTo>
                    <a:lnTo>
                      <a:pt x="70" y="19"/>
                    </a:lnTo>
                    <a:lnTo>
                      <a:pt x="68" y="21"/>
                    </a:lnTo>
                    <a:lnTo>
                      <a:pt x="64" y="23"/>
                    </a:lnTo>
                    <a:lnTo>
                      <a:pt x="64" y="27"/>
                    </a:lnTo>
                    <a:lnTo>
                      <a:pt x="64" y="29"/>
                    </a:lnTo>
                    <a:lnTo>
                      <a:pt x="62" y="31"/>
                    </a:lnTo>
                    <a:lnTo>
                      <a:pt x="60" y="31"/>
                    </a:lnTo>
                    <a:lnTo>
                      <a:pt x="56" y="39"/>
                    </a:lnTo>
                    <a:lnTo>
                      <a:pt x="54" y="46"/>
                    </a:lnTo>
                    <a:lnTo>
                      <a:pt x="48" y="54"/>
                    </a:lnTo>
                    <a:lnTo>
                      <a:pt x="43" y="58"/>
                    </a:lnTo>
                    <a:lnTo>
                      <a:pt x="35" y="62"/>
                    </a:lnTo>
                    <a:lnTo>
                      <a:pt x="25" y="64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0" y="69"/>
                    </a:lnTo>
                    <a:lnTo>
                      <a:pt x="20" y="73"/>
                    </a:lnTo>
                    <a:lnTo>
                      <a:pt x="18" y="73"/>
                    </a:lnTo>
                    <a:lnTo>
                      <a:pt x="14" y="73"/>
                    </a:lnTo>
                    <a:lnTo>
                      <a:pt x="10" y="77"/>
                    </a:lnTo>
                    <a:lnTo>
                      <a:pt x="8" y="83"/>
                    </a:lnTo>
                    <a:lnTo>
                      <a:pt x="4" y="83"/>
                    </a:lnTo>
                    <a:lnTo>
                      <a:pt x="4" y="89"/>
                    </a:lnTo>
                    <a:lnTo>
                      <a:pt x="2" y="94"/>
                    </a:lnTo>
                    <a:lnTo>
                      <a:pt x="0" y="98"/>
                    </a:lnTo>
                    <a:lnTo>
                      <a:pt x="2" y="102"/>
                    </a:lnTo>
                    <a:lnTo>
                      <a:pt x="10" y="104"/>
                    </a:lnTo>
                    <a:lnTo>
                      <a:pt x="16" y="102"/>
                    </a:lnTo>
                    <a:lnTo>
                      <a:pt x="18" y="108"/>
                    </a:lnTo>
                    <a:lnTo>
                      <a:pt x="25" y="110"/>
                    </a:lnTo>
                    <a:lnTo>
                      <a:pt x="37" y="110"/>
                    </a:lnTo>
                    <a:lnTo>
                      <a:pt x="43" y="106"/>
                    </a:lnTo>
                    <a:lnTo>
                      <a:pt x="48" y="96"/>
                    </a:lnTo>
                    <a:lnTo>
                      <a:pt x="54" y="87"/>
                    </a:lnTo>
                    <a:lnTo>
                      <a:pt x="58" y="79"/>
                    </a:lnTo>
                    <a:lnTo>
                      <a:pt x="58" y="75"/>
                    </a:lnTo>
                    <a:lnTo>
                      <a:pt x="58" y="69"/>
                    </a:lnTo>
                    <a:lnTo>
                      <a:pt x="68" y="66"/>
                    </a:lnTo>
                    <a:lnTo>
                      <a:pt x="79" y="62"/>
                    </a:lnTo>
                    <a:lnTo>
                      <a:pt x="79" y="56"/>
                    </a:lnTo>
                    <a:lnTo>
                      <a:pt x="77" y="52"/>
                    </a:lnTo>
                    <a:lnTo>
                      <a:pt x="87" y="41"/>
                    </a:lnTo>
                    <a:lnTo>
                      <a:pt x="98" y="27"/>
                    </a:lnTo>
                    <a:lnTo>
                      <a:pt x="98" y="19"/>
                    </a:lnTo>
                    <a:lnTo>
                      <a:pt x="98" y="10"/>
                    </a:lnTo>
                    <a:lnTo>
                      <a:pt x="96" y="12"/>
                    </a:lnTo>
                    <a:lnTo>
                      <a:pt x="96" y="14"/>
                    </a:lnTo>
                    <a:lnTo>
                      <a:pt x="93" y="12"/>
                    </a:lnTo>
                    <a:lnTo>
                      <a:pt x="91" y="8"/>
                    </a:lnTo>
                    <a:lnTo>
                      <a:pt x="89" y="12"/>
                    </a:lnTo>
                    <a:lnTo>
                      <a:pt x="89" y="14"/>
                    </a:lnTo>
                    <a:lnTo>
                      <a:pt x="87" y="14"/>
                    </a:lnTo>
                    <a:lnTo>
                      <a:pt x="83" y="14"/>
                    </a:lnTo>
                    <a:lnTo>
                      <a:pt x="81" y="6"/>
                    </a:lnTo>
                    <a:lnTo>
                      <a:pt x="81" y="0"/>
                    </a:lnTo>
                    <a:lnTo>
                      <a:pt x="79" y="0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6" name="Freeform 124"/>
              <p:cNvSpPr>
                <a:spLocks/>
              </p:cNvSpPr>
              <p:nvPr/>
            </p:nvSpPr>
            <p:spPr bwMode="gray">
              <a:xfrm>
                <a:off x="7622729" y="5680076"/>
                <a:ext cx="17461" cy="17463"/>
              </a:xfrm>
              <a:custGeom>
                <a:avLst/>
                <a:gdLst>
                  <a:gd name="T0" fmla="*/ 2 w 11"/>
                  <a:gd name="T1" fmla="*/ 0 h 11"/>
                  <a:gd name="T2" fmla="*/ 2 w 11"/>
                  <a:gd name="T3" fmla="*/ 7 h 11"/>
                  <a:gd name="T4" fmla="*/ 0 w 11"/>
                  <a:gd name="T5" fmla="*/ 11 h 11"/>
                  <a:gd name="T6" fmla="*/ 4 w 11"/>
                  <a:gd name="T7" fmla="*/ 11 h 11"/>
                  <a:gd name="T8" fmla="*/ 10 w 11"/>
                  <a:gd name="T9" fmla="*/ 11 h 11"/>
                  <a:gd name="T10" fmla="*/ 11 w 11"/>
                  <a:gd name="T11" fmla="*/ 11 h 11"/>
                  <a:gd name="T12" fmla="*/ 11 w 11"/>
                  <a:gd name="T13" fmla="*/ 11 h 11"/>
                  <a:gd name="T14" fmla="*/ 11 w 11"/>
                  <a:gd name="T15" fmla="*/ 9 h 11"/>
                  <a:gd name="T16" fmla="*/ 10 w 11"/>
                  <a:gd name="T17" fmla="*/ 7 h 11"/>
                  <a:gd name="T18" fmla="*/ 10 w 11"/>
                  <a:gd name="T19" fmla="*/ 5 h 11"/>
                  <a:gd name="T20" fmla="*/ 8 w 11"/>
                  <a:gd name="T21" fmla="*/ 2 h 11"/>
                  <a:gd name="T22" fmla="*/ 6 w 11"/>
                  <a:gd name="T23" fmla="*/ 2 h 11"/>
                  <a:gd name="T24" fmla="*/ 2 w 11"/>
                  <a:gd name="T2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1">
                    <a:moveTo>
                      <a:pt x="2" y="0"/>
                    </a:moveTo>
                    <a:lnTo>
                      <a:pt x="2" y="7"/>
                    </a:lnTo>
                    <a:lnTo>
                      <a:pt x="0" y="11"/>
                    </a:lnTo>
                    <a:lnTo>
                      <a:pt x="4" y="11"/>
                    </a:lnTo>
                    <a:lnTo>
                      <a:pt x="10" y="11"/>
                    </a:lnTo>
                    <a:lnTo>
                      <a:pt x="11" y="11"/>
                    </a:lnTo>
                    <a:lnTo>
                      <a:pt x="11" y="11"/>
                    </a:lnTo>
                    <a:lnTo>
                      <a:pt x="11" y="9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7" name="Freeform 125"/>
              <p:cNvSpPr>
                <a:spLocks/>
              </p:cNvSpPr>
              <p:nvPr/>
            </p:nvSpPr>
            <p:spPr bwMode="gray">
              <a:xfrm>
                <a:off x="4398876" y="3055939"/>
                <a:ext cx="79366" cy="65088"/>
              </a:xfrm>
              <a:custGeom>
                <a:avLst/>
                <a:gdLst>
                  <a:gd name="T0" fmla="*/ 48 w 50"/>
                  <a:gd name="T1" fmla="*/ 6 h 41"/>
                  <a:gd name="T2" fmla="*/ 48 w 50"/>
                  <a:gd name="T3" fmla="*/ 6 h 41"/>
                  <a:gd name="T4" fmla="*/ 48 w 50"/>
                  <a:gd name="T5" fmla="*/ 6 h 41"/>
                  <a:gd name="T6" fmla="*/ 48 w 50"/>
                  <a:gd name="T7" fmla="*/ 4 h 41"/>
                  <a:gd name="T8" fmla="*/ 48 w 50"/>
                  <a:gd name="T9" fmla="*/ 2 h 41"/>
                  <a:gd name="T10" fmla="*/ 39 w 50"/>
                  <a:gd name="T11" fmla="*/ 0 h 41"/>
                  <a:gd name="T12" fmla="*/ 27 w 50"/>
                  <a:gd name="T13" fmla="*/ 0 h 41"/>
                  <a:gd name="T14" fmla="*/ 25 w 50"/>
                  <a:gd name="T15" fmla="*/ 2 h 41"/>
                  <a:gd name="T16" fmla="*/ 25 w 50"/>
                  <a:gd name="T17" fmla="*/ 6 h 41"/>
                  <a:gd name="T18" fmla="*/ 22 w 50"/>
                  <a:gd name="T19" fmla="*/ 6 h 41"/>
                  <a:gd name="T20" fmla="*/ 18 w 50"/>
                  <a:gd name="T21" fmla="*/ 8 h 41"/>
                  <a:gd name="T22" fmla="*/ 12 w 50"/>
                  <a:gd name="T23" fmla="*/ 20 h 41"/>
                  <a:gd name="T24" fmla="*/ 12 w 50"/>
                  <a:gd name="T25" fmla="*/ 33 h 41"/>
                  <a:gd name="T26" fmla="*/ 6 w 50"/>
                  <a:gd name="T27" fmla="*/ 33 h 41"/>
                  <a:gd name="T28" fmla="*/ 0 w 50"/>
                  <a:gd name="T29" fmla="*/ 33 h 41"/>
                  <a:gd name="T30" fmla="*/ 0 w 50"/>
                  <a:gd name="T31" fmla="*/ 37 h 41"/>
                  <a:gd name="T32" fmla="*/ 8 w 50"/>
                  <a:gd name="T33" fmla="*/ 39 h 41"/>
                  <a:gd name="T34" fmla="*/ 12 w 50"/>
                  <a:gd name="T35" fmla="*/ 39 h 41"/>
                  <a:gd name="T36" fmla="*/ 16 w 50"/>
                  <a:gd name="T37" fmla="*/ 37 h 41"/>
                  <a:gd name="T38" fmla="*/ 20 w 50"/>
                  <a:gd name="T39" fmla="*/ 37 h 41"/>
                  <a:gd name="T40" fmla="*/ 22 w 50"/>
                  <a:gd name="T41" fmla="*/ 39 h 41"/>
                  <a:gd name="T42" fmla="*/ 24 w 50"/>
                  <a:gd name="T43" fmla="*/ 41 h 41"/>
                  <a:gd name="T44" fmla="*/ 25 w 50"/>
                  <a:gd name="T45" fmla="*/ 41 h 41"/>
                  <a:gd name="T46" fmla="*/ 27 w 50"/>
                  <a:gd name="T47" fmla="*/ 37 h 41"/>
                  <a:gd name="T48" fmla="*/ 31 w 50"/>
                  <a:gd name="T49" fmla="*/ 29 h 41"/>
                  <a:gd name="T50" fmla="*/ 31 w 50"/>
                  <a:gd name="T51" fmla="*/ 27 h 41"/>
                  <a:gd name="T52" fmla="*/ 33 w 50"/>
                  <a:gd name="T53" fmla="*/ 25 h 41"/>
                  <a:gd name="T54" fmla="*/ 33 w 50"/>
                  <a:gd name="T55" fmla="*/ 25 h 41"/>
                  <a:gd name="T56" fmla="*/ 37 w 50"/>
                  <a:gd name="T57" fmla="*/ 25 h 41"/>
                  <a:gd name="T58" fmla="*/ 43 w 50"/>
                  <a:gd name="T59" fmla="*/ 25 h 41"/>
                  <a:gd name="T60" fmla="*/ 45 w 50"/>
                  <a:gd name="T61" fmla="*/ 23 h 41"/>
                  <a:gd name="T62" fmla="*/ 47 w 50"/>
                  <a:gd name="T63" fmla="*/ 22 h 41"/>
                  <a:gd name="T64" fmla="*/ 48 w 50"/>
                  <a:gd name="T65" fmla="*/ 20 h 41"/>
                  <a:gd name="T66" fmla="*/ 47 w 50"/>
                  <a:gd name="T67" fmla="*/ 18 h 41"/>
                  <a:gd name="T68" fmla="*/ 47 w 50"/>
                  <a:gd name="T69" fmla="*/ 16 h 41"/>
                  <a:gd name="T70" fmla="*/ 47 w 50"/>
                  <a:gd name="T71" fmla="*/ 16 h 41"/>
                  <a:gd name="T72" fmla="*/ 48 w 50"/>
                  <a:gd name="T73" fmla="*/ 16 h 41"/>
                  <a:gd name="T74" fmla="*/ 50 w 50"/>
                  <a:gd name="T75" fmla="*/ 10 h 41"/>
                  <a:gd name="T76" fmla="*/ 48 w 50"/>
                  <a:gd name="T77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0" h="41">
                    <a:moveTo>
                      <a:pt x="48" y="6"/>
                    </a:moveTo>
                    <a:lnTo>
                      <a:pt x="48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39" y="0"/>
                    </a:lnTo>
                    <a:lnTo>
                      <a:pt x="27" y="0"/>
                    </a:lnTo>
                    <a:lnTo>
                      <a:pt x="25" y="2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18" y="8"/>
                    </a:lnTo>
                    <a:lnTo>
                      <a:pt x="12" y="20"/>
                    </a:lnTo>
                    <a:lnTo>
                      <a:pt x="12" y="33"/>
                    </a:lnTo>
                    <a:lnTo>
                      <a:pt x="6" y="33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8" y="39"/>
                    </a:lnTo>
                    <a:lnTo>
                      <a:pt x="12" y="39"/>
                    </a:lnTo>
                    <a:lnTo>
                      <a:pt x="16" y="37"/>
                    </a:lnTo>
                    <a:lnTo>
                      <a:pt x="20" y="37"/>
                    </a:lnTo>
                    <a:lnTo>
                      <a:pt x="22" y="39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7" y="37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33" y="25"/>
                    </a:lnTo>
                    <a:lnTo>
                      <a:pt x="33" y="25"/>
                    </a:lnTo>
                    <a:lnTo>
                      <a:pt x="37" y="25"/>
                    </a:lnTo>
                    <a:lnTo>
                      <a:pt x="43" y="25"/>
                    </a:lnTo>
                    <a:lnTo>
                      <a:pt x="45" y="23"/>
                    </a:lnTo>
                    <a:lnTo>
                      <a:pt x="47" y="22"/>
                    </a:lnTo>
                    <a:lnTo>
                      <a:pt x="48" y="20"/>
                    </a:lnTo>
                    <a:lnTo>
                      <a:pt x="47" y="18"/>
                    </a:lnTo>
                    <a:lnTo>
                      <a:pt x="47" y="16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50" y="10"/>
                    </a:lnTo>
                    <a:lnTo>
                      <a:pt x="48" y="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8" name="Freeform 126"/>
              <p:cNvSpPr>
                <a:spLocks/>
              </p:cNvSpPr>
              <p:nvPr/>
            </p:nvSpPr>
            <p:spPr bwMode="gray">
              <a:xfrm>
                <a:off x="5913182" y="3708401"/>
                <a:ext cx="161907" cy="96838"/>
              </a:xfrm>
              <a:custGeom>
                <a:avLst/>
                <a:gdLst>
                  <a:gd name="T0" fmla="*/ 102 w 102"/>
                  <a:gd name="T1" fmla="*/ 38 h 61"/>
                  <a:gd name="T2" fmla="*/ 92 w 102"/>
                  <a:gd name="T3" fmla="*/ 37 h 61"/>
                  <a:gd name="T4" fmla="*/ 81 w 102"/>
                  <a:gd name="T5" fmla="*/ 37 h 61"/>
                  <a:gd name="T6" fmla="*/ 75 w 102"/>
                  <a:gd name="T7" fmla="*/ 33 h 61"/>
                  <a:gd name="T8" fmla="*/ 69 w 102"/>
                  <a:gd name="T9" fmla="*/ 33 h 61"/>
                  <a:gd name="T10" fmla="*/ 66 w 102"/>
                  <a:gd name="T11" fmla="*/ 27 h 61"/>
                  <a:gd name="T12" fmla="*/ 62 w 102"/>
                  <a:gd name="T13" fmla="*/ 21 h 61"/>
                  <a:gd name="T14" fmla="*/ 54 w 102"/>
                  <a:gd name="T15" fmla="*/ 17 h 61"/>
                  <a:gd name="T16" fmla="*/ 54 w 102"/>
                  <a:gd name="T17" fmla="*/ 12 h 61"/>
                  <a:gd name="T18" fmla="*/ 50 w 102"/>
                  <a:gd name="T19" fmla="*/ 10 h 61"/>
                  <a:gd name="T20" fmla="*/ 43 w 102"/>
                  <a:gd name="T21" fmla="*/ 10 h 61"/>
                  <a:gd name="T22" fmla="*/ 37 w 102"/>
                  <a:gd name="T23" fmla="*/ 10 h 61"/>
                  <a:gd name="T24" fmla="*/ 31 w 102"/>
                  <a:gd name="T25" fmla="*/ 2 h 61"/>
                  <a:gd name="T26" fmla="*/ 27 w 102"/>
                  <a:gd name="T27" fmla="*/ 0 h 61"/>
                  <a:gd name="T28" fmla="*/ 21 w 102"/>
                  <a:gd name="T29" fmla="*/ 0 h 61"/>
                  <a:gd name="T30" fmla="*/ 16 w 102"/>
                  <a:gd name="T31" fmla="*/ 0 h 61"/>
                  <a:gd name="T32" fmla="*/ 12 w 102"/>
                  <a:gd name="T33" fmla="*/ 0 h 61"/>
                  <a:gd name="T34" fmla="*/ 4 w 102"/>
                  <a:gd name="T35" fmla="*/ 6 h 61"/>
                  <a:gd name="T36" fmla="*/ 0 w 102"/>
                  <a:gd name="T37" fmla="*/ 14 h 61"/>
                  <a:gd name="T38" fmla="*/ 2 w 102"/>
                  <a:gd name="T39" fmla="*/ 21 h 61"/>
                  <a:gd name="T40" fmla="*/ 8 w 102"/>
                  <a:gd name="T41" fmla="*/ 23 h 61"/>
                  <a:gd name="T42" fmla="*/ 10 w 102"/>
                  <a:gd name="T43" fmla="*/ 29 h 61"/>
                  <a:gd name="T44" fmla="*/ 18 w 102"/>
                  <a:gd name="T45" fmla="*/ 31 h 61"/>
                  <a:gd name="T46" fmla="*/ 23 w 102"/>
                  <a:gd name="T47" fmla="*/ 35 h 61"/>
                  <a:gd name="T48" fmla="*/ 33 w 102"/>
                  <a:gd name="T49" fmla="*/ 38 h 61"/>
                  <a:gd name="T50" fmla="*/ 41 w 102"/>
                  <a:gd name="T51" fmla="*/ 38 h 61"/>
                  <a:gd name="T52" fmla="*/ 44 w 102"/>
                  <a:gd name="T53" fmla="*/ 42 h 61"/>
                  <a:gd name="T54" fmla="*/ 48 w 102"/>
                  <a:gd name="T55" fmla="*/ 48 h 61"/>
                  <a:gd name="T56" fmla="*/ 54 w 102"/>
                  <a:gd name="T57" fmla="*/ 48 h 61"/>
                  <a:gd name="T58" fmla="*/ 60 w 102"/>
                  <a:gd name="T59" fmla="*/ 54 h 61"/>
                  <a:gd name="T60" fmla="*/ 69 w 102"/>
                  <a:gd name="T61" fmla="*/ 54 h 61"/>
                  <a:gd name="T62" fmla="*/ 81 w 102"/>
                  <a:gd name="T63" fmla="*/ 60 h 61"/>
                  <a:gd name="T64" fmla="*/ 87 w 102"/>
                  <a:gd name="T65" fmla="*/ 60 h 61"/>
                  <a:gd name="T66" fmla="*/ 94 w 102"/>
                  <a:gd name="T67" fmla="*/ 61 h 61"/>
                  <a:gd name="T68" fmla="*/ 100 w 102"/>
                  <a:gd name="T69" fmla="*/ 60 h 61"/>
                  <a:gd name="T70" fmla="*/ 102 w 102"/>
                  <a:gd name="T71" fmla="*/ 58 h 61"/>
                  <a:gd name="T72" fmla="*/ 102 w 102"/>
                  <a:gd name="T73" fmla="*/ 54 h 61"/>
                  <a:gd name="T74" fmla="*/ 98 w 102"/>
                  <a:gd name="T75" fmla="*/ 50 h 61"/>
                  <a:gd name="T76" fmla="*/ 102 w 102"/>
                  <a:gd name="T77" fmla="*/ 46 h 61"/>
                  <a:gd name="T78" fmla="*/ 102 w 102"/>
                  <a:gd name="T79" fmla="*/ 38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2" h="61">
                    <a:moveTo>
                      <a:pt x="102" y="38"/>
                    </a:moveTo>
                    <a:lnTo>
                      <a:pt x="92" y="37"/>
                    </a:lnTo>
                    <a:lnTo>
                      <a:pt x="81" y="37"/>
                    </a:lnTo>
                    <a:lnTo>
                      <a:pt x="75" y="33"/>
                    </a:lnTo>
                    <a:lnTo>
                      <a:pt x="69" y="33"/>
                    </a:lnTo>
                    <a:lnTo>
                      <a:pt x="66" y="27"/>
                    </a:lnTo>
                    <a:lnTo>
                      <a:pt x="62" y="21"/>
                    </a:lnTo>
                    <a:lnTo>
                      <a:pt x="54" y="17"/>
                    </a:lnTo>
                    <a:lnTo>
                      <a:pt x="54" y="12"/>
                    </a:lnTo>
                    <a:lnTo>
                      <a:pt x="50" y="10"/>
                    </a:lnTo>
                    <a:lnTo>
                      <a:pt x="43" y="10"/>
                    </a:lnTo>
                    <a:lnTo>
                      <a:pt x="37" y="10"/>
                    </a:lnTo>
                    <a:lnTo>
                      <a:pt x="31" y="2"/>
                    </a:lnTo>
                    <a:lnTo>
                      <a:pt x="27" y="0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2" y="21"/>
                    </a:lnTo>
                    <a:lnTo>
                      <a:pt x="8" y="23"/>
                    </a:lnTo>
                    <a:lnTo>
                      <a:pt x="10" y="29"/>
                    </a:lnTo>
                    <a:lnTo>
                      <a:pt x="18" y="31"/>
                    </a:lnTo>
                    <a:lnTo>
                      <a:pt x="23" y="35"/>
                    </a:lnTo>
                    <a:lnTo>
                      <a:pt x="33" y="38"/>
                    </a:lnTo>
                    <a:lnTo>
                      <a:pt x="41" y="38"/>
                    </a:lnTo>
                    <a:lnTo>
                      <a:pt x="44" y="42"/>
                    </a:lnTo>
                    <a:lnTo>
                      <a:pt x="48" y="48"/>
                    </a:lnTo>
                    <a:lnTo>
                      <a:pt x="54" y="48"/>
                    </a:lnTo>
                    <a:lnTo>
                      <a:pt x="60" y="54"/>
                    </a:lnTo>
                    <a:lnTo>
                      <a:pt x="69" y="54"/>
                    </a:lnTo>
                    <a:lnTo>
                      <a:pt x="81" y="60"/>
                    </a:lnTo>
                    <a:lnTo>
                      <a:pt x="87" y="60"/>
                    </a:lnTo>
                    <a:lnTo>
                      <a:pt x="94" y="61"/>
                    </a:lnTo>
                    <a:lnTo>
                      <a:pt x="100" y="60"/>
                    </a:lnTo>
                    <a:lnTo>
                      <a:pt x="102" y="58"/>
                    </a:lnTo>
                    <a:lnTo>
                      <a:pt x="102" y="54"/>
                    </a:lnTo>
                    <a:lnTo>
                      <a:pt x="98" y="50"/>
                    </a:lnTo>
                    <a:lnTo>
                      <a:pt x="102" y="46"/>
                    </a:lnTo>
                    <a:lnTo>
                      <a:pt x="102" y="3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29" name="Freeform 127"/>
              <p:cNvSpPr>
                <a:spLocks noEditPoints="1"/>
              </p:cNvSpPr>
              <p:nvPr/>
            </p:nvSpPr>
            <p:spPr bwMode="gray">
              <a:xfrm>
                <a:off x="4554433" y="4875214"/>
                <a:ext cx="271432" cy="301625"/>
              </a:xfrm>
              <a:custGeom>
                <a:avLst/>
                <a:gdLst>
                  <a:gd name="T0" fmla="*/ 64 w 171"/>
                  <a:gd name="T1" fmla="*/ 188 h 190"/>
                  <a:gd name="T2" fmla="*/ 69 w 171"/>
                  <a:gd name="T3" fmla="*/ 180 h 190"/>
                  <a:gd name="T4" fmla="*/ 73 w 171"/>
                  <a:gd name="T5" fmla="*/ 182 h 190"/>
                  <a:gd name="T6" fmla="*/ 77 w 171"/>
                  <a:gd name="T7" fmla="*/ 188 h 190"/>
                  <a:gd name="T8" fmla="*/ 85 w 171"/>
                  <a:gd name="T9" fmla="*/ 190 h 190"/>
                  <a:gd name="T10" fmla="*/ 91 w 171"/>
                  <a:gd name="T11" fmla="*/ 188 h 190"/>
                  <a:gd name="T12" fmla="*/ 98 w 171"/>
                  <a:gd name="T13" fmla="*/ 182 h 190"/>
                  <a:gd name="T14" fmla="*/ 102 w 171"/>
                  <a:gd name="T15" fmla="*/ 132 h 190"/>
                  <a:gd name="T16" fmla="*/ 116 w 171"/>
                  <a:gd name="T17" fmla="*/ 77 h 190"/>
                  <a:gd name="T18" fmla="*/ 125 w 171"/>
                  <a:gd name="T19" fmla="*/ 25 h 190"/>
                  <a:gd name="T20" fmla="*/ 156 w 171"/>
                  <a:gd name="T21" fmla="*/ 23 h 190"/>
                  <a:gd name="T22" fmla="*/ 162 w 171"/>
                  <a:gd name="T23" fmla="*/ 19 h 190"/>
                  <a:gd name="T24" fmla="*/ 167 w 171"/>
                  <a:gd name="T25" fmla="*/ 15 h 190"/>
                  <a:gd name="T26" fmla="*/ 169 w 171"/>
                  <a:gd name="T27" fmla="*/ 15 h 190"/>
                  <a:gd name="T28" fmla="*/ 164 w 171"/>
                  <a:gd name="T29" fmla="*/ 10 h 190"/>
                  <a:gd name="T30" fmla="*/ 146 w 171"/>
                  <a:gd name="T31" fmla="*/ 13 h 190"/>
                  <a:gd name="T32" fmla="*/ 116 w 171"/>
                  <a:gd name="T33" fmla="*/ 15 h 190"/>
                  <a:gd name="T34" fmla="*/ 108 w 171"/>
                  <a:gd name="T35" fmla="*/ 13 h 190"/>
                  <a:gd name="T36" fmla="*/ 100 w 171"/>
                  <a:gd name="T37" fmla="*/ 13 h 190"/>
                  <a:gd name="T38" fmla="*/ 91 w 171"/>
                  <a:gd name="T39" fmla="*/ 12 h 190"/>
                  <a:gd name="T40" fmla="*/ 85 w 171"/>
                  <a:gd name="T41" fmla="*/ 8 h 190"/>
                  <a:gd name="T42" fmla="*/ 27 w 171"/>
                  <a:gd name="T43" fmla="*/ 4 h 190"/>
                  <a:gd name="T44" fmla="*/ 21 w 171"/>
                  <a:gd name="T45" fmla="*/ 0 h 190"/>
                  <a:gd name="T46" fmla="*/ 14 w 171"/>
                  <a:gd name="T47" fmla="*/ 4 h 190"/>
                  <a:gd name="T48" fmla="*/ 0 w 171"/>
                  <a:gd name="T49" fmla="*/ 4 h 190"/>
                  <a:gd name="T50" fmla="*/ 2 w 171"/>
                  <a:gd name="T51" fmla="*/ 23 h 190"/>
                  <a:gd name="T52" fmla="*/ 18 w 171"/>
                  <a:gd name="T53" fmla="*/ 37 h 190"/>
                  <a:gd name="T54" fmla="*/ 20 w 171"/>
                  <a:gd name="T55" fmla="*/ 58 h 190"/>
                  <a:gd name="T56" fmla="*/ 29 w 171"/>
                  <a:gd name="T57" fmla="*/ 69 h 190"/>
                  <a:gd name="T58" fmla="*/ 29 w 171"/>
                  <a:gd name="T59" fmla="*/ 79 h 190"/>
                  <a:gd name="T60" fmla="*/ 37 w 171"/>
                  <a:gd name="T61" fmla="*/ 86 h 190"/>
                  <a:gd name="T62" fmla="*/ 35 w 171"/>
                  <a:gd name="T63" fmla="*/ 109 h 190"/>
                  <a:gd name="T64" fmla="*/ 41 w 171"/>
                  <a:gd name="T65" fmla="*/ 125 h 190"/>
                  <a:gd name="T66" fmla="*/ 45 w 171"/>
                  <a:gd name="T67" fmla="*/ 169 h 190"/>
                  <a:gd name="T68" fmla="*/ 52 w 171"/>
                  <a:gd name="T69" fmla="*/ 180 h 190"/>
                  <a:gd name="T70" fmla="*/ 58 w 171"/>
                  <a:gd name="T71" fmla="*/ 180 h 190"/>
                  <a:gd name="T72" fmla="*/ 60 w 171"/>
                  <a:gd name="T73" fmla="*/ 190 h 190"/>
                  <a:gd name="T74" fmla="*/ 39 w 171"/>
                  <a:gd name="T75" fmla="*/ 44 h 190"/>
                  <a:gd name="T76" fmla="*/ 37 w 171"/>
                  <a:gd name="T77" fmla="*/ 48 h 190"/>
                  <a:gd name="T78" fmla="*/ 39 w 171"/>
                  <a:gd name="T79" fmla="*/ 4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1" h="190">
                    <a:moveTo>
                      <a:pt x="60" y="190"/>
                    </a:moveTo>
                    <a:lnTo>
                      <a:pt x="64" y="188"/>
                    </a:lnTo>
                    <a:lnTo>
                      <a:pt x="68" y="182"/>
                    </a:lnTo>
                    <a:lnTo>
                      <a:pt x="69" y="180"/>
                    </a:lnTo>
                    <a:lnTo>
                      <a:pt x="73" y="180"/>
                    </a:lnTo>
                    <a:lnTo>
                      <a:pt x="73" y="182"/>
                    </a:lnTo>
                    <a:lnTo>
                      <a:pt x="73" y="186"/>
                    </a:lnTo>
                    <a:lnTo>
                      <a:pt x="77" y="188"/>
                    </a:lnTo>
                    <a:lnTo>
                      <a:pt x="81" y="190"/>
                    </a:lnTo>
                    <a:lnTo>
                      <a:pt x="85" y="190"/>
                    </a:lnTo>
                    <a:lnTo>
                      <a:pt x="87" y="190"/>
                    </a:lnTo>
                    <a:lnTo>
                      <a:pt x="91" y="188"/>
                    </a:lnTo>
                    <a:lnTo>
                      <a:pt x="92" y="184"/>
                    </a:lnTo>
                    <a:lnTo>
                      <a:pt x="98" y="182"/>
                    </a:lnTo>
                    <a:lnTo>
                      <a:pt x="100" y="182"/>
                    </a:lnTo>
                    <a:lnTo>
                      <a:pt x="102" y="132"/>
                    </a:lnTo>
                    <a:lnTo>
                      <a:pt x="102" y="77"/>
                    </a:lnTo>
                    <a:lnTo>
                      <a:pt x="116" y="77"/>
                    </a:lnTo>
                    <a:lnTo>
                      <a:pt x="116" y="25"/>
                    </a:lnTo>
                    <a:lnTo>
                      <a:pt x="125" y="25"/>
                    </a:lnTo>
                    <a:lnTo>
                      <a:pt x="154" y="21"/>
                    </a:lnTo>
                    <a:lnTo>
                      <a:pt x="156" y="23"/>
                    </a:lnTo>
                    <a:lnTo>
                      <a:pt x="158" y="19"/>
                    </a:lnTo>
                    <a:lnTo>
                      <a:pt x="162" y="19"/>
                    </a:lnTo>
                    <a:lnTo>
                      <a:pt x="165" y="19"/>
                    </a:lnTo>
                    <a:lnTo>
                      <a:pt x="167" y="15"/>
                    </a:lnTo>
                    <a:lnTo>
                      <a:pt x="171" y="15"/>
                    </a:lnTo>
                    <a:lnTo>
                      <a:pt x="169" y="15"/>
                    </a:lnTo>
                    <a:lnTo>
                      <a:pt x="167" y="12"/>
                    </a:lnTo>
                    <a:lnTo>
                      <a:pt x="164" y="10"/>
                    </a:lnTo>
                    <a:lnTo>
                      <a:pt x="162" y="12"/>
                    </a:lnTo>
                    <a:lnTo>
                      <a:pt x="146" y="13"/>
                    </a:lnTo>
                    <a:lnTo>
                      <a:pt x="119" y="17"/>
                    </a:lnTo>
                    <a:lnTo>
                      <a:pt x="116" y="15"/>
                    </a:lnTo>
                    <a:lnTo>
                      <a:pt x="110" y="15"/>
                    </a:lnTo>
                    <a:lnTo>
                      <a:pt x="108" y="13"/>
                    </a:lnTo>
                    <a:lnTo>
                      <a:pt x="104" y="15"/>
                    </a:lnTo>
                    <a:lnTo>
                      <a:pt x="100" y="13"/>
                    </a:lnTo>
                    <a:lnTo>
                      <a:pt x="94" y="12"/>
                    </a:lnTo>
                    <a:lnTo>
                      <a:pt x="91" y="12"/>
                    </a:lnTo>
                    <a:lnTo>
                      <a:pt x="89" y="10"/>
                    </a:lnTo>
                    <a:lnTo>
                      <a:pt x="85" y="8"/>
                    </a:lnTo>
                    <a:lnTo>
                      <a:pt x="83" y="4"/>
                    </a:lnTo>
                    <a:lnTo>
                      <a:pt x="27" y="4"/>
                    </a:lnTo>
                    <a:lnTo>
                      <a:pt x="25" y="2"/>
                    </a:lnTo>
                    <a:lnTo>
                      <a:pt x="21" y="0"/>
                    </a:lnTo>
                    <a:lnTo>
                      <a:pt x="18" y="2"/>
                    </a:lnTo>
                    <a:lnTo>
                      <a:pt x="14" y="4"/>
                    </a:lnTo>
                    <a:lnTo>
                      <a:pt x="6" y="4"/>
                    </a:lnTo>
                    <a:lnTo>
                      <a:pt x="0" y="4"/>
                    </a:lnTo>
                    <a:lnTo>
                      <a:pt x="0" y="17"/>
                    </a:lnTo>
                    <a:lnTo>
                      <a:pt x="2" y="23"/>
                    </a:lnTo>
                    <a:lnTo>
                      <a:pt x="6" y="23"/>
                    </a:lnTo>
                    <a:lnTo>
                      <a:pt x="18" y="37"/>
                    </a:lnTo>
                    <a:lnTo>
                      <a:pt x="18" y="48"/>
                    </a:lnTo>
                    <a:lnTo>
                      <a:pt x="20" y="58"/>
                    </a:lnTo>
                    <a:lnTo>
                      <a:pt x="23" y="63"/>
                    </a:lnTo>
                    <a:lnTo>
                      <a:pt x="29" y="69"/>
                    </a:lnTo>
                    <a:lnTo>
                      <a:pt x="29" y="75"/>
                    </a:lnTo>
                    <a:lnTo>
                      <a:pt x="29" y="79"/>
                    </a:lnTo>
                    <a:lnTo>
                      <a:pt x="33" y="83"/>
                    </a:lnTo>
                    <a:lnTo>
                      <a:pt x="37" y="86"/>
                    </a:lnTo>
                    <a:lnTo>
                      <a:pt x="35" y="98"/>
                    </a:lnTo>
                    <a:lnTo>
                      <a:pt x="35" y="109"/>
                    </a:lnTo>
                    <a:lnTo>
                      <a:pt x="37" y="117"/>
                    </a:lnTo>
                    <a:lnTo>
                      <a:pt x="41" y="125"/>
                    </a:lnTo>
                    <a:lnTo>
                      <a:pt x="41" y="148"/>
                    </a:lnTo>
                    <a:lnTo>
                      <a:pt x="45" y="169"/>
                    </a:lnTo>
                    <a:lnTo>
                      <a:pt x="48" y="175"/>
                    </a:lnTo>
                    <a:lnTo>
                      <a:pt x="52" y="180"/>
                    </a:lnTo>
                    <a:lnTo>
                      <a:pt x="54" y="180"/>
                    </a:lnTo>
                    <a:lnTo>
                      <a:pt x="58" y="180"/>
                    </a:lnTo>
                    <a:lnTo>
                      <a:pt x="58" y="186"/>
                    </a:lnTo>
                    <a:lnTo>
                      <a:pt x="60" y="190"/>
                    </a:lnTo>
                    <a:lnTo>
                      <a:pt x="60" y="190"/>
                    </a:lnTo>
                    <a:close/>
                    <a:moveTo>
                      <a:pt x="39" y="44"/>
                    </a:moveTo>
                    <a:lnTo>
                      <a:pt x="39" y="46"/>
                    </a:lnTo>
                    <a:lnTo>
                      <a:pt x="37" y="48"/>
                    </a:lnTo>
                    <a:lnTo>
                      <a:pt x="37" y="46"/>
                    </a:lnTo>
                    <a:lnTo>
                      <a:pt x="39" y="4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0" name="Freeform 128"/>
              <p:cNvSpPr>
                <a:spLocks/>
              </p:cNvSpPr>
              <p:nvPr/>
            </p:nvSpPr>
            <p:spPr bwMode="gray">
              <a:xfrm>
                <a:off x="5256030" y="3416301"/>
                <a:ext cx="20635" cy="23813"/>
              </a:xfrm>
              <a:custGeom>
                <a:avLst/>
                <a:gdLst>
                  <a:gd name="T0" fmla="*/ 9 w 13"/>
                  <a:gd name="T1" fmla="*/ 15 h 15"/>
                  <a:gd name="T2" fmla="*/ 4 w 13"/>
                  <a:gd name="T3" fmla="*/ 9 h 15"/>
                  <a:gd name="T4" fmla="*/ 0 w 13"/>
                  <a:gd name="T5" fmla="*/ 2 h 15"/>
                  <a:gd name="T6" fmla="*/ 6 w 13"/>
                  <a:gd name="T7" fmla="*/ 0 h 15"/>
                  <a:gd name="T8" fmla="*/ 7 w 13"/>
                  <a:gd name="T9" fmla="*/ 4 h 15"/>
                  <a:gd name="T10" fmla="*/ 6 w 13"/>
                  <a:gd name="T11" fmla="*/ 4 h 15"/>
                  <a:gd name="T12" fmla="*/ 7 w 13"/>
                  <a:gd name="T13" fmla="*/ 9 h 15"/>
                  <a:gd name="T14" fmla="*/ 11 w 13"/>
                  <a:gd name="T15" fmla="*/ 9 h 15"/>
                  <a:gd name="T16" fmla="*/ 13 w 13"/>
                  <a:gd name="T17" fmla="*/ 13 h 15"/>
                  <a:gd name="T18" fmla="*/ 11 w 13"/>
                  <a:gd name="T19" fmla="*/ 15 h 15"/>
                  <a:gd name="T20" fmla="*/ 9 w 13"/>
                  <a:gd name="T2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15">
                    <a:moveTo>
                      <a:pt x="9" y="15"/>
                    </a:moveTo>
                    <a:lnTo>
                      <a:pt x="4" y="9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7" y="9"/>
                    </a:lnTo>
                    <a:lnTo>
                      <a:pt x="11" y="9"/>
                    </a:lnTo>
                    <a:lnTo>
                      <a:pt x="13" y="13"/>
                    </a:lnTo>
                    <a:lnTo>
                      <a:pt x="11" y="15"/>
                    </a:lnTo>
                    <a:lnTo>
                      <a:pt x="9" y="1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1" name="Freeform 129"/>
              <p:cNvSpPr>
                <a:spLocks/>
              </p:cNvSpPr>
              <p:nvPr/>
            </p:nvSpPr>
            <p:spPr bwMode="gray">
              <a:xfrm>
                <a:off x="4924280" y="4732339"/>
                <a:ext cx="203177" cy="387350"/>
              </a:xfrm>
              <a:custGeom>
                <a:avLst/>
                <a:gdLst>
                  <a:gd name="T0" fmla="*/ 57 w 128"/>
                  <a:gd name="T1" fmla="*/ 48 h 244"/>
                  <a:gd name="T2" fmla="*/ 69 w 128"/>
                  <a:gd name="T3" fmla="*/ 57 h 244"/>
                  <a:gd name="T4" fmla="*/ 69 w 128"/>
                  <a:gd name="T5" fmla="*/ 71 h 244"/>
                  <a:gd name="T6" fmla="*/ 63 w 128"/>
                  <a:gd name="T7" fmla="*/ 75 h 244"/>
                  <a:gd name="T8" fmla="*/ 63 w 128"/>
                  <a:gd name="T9" fmla="*/ 84 h 244"/>
                  <a:gd name="T10" fmla="*/ 57 w 128"/>
                  <a:gd name="T11" fmla="*/ 88 h 244"/>
                  <a:gd name="T12" fmla="*/ 53 w 128"/>
                  <a:gd name="T13" fmla="*/ 84 h 244"/>
                  <a:gd name="T14" fmla="*/ 44 w 128"/>
                  <a:gd name="T15" fmla="*/ 73 h 244"/>
                  <a:gd name="T16" fmla="*/ 48 w 128"/>
                  <a:gd name="T17" fmla="*/ 61 h 244"/>
                  <a:gd name="T18" fmla="*/ 42 w 128"/>
                  <a:gd name="T19" fmla="*/ 56 h 244"/>
                  <a:gd name="T20" fmla="*/ 34 w 128"/>
                  <a:gd name="T21" fmla="*/ 54 h 244"/>
                  <a:gd name="T22" fmla="*/ 0 w 128"/>
                  <a:gd name="T23" fmla="*/ 57 h 244"/>
                  <a:gd name="T24" fmla="*/ 3 w 128"/>
                  <a:gd name="T25" fmla="*/ 75 h 244"/>
                  <a:gd name="T26" fmla="*/ 11 w 128"/>
                  <a:gd name="T27" fmla="*/ 77 h 244"/>
                  <a:gd name="T28" fmla="*/ 23 w 128"/>
                  <a:gd name="T29" fmla="*/ 82 h 244"/>
                  <a:gd name="T30" fmla="*/ 32 w 128"/>
                  <a:gd name="T31" fmla="*/ 90 h 244"/>
                  <a:gd name="T32" fmla="*/ 28 w 128"/>
                  <a:gd name="T33" fmla="*/ 100 h 244"/>
                  <a:gd name="T34" fmla="*/ 32 w 128"/>
                  <a:gd name="T35" fmla="*/ 113 h 244"/>
                  <a:gd name="T36" fmla="*/ 30 w 128"/>
                  <a:gd name="T37" fmla="*/ 121 h 244"/>
                  <a:gd name="T38" fmla="*/ 30 w 128"/>
                  <a:gd name="T39" fmla="*/ 128 h 244"/>
                  <a:gd name="T40" fmla="*/ 28 w 128"/>
                  <a:gd name="T41" fmla="*/ 140 h 244"/>
                  <a:gd name="T42" fmla="*/ 28 w 128"/>
                  <a:gd name="T43" fmla="*/ 153 h 244"/>
                  <a:gd name="T44" fmla="*/ 32 w 128"/>
                  <a:gd name="T45" fmla="*/ 155 h 244"/>
                  <a:gd name="T46" fmla="*/ 17 w 128"/>
                  <a:gd name="T47" fmla="*/ 176 h 244"/>
                  <a:gd name="T48" fmla="*/ 15 w 128"/>
                  <a:gd name="T49" fmla="*/ 196 h 244"/>
                  <a:gd name="T50" fmla="*/ 17 w 128"/>
                  <a:gd name="T51" fmla="*/ 217 h 244"/>
                  <a:gd name="T52" fmla="*/ 19 w 128"/>
                  <a:gd name="T53" fmla="*/ 226 h 244"/>
                  <a:gd name="T54" fmla="*/ 25 w 128"/>
                  <a:gd name="T55" fmla="*/ 234 h 244"/>
                  <a:gd name="T56" fmla="*/ 30 w 128"/>
                  <a:gd name="T57" fmla="*/ 244 h 244"/>
                  <a:gd name="T58" fmla="*/ 26 w 128"/>
                  <a:gd name="T59" fmla="*/ 238 h 244"/>
                  <a:gd name="T60" fmla="*/ 46 w 128"/>
                  <a:gd name="T61" fmla="*/ 221 h 244"/>
                  <a:gd name="T62" fmla="*/ 61 w 128"/>
                  <a:gd name="T63" fmla="*/ 213 h 244"/>
                  <a:gd name="T64" fmla="*/ 61 w 128"/>
                  <a:gd name="T65" fmla="*/ 186 h 244"/>
                  <a:gd name="T66" fmla="*/ 53 w 128"/>
                  <a:gd name="T67" fmla="*/ 153 h 244"/>
                  <a:gd name="T68" fmla="*/ 53 w 128"/>
                  <a:gd name="T69" fmla="*/ 136 h 244"/>
                  <a:gd name="T70" fmla="*/ 61 w 128"/>
                  <a:gd name="T71" fmla="*/ 130 h 244"/>
                  <a:gd name="T72" fmla="*/ 69 w 128"/>
                  <a:gd name="T73" fmla="*/ 117 h 244"/>
                  <a:gd name="T74" fmla="*/ 84 w 128"/>
                  <a:gd name="T75" fmla="*/ 107 h 244"/>
                  <a:gd name="T76" fmla="*/ 97 w 128"/>
                  <a:gd name="T77" fmla="*/ 100 h 244"/>
                  <a:gd name="T78" fmla="*/ 117 w 128"/>
                  <a:gd name="T79" fmla="*/ 84 h 244"/>
                  <a:gd name="T80" fmla="*/ 124 w 128"/>
                  <a:gd name="T81" fmla="*/ 61 h 244"/>
                  <a:gd name="T82" fmla="*/ 128 w 128"/>
                  <a:gd name="T83" fmla="*/ 32 h 244"/>
                  <a:gd name="T84" fmla="*/ 124 w 128"/>
                  <a:gd name="T85" fmla="*/ 4 h 244"/>
                  <a:gd name="T86" fmla="*/ 117 w 128"/>
                  <a:gd name="T87" fmla="*/ 2 h 244"/>
                  <a:gd name="T88" fmla="*/ 103 w 128"/>
                  <a:gd name="T89" fmla="*/ 6 h 244"/>
                  <a:gd name="T90" fmla="*/ 96 w 128"/>
                  <a:gd name="T91" fmla="*/ 8 h 244"/>
                  <a:gd name="T92" fmla="*/ 86 w 128"/>
                  <a:gd name="T93" fmla="*/ 13 h 244"/>
                  <a:gd name="T94" fmla="*/ 73 w 128"/>
                  <a:gd name="T95" fmla="*/ 15 h 244"/>
                  <a:gd name="T96" fmla="*/ 65 w 128"/>
                  <a:gd name="T97" fmla="*/ 9 h 244"/>
                  <a:gd name="T98" fmla="*/ 51 w 128"/>
                  <a:gd name="T99" fmla="*/ 13 h 244"/>
                  <a:gd name="T100" fmla="*/ 55 w 128"/>
                  <a:gd name="T101" fmla="*/ 25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8" h="244">
                    <a:moveTo>
                      <a:pt x="57" y="46"/>
                    </a:moveTo>
                    <a:lnTo>
                      <a:pt x="57" y="46"/>
                    </a:lnTo>
                    <a:lnTo>
                      <a:pt x="57" y="48"/>
                    </a:lnTo>
                    <a:lnTo>
                      <a:pt x="61" y="52"/>
                    </a:lnTo>
                    <a:lnTo>
                      <a:pt x="65" y="54"/>
                    </a:lnTo>
                    <a:lnTo>
                      <a:pt x="69" y="57"/>
                    </a:lnTo>
                    <a:lnTo>
                      <a:pt x="69" y="63"/>
                    </a:lnTo>
                    <a:lnTo>
                      <a:pt x="69" y="67"/>
                    </a:lnTo>
                    <a:lnTo>
                      <a:pt x="69" y="71"/>
                    </a:lnTo>
                    <a:lnTo>
                      <a:pt x="69" y="73"/>
                    </a:lnTo>
                    <a:lnTo>
                      <a:pt x="67" y="75"/>
                    </a:lnTo>
                    <a:lnTo>
                      <a:pt x="63" y="75"/>
                    </a:lnTo>
                    <a:lnTo>
                      <a:pt x="61" y="73"/>
                    </a:lnTo>
                    <a:lnTo>
                      <a:pt x="61" y="79"/>
                    </a:lnTo>
                    <a:lnTo>
                      <a:pt x="63" y="84"/>
                    </a:lnTo>
                    <a:lnTo>
                      <a:pt x="63" y="88"/>
                    </a:lnTo>
                    <a:lnTo>
                      <a:pt x="59" y="92"/>
                    </a:lnTo>
                    <a:lnTo>
                      <a:pt x="57" y="88"/>
                    </a:lnTo>
                    <a:lnTo>
                      <a:pt x="57" y="86"/>
                    </a:lnTo>
                    <a:lnTo>
                      <a:pt x="57" y="86"/>
                    </a:lnTo>
                    <a:lnTo>
                      <a:pt x="53" y="84"/>
                    </a:lnTo>
                    <a:lnTo>
                      <a:pt x="49" y="80"/>
                    </a:lnTo>
                    <a:lnTo>
                      <a:pt x="46" y="77"/>
                    </a:lnTo>
                    <a:lnTo>
                      <a:pt x="44" y="73"/>
                    </a:lnTo>
                    <a:lnTo>
                      <a:pt x="46" y="71"/>
                    </a:lnTo>
                    <a:lnTo>
                      <a:pt x="48" y="65"/>
                    </a:lnTo>
                    <a:lnTo>
                      <a:pt x="48" y="61"/>
                    </a:lnTo>
                    <a:lnTo>
                      <a:pt x="46" y="57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36" y="57"/>
                    </a:lnTo>
                    <a:lnTo>
                      <a:pt x="34" y="57"/>
                    </a:lnTo>
                    <a:lnTo>
                      <a:pt x="34" y="54"/>
                    </a:lnTo>
                    <a:lnTo>
                      <a:pt x="32" y="50"/>
                    </a:lnTo>
                    <a:lnTo>
                      <a:pt x="28" y="48"/>
                    </a:lnTo>
                    <a:lnTo>
                      <a:pt x="0" y="57"/>
                    </a:lnTo>
                    <a:lnTo>
                      <a:pt x="3" y="61"/>
                    </a:lnTo>
                    <a:lnTo>
                      <a:pt x="3" y="65"/>
                    </a:lnTo>
                    <a:lnTo>
                      <a:pt x="3" y="75"/>
                    </a:lnTo>
                    <a:lnTo>
                      <a:pt x="5" y="75"/>
                    </a:lnTo>
                    <a:lnTo>
                      <a:pt x="9" y="75"/>
                    </a:lnTo>
                    <a:lnTo>
                      <a:pt x="11" y="77"/>
                    </a:lnTo>
                    <a:lnTo>
                      <a:pt x="15" y="79"/>
                    </a:lnTo>
                    <a:lnTo>
                      <a:pt x="19" y="80"/>
                    </a:lnTo>
                    <a:lnTo>
                      <a:pt x="23" y="82"/>
                    </a:lnTo>
                    <a:lnTo>
                      <a:pt x="26" y="84"/>
                    </a:lnTo>
                    <a:lnTo>
                      <a:pt x="30" y="86"/>
                    </a:lnTo>
                    <a:lnTo>
                      <a:pt x="32" y="90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100"/>
                    </a:lnTo>
                    <a:lnTo>
                      <a:pt x="28" y="103"/>
                    </a:lnTo>
                    <a:lnTo>
                      <a:pt x="30" y="109"/>
                    </a:lnTo>
                    <a:lnTo>
                      <a:pt x="32" y="113"/>
                    </a:lnTo>
                    <a:lnTo>
                      <a:pt x="34" y="115"/>
                    </a:lnTo>
                    <a:lnTo>
                      <a:pt x="34" y="117"/>
                    </a:lnTo>
                    <a:lnTo>
                      <a:pt x="30" y="121"/>
                    </a:lnTo>
                    <a:lnTo>
                      <a:pt x="28" y="123"/>
                    </a:lnTo>
                    <a:lnTo>
                      <a:pt x="28" y="127"/>
                    </a:lnTo>
                    <a:lnTo>
                      <a:pt x="30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28" y="140"/>
                    </a:lnTo>
                    <a:lnTo>
                      <a:pt x="30" y="144"/>
                    </a:lnTo>
                    <a:lnTo>
                      <a:pt x="30" y="150"/>
                    </a:lnTo>
                    <a:lnTo>
                      <a:pt x="28" y="153"/>
                    </a:lnTo>
                    <a:lnTo>
                      <a:pt x="28" y="153"/>
                    </a:lnTo>
                    <a:lnTo>
                      <a:pt x="32" y="155"/>
                    </a:lnTo>
                    <a:lnTo>
                      <a:pt x="32" y="155"/>
                    </a:lnTo>
                    <a:lnTo>
                      <a:pt x="28" y="161"/>
                    </a:lnTo>
                    <a:lnTo>
                      <a:pt x="26" y="165"/>
                    </a:lnTo>
                    <a:lnTo>
                      <a:pt x="17" y="176"/>
                    </a:lnTo>
                    <a:lnTo>
                      <a:pt x="17" y="182"/>
                    </a:lnTo>
                    <a:lnTo>
                      <a:pt x="17" y="190"/>
                    </a:lnTo>
                    <a:lnTo>
                      <a:pt x="15" y="196"/>
                    </a:lnTo>
                    <a:lnTo>
                      <a:pt x="17" y="203"/>
                    </a:lnTo>
                    <a:lnTo>
                      <a:pt x="17" y="211"/>
                    </a:lnTo>
                    <a:lnTo>
                      <a:pt x="17" y="217"/>
                    </a:lnTo>
                    <a:lnTo>
                      <a:pt x="15" y="221"/>
                    </a:lnTo>
                    <a:lnTo>
                      <a:pt x="17" y="224"/>
                    </a:lnTo>
                    <a:lnTo>
                      <a:pt x="19" y="226"/>
                    </a:lnTo>
                    <a:lnTo>
                      <a:pt x="19" y="228"/>
                    </a:lnTo>
                    <a:lnTo>
                      <a:pt x="21" y="230"/>
                    </a:lnTo>
                    <a:lnTo>
                      <a:pt x="25" y="234"/>
                    </a:lnTo>
                    <a:lnTo>
                      <a:pt x="23" y="240"/>
                    </a:lnTo>
                    <a:lnTo>
                      <a:pt x="23" y="244"/>
                    </a:lnTo>
                    <a:lnTo>
                      <a:pt x="30" y="244"/>
                    </a:lnTo>
                    <a:lnTo>
                      <a:pt x="30" y="240"/>
                    </a:lnTo>
                    <a:lnTo>
                      <a:pt x="30" y="240"/>
                    </a:lnTo>
                    <a:lnTo>
                      <a:pt x="26" y="238"/>
                    </a:lnTo>
                    <a:lnTo>
                      <a:pt x="25" y="234"/>
                    </a:lnTo>
                    <a:lnTo>
                      <a:pt x="34" y="226"/>
                    </a:lnTo>
                    <a:lnTo>
                      <a:pt x="46" y="221"/>
                    </a:lnTo>
                    <a:lnTo>
                      <a:pt x="53" y="219"/>
                    </a:lnTo>
                    <a:lnTo>
                      <a:pt x="59" y="217"/>
                    </a:lnTo>
                    <a:lnTo>
                      <a:pt x="61" y="213"/>
                    </a:lnTo>
                    <a:lnTo>
                      <a:pt x="63" y="205"/>
                    </a:lnTo>
                    <a:lnTo>
                      <a:pt x="63" y="196"/>
                    </a:lnTo>
                    <a:lnTo>
                      <a:pt x="61" y="186"/>
                    </a:lnTo>
                    <a:lnTo>
                      <a:pt x="59" y="167"/>
                    </a:lnTo>
                    <a:lnTo>
                      <a:pt x="57" y="153"/>
                    </a:lnTo>
                    <a:lnTo>
                      <a:pt x="53" y="153"/>
                    </a:lnTo>
                    <a:lnTo>
                      <a:pt x="51" y="146"/>
                    </a:lnTo>
                    <a:lnTo>
                      <a:pt x="53" y="140"/>
                    </a:lnTo>
                    <a:lnTo>
                      <a:pt x="53" y="136"/>
                    </a:lnTo>
                    <a:lnTo>
                      <a:pt x="55" y="136"/>
                    </a:lnTo>
                    <a:lnTo>
                      <a:pt x="59" y="134"/>
                    </a:lnTo>
                    <a:lnTo>
                      <a:pt x="61" y="130"/>
                    </a:lnTo>
                    <a:lnTo>
                      <a:pt x="63" y="125"/>
                    </a:lnTo>
                    <a:lnTo>
                      <a:pt x="67" y="125"/>
                    </a:lnTo>
                    <a:lnTo>
                      <a:pt x="69" y="117"/>
                    </a:lnTo>
                    <a:lnTo>
                      <a:pt x="71" y="109"/>
                    </a:lnTo>
                    <a:lnTo>
                      <a:pt x="76" y="107"/>
                    </a:lnTo>
                    <a:lnTo>
                      <a:pt x="84" y="107"/>
                    </a:lnTo>
                    <a:lnTo>
                      <a:pt x="88" y="103"/>
                    </a:lnTo>
                    <a:lnTo>
                      <a:pt x="92" y="100"/>
                    </a:lnTo>
                    <a:lnTo>
                      <a:pt x="97" y="100"/>
                    </a:lnTo>
                    <a:lnTo>
                      <a:pt x="103" y="98"/>
                    </a:lnTo>
                    <a:lnTo>
                      <a:pt x="109" y="94"/>
                    </a:lnTo>
                    <a:lnTo>
                      <a:pt x="117" y="84"/>
                    </a:lnTo>
                    <a:lnTo>
                      <a:pt x="122" y="75"/>
                    </a:lnTo>
                    <a:lnTo>
                      <a:pt x="126" y="67"/>
                    </a:lnTo>
                    <a:lnTo>
                      <a:pt x="124" y="61"/>
                    </a:lnTo>
                    <a:lnTo>
                      <a:pt x="124" y="54"/>
                    </a:lnTo>
                    <a:lnTo>
                      <a:pt x="126" y="42"/>
                    </a:lnTo>
                    <a:lnTo>
                      <a:pt x="128" y="32"/>
                    </a:lnTo>
                    <a:lnTo>
                      <a:pt x="126" y="21"/>
                    </a:lnTo>
                    <a:lnTo>
                      <a:pt x="124" y="8"/>
                    </a:lnTo>
                    <a:lnTo>
                      <a:pt x="124" y="4"/>
                    </a:lnTo>
                    <a:lnTo>
                      <a:pt x="124" y="0"/>
                    </a:lnTo>
                    <a:lnTo>
                      <a:pt x="122" y="0"/>
                    </a:lnTo>
                    <a:lnTo>
                      <a:pt x="117" y="2"/>
                    </a:lnTo>
                    <a:lnTo>
                      <a:pt x="113" y="4"/>
                    </a:lnTo>
                    <a:lnTo>
                      <a:pt x="107" y="4"/>
                    </a:lnTo>
                    <a:lnTo>
                      <a:pt x="103" y="6"/>
                    </a:lnTo>
                    <a:lnTo>
                      <a:pt x="101" y="8"/>
                    </a:lnTo>
                    <a:lnTo>
                      <a:pt x="97" y="9"/>
                    </a:lnTo>
                    <a:lnTo>
                      <a:pt x="96" y="8"/>
                    </a:lnTo>
                    <a:lnTo>
                      <a:pt x="94" y="9"/>
                    </a:lnTo>
                    <a:lnTo>
                      <a:pt x="92" y="11"/>
                    </a:lnTo>
                    <a:lnTo>
                      <a:pt x="86" y="13"/>
                    </a:lnTo>
                    <a:lnTo>
                      <a:pt x="82" y="13"/>
                    </a:lnTo>
                    <a:lnTo>
                      <a:pt x="78" y="13"/>
                    </a:lnTo>
                    <a:lnTo>
                      <a:pt x="73" y="15"/>
                    </a:lnTo>
                    <a:lnTo>
                      <a:pt x="69" y="13"/>
                    </a:lnTo>
                    <a:lnTo>
                      <a:pt x="67" y="9"/>
                    </a:lnTo>
                    <a:lnTo>
                      <a:pt x="65" y="9"/>
                    </a:lnTo>
                    <a:lnTo>
                      <a:pt x="61" y="11"/>
                    </a:lnTo>
                    <a:lnTo>
                      <a:pt x="57" y="13"/>
                    </a:lnTo>
                    <a:lnTo>
                      <a:pt x="51" y="13"/>
                    </a:lnTo>
                    <a:lnTo>
                      <a:pt x="51" y="17"/>
                    </a:lnTo>
                    <a:lnTo>
                      <a:pt x="51" y="21"/>
                    </a:lnTo>
                    <a:lnTo>
                      <a:pt x="55" y="25"/>
                    </a:lnTo>
                    <a:lnTo>
                      <a:pt x="55" y="34"/>
                    </a:lnTo>
                    <a:lnTo>
                      <a:pt x="57" y="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2" name="Freeform 130"/>
              <p:cNvSpPr>
                <a:spLocks/>
              </p:cNvSpPr>
              <p:nvPr/>
            </p:nvSpPr>
            <p:spPr bwMode="gray">
              <a:xfrm>
                <a:off x="4086173" y="3549651"/>
                <a:ext cx="215876" cy="217488"/>
              </a:xfrm>
              <a:custGeom>
                <a:avLst/>
                <a:gdLst>
                  <a:gd name="T0" fmla="*/ 52 w 136"/>
                  <a:gd name="T1" fmla="*/ 137 h 137"/>
                  <a:gd name="T2" fmla="*/ 52 w 136"/>
                  <a:gd name="T3" fmla="*/ 121 h 137"/>
                  <a:gd name="T4" fmla="*/ 57 w 136"/>
                  <a:gd name="T5" fmla="*/ 115 h 137"/>
                  <a:gd name="T6" fmla="*/ 65 w 136"/>
                  <a:gd name="T7" fmla="*/ 110 h 137"/>
                  <a:gd name="T8" fmla="*/ 79 w 136"/>
                  <a:gd name="T9" fmla="*/ 106 h 137"/>
                  <a:gd name="T10" fmla="*/ 88 w 136"/>
                  <a:gd name="T11" fmla="*/ 98 h 137"/>
                  <a:gd name="T12" fmla="*/ 96 w 136"/>
                  <a:gd name="T13" fmla="*/ 96 h 137"/>
                  <a:gd name="T14" fmla="*/ 107 w 136"/>
                  <a:gd name="T15" fmla="*/ 85 h 137"/>
                  <a:gd name="T16" fmla="*/ 113 w 136"/>
                  <a:gd name="T17" fmla="*/ 79 h 137"/>
                  <a:gd name="T18" fmla="*/ 121 w 136"/>
                  <a:gd name="T19" fmla="*/ 73 h 137"/>
                  <a:gd name="T20" fmla="*/ 123 w 136"/>
                  <a:gd name="T21" fmla="*/ 66 h 137"/>
                  <a:gd name="T22" fmla="*/ 130 w 136"/>
                  <a:gd name="T23" fmla="*/ 56 h 137"/>
                  <a:gd name="T24" fmla="*/ 136 w 136"/>
                  <a:gd name="T25" fmla="*/ 50 h 137"/>
                  <a:gd name="T26" fmla="*/ 130 w 136"/>
                  <a:gd name="T27" fmla="*/ 43 h 137"/>
                  <a:gd name="T28" fmla="*/ 128 w 136"/>
                  <a:gd name="T29" fmla="*/ 33 h 137"/>
                  <a:gd name="T30" fmla="*/ 128 w 136"/>
                  <a:gd name="T31" fmla="*/ 23 h 137"/>
                  <a:gd name="T32" fmla="*/ 128 w 136"/>
                  <a:gd name="T33" fmla="*/ 14 h 137"/>
                  <a:gd name="T34" fmla="*/ 121 w 136"/>
                  <a:gd name="T35" fmla="*/ 10 h 137"/>
                  <a:gd name="T36" fmla="*/ 115 w 136"/>
                  <a:gd name="T37" fmla="*/ 8 h 137"/>
                  <a:gd name="T38" fmla="*/ 103 w 136"/>
                  <a:gd name="T39" fmla="*/ 12 h 137"/>
                  <a:gd name="T40" fmla="*/ 90 w 136"/>
                  <a:gd name="T41" fmla="*/ 6 h 137"/>
                  <a:gd name="T42" fmla="*/ 80 w 136"/>
                  <a:gd name="T43" fmla="*/ 2 h 137"/>
                  <a:gd name="T44" fmla="*/ 73 w 136"/>
                  <a:gd name="T45" fmla="*/ 18 h 137"/>
                  <a:gd name="T46" fmla="*/ 59 w 136"/>
                  <a:gd name="T47" fmla="*/ 39 h 137"/>
                  <a:gd name="T48" fmla="*/ 50 w 136"/>
                  <a:gd name="T49" fmla="*/ 43 h 137"/>
                  <a:gd name="T50" fmla="*/ 40 w 136"/>
                  <a:gd name="T51" fmla="*/ 50 h 137"/>
                  <a:gd name="T52" fmla="*/ 34 w 136"/>
                  <a:gd name="T53" fmla="*/ 60 h 137"/>
                  <a:gd name="T54" fmla="*/ 32 w 136"/>
                  <a:gd name="T55" fmla="*/ 69 h 137"/>
                  <a:gd name="T56" fmla="*/ 31 w 136"/>
                  <a:gd name="T57" fmla="*/ 83 h 137"/>
                  <a:gd name="T58" fmla="*/ 32 w 136"/>
                  <a:gd name="T59" fmla="*/ 98 h 137"/>
                  <a:gd name="T60" fmla="*/ 27 w 136"/>
                  <a:gd name="T61" fmla="*/ 114 h 137"/>
                  <a:gd name="T62" fmla="*/ 11 w 136"/>
                  <a:gd name="T63" fmla="*/ 127 h 137"/>
                  <a:gd name="T64" fmla="*/ 0 w 136"/>
                  <a:gd name="T65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6" h="137">
                    <a:moveTo>
                      <a:pt x="0" y="137"/>
                    </a:moveTo>
                    <a:lnTo>
                      <a:pt x="52" y="137"/>
                    </a:lnTo>
                    <a:lnTo>
                      <a:pt x="52" y="123"/>
                    </a:lnTo>
                    <a:lnTo>
                      <a:pt x="52" y="121"/>
                    </a:lnTo>
                    <a:lnTo>
                      <a:pt x="55" y="119"/>
                    </a:lnTo>
                    <a:lnTo>
                      <a:pt x="57" y="115"/>
                    </a:lnTo>
                    <a:lnTo>
                      <a:pt x="61" y="112"/>
                    </a:lnTo>
                    <a:lnTo>
                      <a:pt x="65" y="110"/>
                    </a:lnTo>
                    <a:lnTo>
                      <a:pt x="71" y="108"/>
                    </a:lnTo>
                    <a:lnTo>
                      <a:pt x="79" y="106"/>
                    </a:lnTo>
                    <a:lnTo>
                      <a:pt x="84" y="102"/>
                    </a:lnTo>
                    <a:lnTo>
                      <a:pt x="88" y="98"/>
                    </a:lnTo>
                    <a:lnTo>
                      <a:pt x="92" y="98"/>
                    </a:lnTo>
                    <a:lnTo>
                      <a:pt x="96" y="96"/>
                    </a:lnTo>
                    <a:lnTo>
                      <a:pt x="100" y="94"/>
                    </a:lnTo>
                    <a:lnTo>
                      <a:pt x="107" y="85"/>
                    </a:lnTo>
                    <a:lnTo>
                      <a:pt x="109" y="79"/>
                    </a:lnTo>
                    <a:lnTo>
                      <a:pt x="113" y="79"/>
                    </a:lnTo>
                    <a:lnTo>
                      <a:pt x="117" y="77"/>
                    </a:lnTo>
                    <a:lnTo>
                      <a:pt x="121" y="73"/>
                    </a:lnTo>
                    <a:lnTo>
                      <a:pt x="121" y="69"/>
                    </a:lnTo>
                    <a:lnTo>
                      <a:pt x="123" y="66"/>
                    </a:lnTo>
                    <a:lnTo>
                      <a:pt x="126" y="62"/>
                    </a:lnTo>
                    <a:lnTo>
                      <a:pt x="130" y="56"/>
                    </a:lnTo>
                    <a:lnTo>
                      <a:pt x="136" y="54"/>
                    </a:lnTo>
                    <a:lnTo>
                      <a:pt x="136" y="50"/>
                    </a:lnTo>
                    <a:lnTo>
                      <a:pt x="132" y="46"/>
                    </a:lnTo>
                    <a:lnTo>
                      <a:pt x="130" y="43"/>
                    </a:lnTo>
                    <a:lnTo>
                      <a:pt x="130" y="37"/>
                    </a:lnTo>
                    <a:lnTo>
                      <a:pt x="128" y="33"/>
                    </a:lnTo>
                    <a:lnTo>
                      <a:pt x="126" y="29"/>
                    </a:lnTo>
                    <a:lnTo>
                      <a:pt x="128" y="23"/>
                    </a:lnTo>
                    <a:lnTo>
                      <a:pt x="128" y="19"/>
                    </a:lnTo>
                    <a:lnTo>
                      <a:pt x="128" y="14"/>
                    </a:lnTo>
                    <a:lnTo>
                      <a:pt x="126" y="12"/>
                    </a:lnTo>
                    <a:lnTo>
                      <a:pt x="121" y="10"/>
                    </a:lnTo>
                    <a:lnTo>
                      <a:pt x="119" y="6"/>
                    </a:lnTo>
                    <a:lnTo>
                      <a:pt x="115" y="8"/>
                    </a:lnTo>
                    <a:lnTo>
                      <a:pt x="115" y="10"/>
                    </a:lnTo>
                    <a:lnTo>
                      <a:pt x="103" y="12"/>
                    </a:lnTo>
                    <a:lnTo>
                      <a:pt x="94" y="12"/>
                    </a:lnTo>
                    <a:lnTo>
                      <a:pt x="90" y="6"/>
                    </a:lnTo>
                    <a:lnTo>
                      <a:pt x="86" y="0"/>
                    </a:lnTo>
                    <a:lnTo>
                      <a:pt x="80" y="2"/>
                    </a:lnTo>
                    <a:lnTo>
                      <a:pt x="79" y="2"/>
                    </a:lnTo>
                    <a:lnTo>
                      <a:pt x="73" y="18"/>
                    </a:lnTo>
                    <a:lnTo>
                      <a:pt x="67" y="33"/>
                    </a:lnTo>
                    <a:lnTo>
                      <a:pt x="59" y="39"/>
                    </a:lnTo>
                    <a:lnTo>
                      <a:pt x="54" y="43"/>
                    </a:lnTo>
                    <a:lnTo>
                      <a:pt x="50" y="43"/>
                    </a:lnTo>
                    <a:lnTo>
                      <a:pt x="46" y="43"/>
                    </a:lnTo>
                    <a:lnTo>
                      <a:pt x="40" y="50"/>
                    </a:lnTo>
                    <a:lnTo>
                      <a:pt x="34" y="58"/>
                    </a:lnTo>
                    <a:lnTo>
                      <a:pt x="34" y="60"/>
                    </a:lnTo>
                    <a:lnTo>
                      <a:pt x="36" y="64"/>
                    </a:lnTo>
                    <a:lnTo>
                      <a:pt x="32" y="69"/>
                    </a:lnTo>
                    <a:lnTo>
                      <a:pt x="29" y="77"/>
                    </a:lnTo>
                    <a:lnTo>
                      <a:pt x="31" y="83"/>
                    </a:lnTo>
                    <a:lnTo>
                      <a:pt x="32" y="89"/>
                    </a:lnTo>
                    <a:lnTo>
                      <a:pt x="32" y="98"/>
                    </a:lnTo>
                    <a:lnTo>
                      <a:pt x="31" y="106"/>
                    </a:lnTo>
                    <a:lnTo>
                      <a:pt x="27" y="114"/>
                    </a:lnTo>
                    <a:lnTo>
                      <a:pt x="23" y="119"/>
                    </a:lnTo>
                    <a:lnTo>
                      <a:pt x="11" y="127"/>
                    </a:lnTo>
                    <a:lnTo>
                      <a:pt x="2" y="135"/>
                    </a:lnTo>
                    <a:lnTo>
                      <a:pt x="0" y="137"/>
                    </a:lnTo>
                    <a:lnTo>
                      <a:pt x="0" y="13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3" name="Freeform 131"/>
              <p:cNvSpPr>
                <a:spLocks noEditPoints="1"/>
              </p:cNvSpPr>
              <p:nvPr/>
            </p:nvSpPr>
            <p:spPr bwMode="gray">
              <a:xfrm>
                <a:off x="6078264" y="3087689"/>
                <a:ext cx="620643" cy="303213"/>
              </a:xfrm>
              <a:custGeom>
                <a:avLst/>
                <a:gdLst>
                  <a:gd name="T0" fmla="*/ 61 w 391"/>
                  <a:gd name="T1" fmla="*/ 30 h 191"/>
                  <a:gd name="T2" fmla="*/ 82 w 391"/>
                  <a:gd name="T3" fmla="*/ 36 h 191"/>
                  <a:gd name="T4" fmla="*/ 109 w 391"/>
                  <a:gd name="T5" fmla="*/ 36 h 191"/>
                  <a:gd name="T6" fmla="*/ 121 w 391"/>
                  <a:gd name="T7" fmla="*/ 25 h 191"/>
                  <a:gd name="T8" fmla="*/ 115 w 391"/>
                  <a:gd name="T9" fmla="*/ 9 h 191"/>
                  <a:gd name="T10" fmla="*/ 130 w 391"/>
                  <a:gd name="T11" fmla="*/ 2 h 191"/>
                  <a:gd name="T12" fmla="*/ 148 w 391"/>
                  <a:gd name="T13" fmla="*/ 7 h 191"/>
                  <a:gd name="T14" fmla="*/ 177 w 391"/>
                  <a:gd name="T15" fmla="*/ 25 h 191"/>
                  <a:gd name="T16" fmla="*/ 192 w 391"/>
                  <a:gd name="T17" fmla="*/ 42 h 191"/>
                  <a:gd name="T18" fmla="*/ 211 w 391"/>
                  <a:gd name="T19" fmla="*/ 38 h 191"/>
                  <a:gd name="T20" fmla="*/ 234 w 391"/>
                  <a:gd name="T21" fmla="*/ 40 h 191"/>
                  <a:gd name="T22" fmla="*/ 244 w 391"/>
                  <a:gd name="T23" fmla="*/ 49 h 191"/>
                  <a:gd name="T24" fmla="*/ 261 w 391"/>
                  <a:gd name="T25" fmla="*/ 53 h 191"/>
                  <a:gd name="T26" fmla="*/ 282 w 391"/>
                  <a:gd name="T27" fmla="*/ 55 h 191"/>
                  <a:gd name="T28" fmla="*/ 309 w 391"/>
                  <a:gd name="T29" fmla="*/ 48 h 191"/>
                  <a:gd name="T30" fmla="*/ 332 w 391"/>
                  <a:gd name="T31" fmla="*/ 44 h 191"/>
                  <a:gd name="T32" fmla="*/ 342 w 391"/>
                  <a:gd name="T33" fmla="*/ 61 h 191"/>
                  <a:gd name="T34" fmla="*/ 342 w 391"/>
                  <a:gd name="T35" fmla="*/ 73 h 191"/>
                  <a:gd name="T36" fmla="*/ 349 w 391"/>
                  <a:gd name="T37" fmla="*/ 86 h 191"/>
                  <a:gd name="T38" fmla="*/ 368 w 391"/>
                  <a:gd name="T39" fmla="*/ 78 h 191"/>
                  <a:gd name="T40" fmla="*/ 386 w 391"/>
                  <a:gd name="T41" fmla="*/ 90 h 191"/>
                  <a:gd name="T42" fmla="*/ 386 w 391"/>
                  <a:gd name="T43" fmla="*/ 101 h 191"/>
                  <a:gd name="T44" fmla="*/ 370 w 391"/>
                  <a:gd name="T45" fmla="*/ 109 h 191"/>
                  <a:gd name="T46" fmla="*/ 347 w 391"/>
                  <a:gd name="T47" fmla="*/ 111 h 191"/>
                  <a:gd name="T48" fmla="*/ 338 w 391"/>
                  <a:gd name="T49" fmla="*/ 122 h 191"/>
                  <a:gd name="T50" fmla="*/ 309 w 391"/>
                  <a:gd name="T51" fmla="*/ 140 h 191"/>
                  <a:gd name="T52" fmla="*/ 290 w 391"/>
                  <a:gd name="T53" fmla="*/ 130 h 191"/>
                  <a:gd name="T54" fmla="*/ 280 w 391"/>
                  <a:gd name="T55" fmla="*/ 147 h 191"/>
                  <a:gd name="T56" fmla="*/ 280 w 391"/>
                  <a:gd name="T57" fmla="*/ 168 h 191"/>
                  <a:gd name="T58" fmla="*/ 253 w 391"/>
                  <a:gd name="T59" fmla="*/ 176 h 191"/>
                  <a:gd name="T60" fmla="*/ 230 w 391"/>
                  <a:gd name="T61" fmla="*/ 178 h 191"/>
                  <a:gd name="T62" fmla="*/ 205 w 391"/>
                  <a:gd name="T63" fmla="*/ 188 h 191"/>
                  <a:gd name="T64" fmla="*/ 178 w 391"/>
                  <a:gd name="T65" fmla="*/ 188 h 191"/>
                  <a:gd name="T66" fmla="*/ 150 w 391"/>
                  <a:gd name="T67" fmla="*/ 178 h 191"/>
                  <a:gd name="T68" fmla="*/ 119 w 391"/>
                  <a:gd name="T69" fmla="*/ 176 h 191"/>
                  <a:gd name="T70" fmla="*/ 98 w 391"/>
                  <a:gd name="T71" fmla="*/ 165 h 191"/>
                  <a:gd name="T72" fmla="*/ 84 w 391"/>
                  <a:gd name="T73" fmla="*/ 149 h 191"/>
                  <a:gd name="T74" fmla="*/ 67 w 391"/>
                  <a:gd name="T75" fmla="*/ 138 h 191"/>
                  <a:gd name="T76" fmla="*/ 46 w 391"/>
                  <a:gd name="T77" fmla="*/ 130 h 191"/>
                  <a:gd name="T78" fmla="*/ 48 w 391"/>
                  <a:gd name="T79" fmla="*/ 111 h 191"/>
                  <a:gd name="T80" fmla="*/ 36 w 391"/>
                  <a:gd name="T81" fmla="*/ 97 h 191"/>
                  <a:gd name="T82" fmla="*/ 13 w 391"/>
                  <a:gd name="T83" fmla="*/ 86 h 191"/>
                  <a:gd name="T84" fmla="*/ 2 w 391"/>
                  <a:gd name="T85" fmla="*/ 76 h 191"/>
                  <a:gd name="T86" fmla="*/ 6 w 391"/>
                  <a:gd name="T87" fmla="*/ 51 h 191"/>
                  <a:gd name="T88" fmla="*/ 13 w 391"/>
                  <a:gd name="T89" fmla="*/ 42 h 191"/>
                  <a:gd name="T90" fmla="*/ 29 w 391"/>
                  <a:gd name="T91" fmla="*/ 32 h 191"/>
                  <a:gd name="T92" fmla="*/ 48 w 391"/>
                  <a:gd name="T93" fmla="*/ 25 h 191"/>
                  <a:gd name="T94" fmla="*/ 153 w 391"/>
                  <a:gd name="T95" fmla="*/ 17 h 191"/>
                  <a:gd name="T96" fmla="*/ 153 w 391"/>
                  <a:gd name="T97" fmla="*/ 23 h 191"/>
                  <a:gd name="T98" fmla="*/ 153 w 391"/>
                  <a:gd name="T99" fmla="*/ 17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91" h="191">
                    <a:moveTo>
                      <a:pt x="58" y="28"/>
                    </a:moveTo>
                    <a:lnTo>
                      <a:pt x="59" y="28"/>
                    </a:lnTo>
                    <a:lnTo>
                      <a:pt x="61" y="30"/>
                    </a:lnTo>
                    <a:lnTo>
                      <a:pt x="65" y="26"/>
                    </a:lnTo>
                    <a:lnTo>
                      <a:pt x="75" y="32"/>
                    </a:lnTo>
                    <a:lnTo>
                      <a:pt x="82" y="36"/>
                    </a:lnTo>
                    <a:lnTo>
                      <a:pt x="90" y="38"/>
                    </a:lnTo>
                    <a:lnTo>
                      <a:pt x="98" y="38"/>
                    </a:lnTo>
                    <a:lnTo>
                      <a:pt x="109" y="36"/>
                    </a:lnTo>
                    <a:lnTo>
                      <a:pt x="121" y="38"/>
                    </a:lnTo>
                    <a:lnTo>
                      <a:pt x="123" y="32"/>
                    </a:lnTo>
                    <a:lnTo>
                      <a:pt x="121" y="25"/>
                    </a:lnTo>
                    <a:lnTo>
                      <a:pt x="119" y="19"/>
                    </a:lnTo>
                    <a:lnTo>
                      <a:pt x="113" y="17"/>
                    </a:lnTo>
                    <a:lnTo>
                      <a:pt x="115" y="9"/>
                    </a:lnTo>
                    <a:lnTo>
                      <a:pt x="117" y="5"/>
                    </a:lnTo>
                    <a:lnTo>
                      <a:pt x="121" y="0"/>
                    </a:lnTo>
                    <a:lnTo>
                      <a:pt x="130" y="2"/>
                    </a:lnTo>
                    <a:lnTo>
                      <a:pt x="134" y="3"/>
                    </a:lnTo>
                    <a:lnTo>
                      <a:pt x="144" y="3"/>
                    </a:lnTo>
                    <a:lnTo>
                      <a:pt x="148" y="7"/>
                    </a:lnTo>
                    <a:lnTo>
                      <a:pt x="157" y="7"/>
                    </a:lnTo>
                    <a:lnTo>
                      <a:pt x="169" y="17"/>
                    </a:lnTo>
                    <a:lnTo>
                      <a:pt x="177" y="25"/>
                    </a:lnTo>
                    <a:lnTo>
                      <a:pt x="180" y="32"/>
                    </a:lnTo>
                    <a:lnTo>
                      <a:pt x="184" y="34"/>
                    </a:lnTo>
                    <a:lnTo>
                      <a:pt x="192" y="42"/>
                    </a:lnTo>
                    <a:lnTo>
                      <a:pt x="200" y="40"/>
                    </a:lnTo>
                    <a:lnTo>
                      <a:pt x="203" y="40"/>
                    </a:lnTo>
                    <a:lnTo>
                      <a:pt x="211" y="38"/>
                    </a:lnTo>
                    <a:lnTo>
                      <a:pt x="215" y="34"/>
                    </a:lnTo>
                    <a:lnTo>
                      <a:pt x="223" y="36"/>
                    </a:lnTo>
                    <a:lnTo>
                      <a:pt x="234" y="40"/>
                    </a:lnTo>
                    <a:lnTo>
                      <a:pt x="240" y="42"/>
                    </a:lnTo>
                    <a:lnTo>
                      <a:pt x="240" y="46"/>
                    </a:lnTo>
                    <a:lnTo>
                      <a:pt x="244" y="49"/>
                    </a:lnTo>
                    <a:lnTo>
                      <a:pt x="249" y="49"/>
                    </a:lnTo>
                    <a:lnTo>
                      <a:pt x="257" y="53"/>
                    </a:lnTo>
                    <a:lnTo>
                      <a:pt x="261" y="53"/>
                    </a:lnTo>
                    <a:lnTo>
                      <a:pt x="269" y="51"/>
                    </a:lnTo>
                    <a:lnTo>
                      <a:pt x="274" y="53"/>
                    </a:lnTo>
                    <a:lnTo>
                      <a:pt x="282" y="55"/>
                    </a:lnTo>
                    <a:lnTo>
                      <a:pt x="292" y="53"/>
                    </a:lnTo>
                    <a:lnTo>
                      <a:pt x="295" y="49"/>
                    </a:lnTo>
                    <a:lnTo>
                      <a:pt x="309" y="48"/>
                    </a:lnTo>
                    <a:lnTo>
                      <a:pt x="320" y="40"/>
                    </a:lnTo>
                    <a:lnTo>
                      <a:pt x="322" y="38"/>
                    </a:lnTo>
                    <a:lnTo>
                      <a:pt x="332" y="44"/>
                    </a:lnTo>
                    <a:lnTo>
                      <a:pt x="338" y="44"/>
                    </a:lnTo>
                    <a:lnTo>
                      <a:pt x="347" y="46"/>
                    </a:lnTo>
                    <a:lnTo>
                      <a:pt x="342" y="61"/>
                    </a:lnTo>
                    <a:lnTo>
                      <a:pt x="342" y="63"/>
                    </a:lnTo>
                    <a:lnTo>
                      <a:pt x="343" y="67"/>
                    </a:lnTo>
                    <a:lnTo>
                      <a:pt x="342" y="73"/>
                    </a:lnTo>
                    <a:lnTo>
                      <a:pt x="340" y="76"/>
                    </a:lnTo>
                    <a:lnTo>
                      <a:pt x="340" y="82"/>
                    </a:lnTo>
                    <a:lnTo>
                      <a:pt x="349" y="86"/>
                    </a:lnTo>
                    <a:lnTo>
                      <a:pt x="357" y="84"/>
                    </a:lnTo>
                    <a:lnTo>
                      <a:pt x="365" y="78"/>
                    </a:lnTo>
                    <a:lnTo>
                      <a:pt x="368" y="78"/>
                    </a:lnTo>
                    <a:lnTo>
                      <a:pt x="372" y="82"/>
                    </a:lnTo>
                    <a:lnTo>
                      <a:pt x="378" y="88"/>
                    </a:lnTo>
                    <a:lnTo>
                      <a:pt x="386" y="90"/>
                    </a:lnTo>
                    <a:lnTo>
                      <a:pt x="391" y="96"/>
                    </a:lnTo>
                    <a:lnTo>
                      <a:pt x="390" y="101"/>
                    </a:lnTo>
                    <a:lnTo>
                      <a:pt x="386" y="101"/>
                    </a:lnTo>
                    <a:lnTo>
                      <a:pt x="378" y="101"/>
                    </a:lnTo>
                    <a:lnTo>
                      <a:pt x="372" y="105"/>
                    </a:lnTo>
                    <a:lnTo>
                      <a:pt x="370" y="109"/>
                    </a:lnTo>
                    <a:lnTo>
                      <a:pt x="363" y="107"/>
                    </a:lnTo>
                    <a:lnTo>
                      <a:pt x="353" y="115"/>
                    </a:lnTo>
                    <a:lnTo>
                      <a:pt x="347" y="111"/>
                    </a:lnTo>
                    <a:lnTo>
                      <a:pt x="343" y="113"/>
                    </a:lnTo>
                    <a:lnTo>
                      <a:pt x="342" y="119"/>
                    </a:lnTo>
                    <a:lnTo>
                      <a:pt x="338" y="122"/>
                    </a:lnTo>
                    <a:lnTo>
                      <a:pt x="320" y="126"/>
                    </a:lnTo>
                    <a:lnTo>
                      <a:pt x="319" y="136"/>
                    </a:lnTo>
                    <a:lnTo>
                      <a:pt x="309" y="140"/>
                    </a:lnTo>
                    <a:lnTo>
                      <a:pt x="301" y="138"/>
                    </a:lnTo>
                    <a:lnTo>
                      <a:pt x="295" y="132"/>
                    </a:lnTo>
                    <a:lnTo>
                      <a:pt x="290" y="130"/>
                    </a:lnTo>
                    <a:lnTo>
                      <a:pt x="284" y="134"/>
                    </a:lnTo>
                    <a:lnTo>
                      <a:pt x="282" y="140"/>
                    </a:lnTo>
                    <a:lnTo>
                      <a:pt x="280" y="147"/>
                    </a:lnTo>
                    <a:lnTo>
                      <a:pt x="282" y="155"/>
                    </a:lnTo>
                    <a:lnTo>
                      <a:pt x="284" y="161"/>
                    </a:lnTo>
                    <a:lnTo>
                      <a:pt x="280" y="168"/>
                    </a:lnTo>
                    <a:lnTo>
                      <a:pt x="274" y="170"/>
                    </a:lnTo>
                    <a:lnTo>
                      <a:pt x="265" y="172"/>
                    </a:lnTo>
                    <a:lnTo>
                      <a:pt x="253" y="176"/>
                    </a:lnTo>
                    <a:lnTo>
                      <a:pt x="242" y="176"/>
                    </a:lnTo>
                    <a:lnTo>
                      <a:pt x="234" y="178"/>
                    </a:lnTo>
                    <a:lnTo>
                      <a:pt x="230" y="178"/>
                    </a:lnTo>
                    <a:lnTo>
                      <a:pt x="223" y="186"/>
                    </a:lnTo>
                    <a:lnTo>
                      <a:pt x="215" y="188"/>
                    </a:lnTo>
                    <a:lnTo>
                      <a:pt x="205" y="188"/>
                    </a:lnTo>
                    <a:lnTo>
                      <a:pt x="198" y="191"/>
                    </a:lnTo>
                    <a:lnTo>
                      <a:pt x="184" y="191"/>
                    </a:lnTo>
                    <a:lnTo>
                      <a:pt x="178" y="188"/>
                    </a:lnTo>
                    <a:lnTo>
                      <a:pt x="173" y="180"/>
                    </a:lnTo>
                    <a:lnTo>
                      <a:pt x="169" y="180"/>
                    </a:lnTo>
                    <a:lnTo>
                      <a:pt x="150" y="178"/>
                    </a:lnTo>
                    <a:lnTo>
                      <a:pt x="138" y="176"/>
                    </a:lnTo>
                    <a:lnTo>
                      <a:pt x="129" y="176"/>
                    </a:lnTo>
                    <a:lnTo>
                      <a:pt x="119" y="176"/>
                    </a:lnTo>
                    <a:lnTo>
                      <a:pt x="111" y="176"/>
                    </a:lnTo>
                    <a:lnTo>
                      <a:pt x="104" y="172"/>
                    </a:lnTo>
                    <a:lnTo>
                      <a:pt x="98" y="165"/>
                    </a:lnTo>
                    <a:lnTo>
                      <a:pt x="90" y="159"/>
                    </a:lnTo>
                    <a:lnTo>
                      <a:pt x="86" y="155"/>
                    </a:lnTo>
                    <a:lnTo>
                      <a:pt x="84" y="149"/>
                    </a:lnTo>
                    <a:lnTo>
                      <a:pt x="79" y="144"/>
                    </a:lnTo>
                    <a:lnTo>
                      <a:pt x="71" y="140"/>
                    </a:lnTo>
                    <a:lnTo>
                      <a:pt x="67" y="138"/>
                    </a:lnTo>
                    <a:lnTo>
                      <a:pt x="61" y="134"/>
                    </a:lnTo>
                    <a:lnTo>
                      <a:pt x="52" y="132"/>
                    </a:lnTo>
                    <a:lnTo>
                      <a:pt x="46" y="130"/>
                    </a:lnTo>
                    <a:lnTo>
                      <a:pt x="44" y="124"/>
                    </a:lnTo>
                    <a:lnTo>
                      <a:pt x="46" y="117"/>
                    </a:lnTo>
                    <a:lnTo>
                      <a:pt x="48" y="111"/>
                    </a:lnTo>
                    <a:lnTo>
                      <a:pt x="42" y="105"/>
                    </a:lnTo>
                    <a:lnTo>
                      <a:pt x="36" y="101"/>
                    </a:lnTo>
                    <a:lnTo>
                      <a:pt x="36" y="97"/>
                    </a:lnTo>
                    <a:lnTo>
                      <a:pt x="29" y="88"/>
                    </a:lnTo>
                    <a:lnTo>
                      <a:pt x="21" y="84"/>
                    </a:lnTo>
                    <a:lnTo>
                      <a:pt x="13" y="86"/>
                    </a:lnTo>
                    <a:lnTo>
                      <a:pt x="8" y="84"/>
                    </a:lnTo>
                    <a:lnTo>
                      <a:pt x="2" y="80"/>
                    </a:lnTo>
                    <a:lnTo>
                      <a:pt x="2" y="76"/>
                    </a:lnTo>
                    <a:lnTo>
                      <a:pt x="0" y="65"/>
                    </a:lnTo>
                    <a:lnTo>
                      <a:pt x="0" y="53"/>
                    </a:lnTo>
                    <a:lnTo>
                      <a:pt x="6" y="51"/>
                    </a:lnTo>
                    <a:lnTo>
                      <a:pt x="11" y="49"/>
                    </a:lnTo>
                    <a:lnTo>
                      <a:pt x="13" y="46"/>
                    </a:lnTo>
                    <a:lnTo>
                      <a:pt x="13" y="42"/>
                    </a:lnTo>
                    <a:lnTo>
                      <a:pt x="17" y="38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36" y="28"/>
                    </a:lnTo>
                    <a:lnTo>
                      <a:pt x="40" y="26"/>
                    </a:lnTo>
                    <a:lnTo>
                      <a:pt x="48" y="25"/>
                    </a:lnTo>
                    <a:lnTo>
                      <a:pt x="56" y="26"/>
                    </a:lnTo>
                    <a:lnTo>
                      <a:pt x="58" y="28"/>
                    </a:lnTo>
                    <a:close/>
                    <a:moveTo>
                      <a:pt x="153" y="17"/>
                    </a:moveTo>
                    <a:lnTo>
                      <a:pt x="153" y="19"/>
                    </a:lnTo>
                    <a:lnTo>
                      <a:pt x="155" y="21"/>
                    </a:lnTo>
                    <a:lnTo>
                      <a:pt x="153" y="23"/>
                    </a:lnTo>
                    <a:lnTo>
                      <a:pt x="152" y="26"/>
                    </a:lnTo>
                    <a:lnTo>
                      <a:pt x="152" y="21"/>
                    </a:lnTo>
                    <a:lnTo>
                      <a:pt x="153" y="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4" name="Freeform 132"/>
              <p:cNvSpPr>
                <a:spLocks/>
              </p:cNvSpPr>
              <p:nvPr/>
            </p:nvSpPr>
            <p:spPr bwMode="gray">
              <a:xfrm>
                <a:off x="4457607" y="3330576"/>
                <a:ext cx="12699" cy="15875"/>
              </a:xfrm>
              <a:custGeom>
                <a:avLst/>
                <a:gdLst>
                  <a:gd name="T0" fmla="*/ 8 w 8"/>
                  <a:gd name="T1" fmla="*/ 4 h 10"/>
                  <a:gd name="T2" fmla="*/ 2 w 8"/>
                  <a:gd name="T3" fmla="*/ 0 h 10"/>
                  <a:gd name="T4" fmla="*/ 0 w 8"/>
                  <a:gd name="T5" fmla="*/ 4 h 10"/>
                  <a:gd name="T6" fmla="*/ 4 w 8"/>
                  <a:gd name="T7" fmla="*/ 10 h 10"/>
                  <a:gd name="T8" fmla="*/ 4 w 8"/>
                  <a:gd name="T9" fmla="*/ 8 h 10"/>
                  <a:gd name="T10" fmla="*/ 6 w 8"/>
                  <a:gd name="T11" fmla="*/ 6 h 10"/>
                  <a:gd name="T12" fmla="*/ 8 w 8"/>
                  <a:gd name="T13" fmla="*/ 4 h 10"/>
                  <a:gd name="T14" fmla="*/ 8 w 8"/>
                  <a:gd name="T15" fmla="*/ 4 h 10"/>
                  <a:gd name="T16" fmla="*/ 8 w 8"/>
                  <a:gd name="T1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8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5" name="Freeform 133"/>
              <p:cNvSpPr>
                <a:spLocks/>
              </p:cNvSpPr>
              <p:nvPr/>
            </p:nvSpPr>
            <p:spPr bwMode="gray">
              <a:xfrm>
                <a:off x="4859199" y="3187701"/>
                <a:ext cx="76192" cy="93663"/>
              </a:xfrm>
              <a:custGeom>
                <a:avLst/>
                <a:gdLst>
                  <a:gd name="T0" fmla="*/ 25 w 48"/>
                  <a:gd name="T1" fmla="*/ 59 h 59"/>
                  <a:gd name="T2" fmla="*/ 27 w 48"/>
                  <a:gd name="T3" fmla="*/ 57 h 59"/>
                  <a:gd name="T4" fmla="*/ 29 w 48"/>
                  <a:gd name="T5" fmla="*/ 52 h 59"/>
                  <a:gd name="T6" fmla="*/ 31 w 48"/>
                  <a:gd name="T7" fmla="*/ 48 h 59"/>
                  <a:gd name="T8" fmla="*/ 35 w 48"/>
                  <a:gd name="T9" fmla="*/ 44 h 59"/>
                  <a:gd name="T10" fmla="*/ 37 w 48"/>
                  <a:gd name="T11" fmla="*/ 44 h 59"/>
                  <a:gd name="T12" fmla="*/ 41 w 48"/>
                  <a:gd name="T13" fmla="*/ 46 h 59"/>
                  <a:gd name="T14" fmla="*/ 44 w 48"/>
                  <a:gd name="T15" fmla="*/ 48 h 59"/>
                  <a:gd name="T16" fmla="*/ 48 w 48"/>
                  <a:gd name="T17" fmla="*/ 50 h 59"/>
                  <a:gd name="T18" fmla="*/ 41 w 48"/>
                  <a:gd name="T19" fmla="*/ 40 h 59"/>
                  <a:gd name="T20" fmla="*/ 39 w 48"/>
                  <a:gd name="T21" fmla="*/ 38 h 59"/>
                  <a:gd name="T22" fmla="*/ 37 w 48"/>
                  <a:gd name="T23" fmla="*/ 31 h 59"/>
                  <a:gd name="T24" fmla="*/ 37 w 48"/>
                  <a:gd name="T25" fmla="*/ 29 h 59"/>
                  <a:gd name="T26" fmla="*/ 35 w 48"/>
                  <a:gd name="T27" fmla="*/ 25 h 59"/>
                  <a:gd name="T28" fmla="*/ 33 w 48"/>
                  <a:gd name="T29" fmla="*/ 21 h 59"/>
                  <a:gd name="T30" fmla="*/ 31 w 48"/>
                  <a:gd name="T31" fmla="*/ 17 h 59"/>
                  <a:gd name="T32" fmla="*/ 31 w 48"/>
                  <a:gd name="T33" fmla="*/ 13 h 59"/>
                  <a:gd name="T34" fmla="*/ 27 w 48"/>
                  <a:gd name="T35" fmla="*/ 10 h 59"/>
                  <a:gd name="T36" fmla="*/ 25 w 48"/>
                  <a:gd name="T37" fmla="*/ 8 h 59"/>
                  <a:gd name="T38" fmla="*/ 21 w 48"/>
                  <a:gd name="T39" fmla="*/ 6 h 59"/>
                  <a:gd name="T40" fmla="*/ 19 w 48"/>
                  <a:gd name="T41" fmla="*/ 2 h 59"/>
                  <a:gd name="T42" fmla="*/ 16 w 48"/>
                  <a:gd name="T43" fmla="*/ 2 h 59"/>
                  <a:gd name="T44" fmla="*/ 12 w 48"/>
                  <a:gd name="T45" fmla="*/ 0 h 59"/>
                  <a:gd name="T46" fmla="*/ 8 w 48"/>
                  <a:gd name="T47" fmla="*/ 0 h 59"/>
                  <a:gd name="T48" fmla="*/ 4 w 48"/>
                  <a:gd name="T49" fmla="*/ 2 h 59"/>
                  <a:gd name="T50" fmla="*/ 0 w 48"/>
                  <a:gd name="T51" fmla="*/ 6 h 59"/>
                  <a:gd name="T52" fmla="*/ 4 w 48"/>
                  <a:gd name="T53" fmla="*/ 8 h 59"/>
                  <a:gd name="T54" fmla="*/ 10 w 48"/>
                  <a:gd name="T55" fmla="*/ 13 h 59"/>
                  <a:gd name="T56" fmla="*/ 12 w 48"/>
                  <a:gd name="T57" fmla="*/ 19 h 59"/>
                  <a:gd name="T58" fmla="*/ 14 w 48"/>
                  <a:gd name="T59" fmla="*/ 23 h 59"/>
                  <a:gd name="T60" fmla="*/ 18 w 48"/>
                  <a:gd name="T61" fmla="*/ 27 h 59"/>
                  <a:gd name="T62" fmla="*/ 19 w 48"/>
                  <a:gd name="T63" fmla="*/ 31 h 59"/>
                  <a:gd name="T64" fmla="*/ 19 w 48"/>
                  <a:gd name="T65" fmla="*/ 36 h 59"/>
                  <a:gd name="T66" fmla="*/ 19 w 48"/>
                  <a:gd name="T67" fmla="*/ 38 h 59"/>
                  <a:gd name="T68" fmla="*/ 21 w 48"/>
                  <a:gd name="T69" fmla="*/ 42 h 59"/>
                  <a:gd name="T70" fmla="*/ 19 w 48"/>
                  <a:gd name="T71" fmla="*/ 44 h 59"/>
                  <a:gd name="T72" fmla="*/ 19 w 48"/>
                  <a:gd name="T73" fmla="*/ 50 h 59"/>
                  <a:gd name="T74" fmla="*/ 19 w 48"/>
                  <a:gd name="T75" fmla="*/ 52 h 59"/>
                  <a:gd name="T76" fmla="*/ 19 w 48"/>
                  <a:gd name="T77" fmla="*/ 56 h 59"/>
                  <a:gd name="T78" fmla="*/ 21 w 48"/>
                  <a:gd name="T79" fmla="*/ 59 h 59"/>
                  <a:gd name="T80" fmla="*/ 23 w 48"/>
                  <a:gd name="T81" fmla="*/ 59 h 59"/>
                  <a:gd name="T82" fmla="*/ 25 w 48"/>
                  <a:gd name="T83" fmla="*/ 59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8" h="59">
                    <a:moveTo>
                      <a:pt x="25" y="59"/>
                    </a:moveTo>
                    <a:lnTo>
                      <a:pt x="27" y="57"/>
                    </a:lnTo>
                    <a:lnTo>
                      <a:pt x="29" y="52"/>
                    </a:lnTo>
                    <a:lnTo>
                      <a:pt x="31" y="48"/>
                    </a:lnTo>
                    <a:lnTo>
                      <a:pt x="35" y="44"/>
                    </a:lnTo>
                    <a:lnTo>
                      <a:pt x="37" y="44"/>
                    </a:lnTo>
                    <a:lnTo>
                      <a:pt x="41" y="46"/>
                    </a:lnTo>
                    <a:lnTo>
                      <a:pt x="44" y="48"/>
                    </a:lnTo>
                    <a:lnTo>
                      <a:pt x="48" y="50"/>
                    </a:lnTo>
                    <a:lnTo>
                      <a:pt x="41" y="40"/>
                    </a:lnTo>
                    <a:lnTo>
                      <a:pt x="39" y="38"/>
                    </a:lnTo>
                    <a:lnTo>
                      <a:pt x="37" y="31"/>
                    </a:lnTo>
                    <a:lnTo>
                      <a:pt x="37" y="29"/>
                    </a:lnTo>
                    <a:lnTo>
                      <a:pt x="35" y="25"/>
                    </a:lnTo>
                    <a:lnTo>
                      <a:pt x="33" y="21"/>
                    </a:lnTo>
                    <a:lnTo>
                      <a:pt x="31" y="17"/>
                    </a:lnTo>
                    <a:lnTo>
                      <a:pt x="31" y="13"/>
                    </a:lnTo>
                    <a:lnTo>
                      <a:pt x="27" y="10"/>
                    </a:lnTo>
                    <a:lnTo>
                      <a:pt x="25" y="8"/>
                    </a:lnTo>
                    <a:lnTo>
                      <a:pt x="21" y="6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10" y="13"/>
                    </a:lnTo>
                    <a:lnTo>
                      <a:pt x="12" y="19"/>
                    </a:lnTo>
                    <a:lnTo>
                      <a:pt x="14" y="23"/>
                    </a:lnTo>
                    <a:lnTo>
                      <a:pt x="18" y="27"/>
                    </a:lnTo>
                    <a:lnTo>
                      <a:pt x="19" y="31"/>
                    </a:lnTo>
                    <a:lnTo>
                      <a:pt x="19" y="36"/>
                    </a:lnTo>
                    <a:lnTo>
                      <a:pt x="19" y="38"/>
                    </a:lnTo>
                    <a:lnTo>
                      <a:pt x="21" y="42"/>
                    </a:lnTo>
                    <a:lnTo>
                      <a:pt x="19" y="44"/>
                    </a:lnTo>
                    <a:lnTo>
                      <a:pt x="19" y="50"/>
                    </a:lnTo>
                    <a:lnTo>
                      <a:pt x="19" y="52"/>
                    </a:lnTo>
                    <a:lnTo>
                      <a:pt x="19" y="56"/>
                    </a:lnTo>
                    <a:lnTo>
                      <a:pt x="21" y="59"/>
                    </a:lnTo>
                    <a:lnTo>
                      <a:pt x="23" y="59"/>
                    </a:lnTo>
                    <a:lnTo>
                      <a:pt x="25" y="5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6" name="Freeform 134"/>
              <p:cNvSpPr>
                <a:spLocks/>
              </p:cNvSpPr>
              <p:nvPr/>
            </p:nvSpPr>
            <p:spPr bwMode="gray">
              <a:xfrm>
                <a:off x="2014716" y="3625851"/>
                <a:ext cx="590484" cy="450850"/>
              </a:xfrm>
              <a:custGeom>
                <a:avLst/>
                <a:gdLst>
                  <a:gd name="T0" fmla="*/ 4 w 372"/>
                  <a:gd name="T1" fmla="*/ 18 h 284"/>
                  <a:gd name="T2" fmla="*/ 27 w 372"/>
                  <a:gd name="T3" fmla="*/ 50 h 284"/>
                  <a:gd name="T4" fmla="*/ 36 w 372"/>
                  <a:gd name="T5" fmla="*/ 75 h 284"/>
                  <a:gd name="T6" fmla="*/ 42 w 372"/>
                  <a:gd name="T7" fmla="*/ 96 h 284"/>
                  <a:gd name="T8" fmla="*/ 57 w 372"/>
                  <a:gd name="T9" fmla="*/ 112 h 284"/>
                  <a:gd name="T10" fmla="*/ 71 w 372"/>
                  <a:gd name="T11" fmla="*/ 138 h 284"/>
                  <a:gd name="T12" fmla="*/ 94 w 372"/>
                  <a:gd name="T13" fmla="*/ 161 h 284"/>
                  <a:gd name="T14" fmla="*/ 84 w 372"/>
                  <a:gd name="T15" fmla="*/ 144 h 284"/>
                  <a:gd name="T16" fmla="*/ 80 w 372"/>
                  <a:gd name="T17" fmla="*/ 133 h 284"/>
                  <a:gd name="T18" fmla="*/ 63 w 372"/>
                  <a:gd name="T19" fmla="*/ 100 h 284"/>
                  <a:gd name="T20" fmla="*/ 52 w 372"/>
                  <a:gd name="T21" fmla="*/ 67 h 284"/>
                  <a:gd name="T22" fmla="*/ 40 w 372"/>
                  <a:gd name="T23" fmla="*/ 52 h 284"/>
                  <a:gd name="T24" fmla="*/ 27 w 372"/>
                  <a:gd name="T25" fmla="*/ 29 h 284"/>
                  <a:gd name="T26" fmla="*/ 40 w 372"/>
                  <a:gd name="T27" fmla="*/ 23 h 284"/>
                  <a:gd name="T28" fmla="*/ 48 w 372"/>
                  <a:gd name="T29" fmla="*/ 27 h 284"/>
                  <a:gd name="T30" fmla="*/ 57 w 372"/>
                  <a:gd name="T31" fmla="*/ 44 h 284"/>
                  <a:gd name="T32" fmla="*/ 69 w 372"/>
                  <a:gd name="T33" fmla="*/ 67 h 284"/>
                  <a:gd name="T34" fmla="*/ 80 w 372"/>
                  <a:gd name="T35" fmla="*/ 85 h 284"/>
                  <a:gd name="T36" fmla="*/ 88 w 372"/>
                  <a:gd name="T37" fmla="*/ 94 h 284"/>
                  <a:gd name="T38" fmla="*/ 103 w 372"/>
                  <a:gd name="T39" fmla="*/ 106 h 284"/>
                  <a:gd name="T40" fmla="*/ 107 w 372"/>
                  <a:gd name="T41" fmla="*/ 125 h 284"/>
                  <a:gd name="T42" fmla="*/ 126 w 372"/>
                  <a:gd name="T43" fmla="*/ 144 h 284"/>
                  <a:gd name="T44" fmla="*/ 136 w 372"/>
                  <a:gd name="T45" fmla="*/ 160 h 284"/>
                  <a:gd name="T46" fmla="*/ 146 w 372"/>
                  <a:gd name="T47" fmla="*/ 204 h 284"/>
                  <a:gd name="T48" fmla="*/ 173 w 372"/>
                  <a:gd name="T49" fmla="*/ 246 h 284"/>
                  <a:gd name="T50" fmla="*/ 213 w 372"/>
                  <a:gd name="T51" fmla="*/ 265 h 284"/>
                  <a:gd name="T52" fmla="*/ 249 w 372"/>
                  <a:gd name="T53" fmla="*/ 279 h 284"/>
                  <a:gd name="T54" fmla="*/ 284 w 372"/>
                  <a:gd name="T55" fmla="*/ 275 h 284"/>
                  <a:gd name="T56" fmla="*/ 303 w 372"/>
                  <a:gd name="T57" fmla="*/ 284 h 284"/>
                  <a:gd name="T58" fmla="*/ 328 w 372"/>
                  <a:gd name="T59" fmla="*/ 267 h 284"/>
                  <a:gd name="T60" fmla="*/ 318 w 372"/>
                  <a:gd name="T61" fmla="*/ 248 h 284"/>
                  <a:gd name="T62" fmla="*/ 351 w 372"/>
                  <a:gd name="T63" fmla="*/ 236 h 284"/>
                  <a:gd name="T64" fmla="*/ 361 w 372"/>
                  <a:gd name="T65" fmla="*/ 232 h 284"/>
                  <a:gd name="T66" fmla="*/ 366 w 372"/>
                  <a:gd name="T67" fmla="*/ 225 h 284"/>
                  <a:gd name="T68" fmla="*/ 357 w 372"/>
                  <a:gd name="T69" fmla="*/ 184 h 284"/>
                  <a:gd name="T70" fmla="*/ 332 w 372"/>
                  <a:gd name="T71" fmla="*/ 213 h 284"/>
                  <a:gd name="T72" fmla="*/ 322 w 372"/>
                  <a:gd name="T73" fmla="*/ 227 h 284"/>
                  <a:gd name="T74" fmla="*/ 315 w 372"/>
                  <a:gd name="T75" fmla="*/ 231 h 284"/>
                  <a:gd name="T76" fmla="*/ 295 w 372"/>
                  <a:gd name="T77" fmla="*/ 236 h 284"/>
                  <a:gd name="T78" fmla="*/ 286 w 372"/>
                  <a:gd name="T79" fmla="*/ 244 h 284"/>
                  <a:gd name="T80" fmla="*/ 276 w 372"/>
                  <a:gd name="T81" fmla="*/ 240 h 284"/>
                  <a:gd name="T82" fmla="*/ 259 w 372"/>
                  <a:gd name="T83" fmla="*/ 225 h 284"/>
                  <a:gd name="T84" fmla="*/ 238 w 372"/>
                  <a:gd name="T85" fmla="*/ 188 h 284"/>
                  <a:gd name="T86" fmla="*/ 238 w 372"/>
                  <a:gd name="T87" fmla="*/ 154 h 284"/>
                  <a:gd name="T88" fmla="*/ 247 w 372"/>
                  <a:gd name="T89" fmla="*/ 125 h 284"/>
                  <a:gd name="T90" fmla="*/ 236 w 372"/>
                  <a:gd name="T91" fmla="*/ 110 h 284"/>
                  <a:gd name="T92" fmla="*/ 219 w 372"/>
                  <a:gd name="T93" fmla="*/ 96 h 284"/>
                  <a:gd name="T94" fmla="*/ 205 w 372"/>
                  <a:gd name="T95" fmla="*/ 69 h 284"/>
                  <a:gd name="T96" fmla="*/ 194 w 372"/>
                  <a:gd name="T97" fmla="*/ 52 h 284"/>
                  <a:gd name="T98" fmla="*/ 176 w 372"/>
                  <a:gd name="T99" fmla="*/ 48 h 284"/>
                  <a:gd name="T100" fmla="*/ 155 w 372"/>
                  <a:gd name="T101" fmla="*/ 50 h 284"/>
                  <a:gd name="T102" fmla="*/ 144 w 372"/>
                  <a:gd name="T103" fmla="*/ 31 h 284"/>
                  <a:gd name="T104" fmla="*/ 132 w 372"/>
                  <a:gd name="T105" fmla="*/ 18 h 284"/>
                  <a:gd name="T106" fmla="*/ 32 w 372"/>
                  <a:gd name="T107" fmla="*/ 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72" h="284">
                    <a:moveTo>
                      <a:pt x="0" y="4"/>
                    </a:moveTo>
                    <a:lnTo>
                      <a:pt x="0" y="8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7" y="18"/>
                    </a:lnTo>
                    <a:lnTo>
                      <a:pt x="9" y="25"/>
                    </a:lnTo>
                    <a:lnTo>
                      <a:pt x="11" y="35"/>
                    </a:lnTo>
                    <a:lnTo>
                      <a:pt x="17" y="42"/>
                    </a:lnTo>
                    <a:lnTo>
                      <a:pt x="27" y="50"/>
                    </a:lnTo>
                    <a:lnTo>
                      <a:pt x="29" y="50"/>
                    </a:lnTo>
                    <a:lnTo>
                      <a:pt x="32" y="52"/>
                    </a:lnTo>
                    <a:lnTo>
                      <a:pt x="34" y="58"/>
                    </a:lnTo>
                    <a:lnTo>
                      <a:pt x="36" y="66"/>
                    </a:lnTo>
                    <a:lnTo>
                      <a:pt x="36" y="75"/>
                    </a:lnTo>
                    <a:lnTo>
                      <a:pt x="38" y="83"/>
                    </a:lnTo>
                    <a:lnTo>
                      <a:pt x="31" y="85"/>
                    </a:lnTo>
                    <a:lnTo>
                      <a:pt x="27" y="87"/>
                    </a:lnTo>
                    <a:lnTo>
                      <a:pt x="34" y="92"/>
                    </a:lnTo>
                    <a:lnTo>
                      <a:pt x="42" y="96"/>
                    </a:lnTo>
                    <a:lnTo>
                      <a:pt x="42" y="100"/>
                    </a:lnTo>
                    <a:lnTo>
                      <a:pt x="48" y="102"/>
                    </a:lnTo>
                    <a:lnTo>
                      <a:pt x="54" y="104"/>
                    </a:lnTo>
                    <a:lnTo>
                      <a:pt x="55" y="108"/>
                    </a:lnTo>
                    <a:lnTo>
                      <a:pt x="57" y="112"/>
                    </a:lnTo>
                    <a:lnTo>
                      <a:pt x="61" y="112"/>
                    </a:lnTo>
                    <a:lnTo>
                      <a:pt x="61" y="123"/>
                    </a:lnTo>
                    <a:lnTo>
                      <a:pt x="63" y="135"/>
                    </a:lnTo>
                    <a:lnTo>
                      <a:pt x="65" y="137"/>
                    </a:lnTo>
                    <a:lnTo>
                      <a:pt x="71" y="138"/>
                    </a:lnTo>
                    <a:lnTo>
                      <a:pt x="71" y="142"/>
                    </a:lnTo>
                    <a:lnTo>
                      <a:pt x="78" y="152"/>
                    </a:lnTo>
                    <a:lnTo>
                      <a:pt x="90" y="165"/>
                    </a:lnTo>
                    <a:lnTo>
                      <a:pt x="90" y="161"/>
                    </a:lnTo>
                    <a:lnTo>
                      <a:pt x="94" y="161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0"/>
                    </a:lnTo>
                    <a:lnTo>
                      <a:pt x="86" y="148"/>
                    </a:lnTo>
                    <a:lnTo>
                      <a:pt x="84" y="144"/>
                    </a:lnTo>
                    <a:lnTo>
                      <a:pt x="84" y="142"/>
                    </a:lnTo>
                    <a:lnTo>
                      <a:pt x="80" y="142"/>
                    </a:lnTo>
                    <a:lnTo>
                      <a:pt x="78" y="140"/>
                    </a:lnTo>
                    <a:lnTo>
                      <a:pt x="78" y="137"/>
                    </a:lnTo>
                    <a:lnTo>
                      <a:pt x="80" y="133"/>
                    </a:lnTo>
                    <a:lnTo>
                      <a:pt x="77" y="133"/>
                    </a:lnTo>
                    <a:lnTo>
                      <a:pt x="73" y="117"/>
                    </a:lnTo>
                    <a:lnTo>
                      <a:pt x="69" y="102"/>
                    </a:lnTo>
                    <a:lnTo>
                      <a:pt x="65" y="102"/>
                    </a:lnTo>
                    <a:lnTo>
                      <a:pt x="63" y="100"/>
                    </a:lnTo>
                    <a:lnTo>
                      <a:pt x="63" y="94"/>
                    </a:lnTo>
                    <a:lnTo>
                      <a:pt x="63" y="90"/>
                    </a:lnTo>
                    <a:lnTo>
                      <a:pt x="59" y="90"/>
                    </a:lnTo>
                    <a:lnTo>
                      <a:pt x="54" y="79"/>
                    </a:lnTo>
                    <a:lnTo>
                      <a:pt x="52" y="67"/>
                    </a:lnTo>
                    <a:lnTo>
                      <a:pt x="48" y="67"/>
                    </a:lnTo>
                    <a:lnTo>
                      <a:pt x="46" y="67"/>
                    </a:lnTo>
                    <a:lnTo>
                      <a:pt x="44" y="60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8" y="52"/>
                    </a:lnTo>
                    <a:lnTo>
                      <a:pt x="34" y="44"/>
                    </a:lnTo>
                    <a:lnTo>
                      <a:pt x="32" y="35"/>
                    </a:lnTo>
                    <a:lnTo>
                      <a:pt x="29" y="33"/>
                    </a:lnTo>
                    <a:lnTo>
                      <a:pt x="27" y="29"/>
                    </a:lnTo>
                    <a:lnTo>
                      <a:pt x="27" y="25"/>
                    </a:lnTo>
                    <a:lnTo>
                      <a:pt x="29" y="19"/>
                    </a:lnTo>
                    <a:lnTo>
                      <a:pt x="32" y="23"/>
                    </a:lnTo>
                    <a:lnTo>
                      <a:pt x="38" y="25"/>
                    </a:lnTo>
                    <a:lnTo>
                      <a:pt x="40" y="23"/>
                    </a:lnTo>
                    <a:lnTo>
                      <a:pt x="42" y="21"/>
                    </a:lnTo>
                    <a:lnTo>
                      <a:pt x="44" y="21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48" y="27"/>
                    </a:lnTo>
                    <a:lnTo>
                      <a:pt x="52" y="27"/>
                    </a:lnTo>
                    <a:lnTo>
                      <a:pt x="50" y="33"/>
                    </a:lnTo>
                    <a:lnTo>
                      <a:pt x="50" y="37"/>
                    </a:lnTo>
                    <a:lnTo>
                      <a:pt x="54" y="41"/>
                    </a:lnTo>
                    <a:lnTo>
                      <a:pt x="57" y="44"/>
                    </a:lnTo>
                    <a:lnTo>
                      <a:pt x="57" y="50"/>
                    </a:lnTo>
                    <a:lnTo>
                      <a:pt x="59" y="56"/>
                    </a:lnTo>
                    <a:lnTo>
                      <a:pt x="63" y="60"/>
                    </a:lnTo>
                    <a:lnTo>
                      <a:pt x="69" y="64"/>
                    </a:lnTo>
                    <a:lnTo>
                      <a:pt x="69" y="67"/>
                    </a:lnTo>
                    <a:lnTo>
                      <a:pt x="69" y="71"/>
                    </a:lnTo>
                    <a:lnTo>
                      <a:pt x="69" y="71"/>
                    </a:lnTo>
                    <a:lnTo>
                      <a:pt x="71" y="71"/>
                    </a:lnTo>
                    <a:lnTo>
                      <a:pt x="77" y="77"/>
                    </a:lnTo>
                    <a:lnTo>
                      <a:pt x="80" y="85"/>
                    </a:lnTo>
                    <a:lnTo>
                      <a:pt x="82" y="85"/>
                    </a:lnTo>
                    <a:lnTo>
                      <a:pt x="86" y="85"/>
                    </a:lnTo>
                    <a:lnTo>
                      <a:pt x="86" y="89"/>
                    </a:lnTo>
                    <a:lnTo>
                      <a:pt x="86" y="92"/>
                    </a:lnTo>
                    <a:lnTo>
                      <a:pt x="88" y="94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4" y="102"/>
                    </a:lnTo>
                    <a:lnTo>
                      <a:pt x="98" y="104"/>
                    </a:lnTo>
                    <a:lnTo>
                      <a:pt x="103" y="106"/>
                    </a:lnTo>
                    <a:lnTo>
                      <a:pt x="100" y="110"/>
                    </a:lnTo>
                    <a:lnTo>
                      <a:pt x="98" y="112"/>
                    </a:lnTo>
                    <a:lnTo>
                      <a:pt x="98" y="113"/>
                    </a:lnTo>
                    <a:lnTo>
                      <a:pt x="98" y="117"/>
                    </a:lnTo>
                    <a:lnTo>
                      <a:pt x="107" y="125"/>
                    </a:lnTo>
                    <a:lnTo>
                      <a:pt x="117" y="133"/>
                    </a:lnTo>
                    <a:lnTo>
                      <a:pt x="117" y="138"/>
                    </a:lnTo>
                    <a:lnTo>
                      <a:pt x="121" y="142"/>
                    </a:lnTo>
                    <a:lnTo>
                      <a:pt x="123" y="142"/>
                    </a:lnTo>
                    <a:lnTo>
                      <a:pt x="126" y="144"/>
                    </a:lnTo>
                    <a:lnTo>
                      <a:pt x="126" y="148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2" y="156"/>
                    </a:lnTo>
                    <a:lnTo>
                      <a:pt x="136" y="160"/>
                    </a:lnTo>
                    <a:lnTo>
                      <a:pt x="136" y="163"/>
                    </a:lnTo>
                    <a:lnTo>
                      <a:pt x="136" y="165"/>
                    </a:lnTo>
                    <a:lnTo>
                      <a:pt x="142" y="173"/>
                    </a:lnTo>
                    <a:lnTo>
                      <a:pt x="148" y="181"/>
                    </a:lnTo>
                    <a:lnTo>
                      <a:pt x="146" y="204"/>
                    </a:lnTo>
                    <a:lnTo>
                      <a:pt x="148" y="223"/>
                    </a:lnTo>
                    <a:lnTo>
                      <a:pt x="153" y="227"/>
                    </a:lnTo>
                    <a:lnTo>
                      <a:pt x="161" y="229"/>
                    </a:lnTo>
                    <a:lnTo>
                      <a:pt x="167" y="238"/>
                    </a:lnTo>
                    <a:lnTo>
                      <a:pt x="173" y="246"/>
                    </a:lnTo>
                    <a:lnTo>
                      <a:pt x="180" y="248"/>
                    </a:lnTo>
                    <a:lnTo>
                      <a:pt x="190" y="250"/>
                    </a:lnTo>
                    <a:lnTo>
                      <a:pt x="197" y="257"/>
                    </a:lnTo>
                    <a:lnTo>
                      <a:pt x="205" y="263"/>
                    </a:lnTo>
                    <a:lnTo>
                      <a:pt x="213" y="265"/>
                    </a:lnTo>
                    <a:lnTo>
                      <a:pt x="224" y="267"/>
                    </a:lnTo>
                    <a:lnTo>
                      <a:pt x="228" y="271"/>
                    </a:lnTo>
                    <a:lnTo>
                      <a:pt x="232" y="275"/>
                    </a:lnTo>
                    <a:lnTo>
                      <a:pt x="240" y="277"/>
                    </a:lnTo>
                    <a:lnTo>
                      <a:pt x="249" y="279"/>
                    </a:lnTo>
                    <a:lnTo>
                      <a:pt x="257" y="277"/>
                    </a:lnTo>
                    <a:lnTo>
                      <a:pt x="263" y="275"/>
                    </a:lnTo>
                    <a:lnTo>
                      <a:pt x="270" y="273"/>
                    </a:lnTo>
                    <a:lnTo>
                      <a:pt x="276" y="275"/>
                    </a:lnTo>
                    <a:lnTo>
                      <a:pt x="284" y="275"/>
                    </a:lnTo>
                    <a:lnTo>
                      <a:pt x="292" y="277"/>
                    </a:lnTo>
                    <a:lnTo>
                      <a:pt x="292" y="273"/>
                    </a:lnTo>
                    <a:lnTo>
                      <a:pt x="293" y="273"/>
                    </a:lnTo>
                    <a:lnTo>
                      <a:pt x="297" y="279"/>
                    </a:lnTo>
                    <a:lnTo>
                      <a:pt x="303" y="284"/>
                    </a:lnTo>
                    <a:lnTo>
                      <a:pt x="305" y="282"/>
                    </a:lnTo>
                    <a:lnTo>
                      <a:pt x="305" y="279"/>
                    </a:lnTo>
                    <a:lnTo>
                      <a:pt x="309" y="273"/>
                    </a:lnTo>
                    <a:lnTo>
                      <a:pt x="313" y="267"/>
                    </a:lnTo>
                    <a:lnTo>
                      <a:pt x="328" y="267"/>
                    </a:lnTo>
                    <a:lnTo>
                      <a:pt x="328" y="265"/>
                    </a:lnTo>
                    <a:lnTo>
                      <a:pt x="324" y="259"/>
                    </a:lnTo>
                    <a:lnTo>
                      <a:pt x="320" y="255"/>
                    </a:lnTo>
                    <a:lnTo>
                      <a:pt x="318" y="252"/>
                    </a:lnTo>
                    <a:lnTo>
                      <a:pt x="318" y="248"/>
                    </a:lnTo>
                    <a:lnTo>
                      <a:pt x="322" y="248"/>
                    </a:lnTo>
                    <a:lnTo>
                      <a:pt x="324" y="240"/>
                    </a:lnTo>
                    <a:lnTo>
                      <a:pt x="345" y="240"/>
                    </a:lnTo>
                    <a:lnTo>
                      <a:pt x="349" y="238"/>
                    </a:lnTo>
                    <a:lnTo>
                      <a:pt x="351" y="236"/>
                    </a:lnTo>
                    <a:lnTo>
                      <a:pt x="355" y="236"/>
                    </a:lnTo>
                    <a:lnTo>
                      <a:pt x="357" y="234"/>
                    </a:lnTo>
                    <a:lnTo>
                      <a:pt x="359" y="232"/>
                    </a:lnTo>
                    <a:lnTo>
                      <a:pt x="361" y="231"/>
                    </a:lnTo>
                    <a:lnTo>
                      <a:pt x="361" y="232"/>
                    </a:lnTo>
                    <a:lnTo>
                      <a:pt x="361" y="236"/>
                    </a:lnTo>
                    <a:lnTo>
                      <a:pt x="364" y="238"/>
                    </a:lnTo>
                    <a:lnTo>
                      <a:pt x="366" y="236"/>
                    </a:lnTo>
                    <a:lnTo>
                      <a:pt x="364" y="232"/>
                    </a:lnTo>
                    <a:lnTo>
                      <a:pt x="366" y="225"/>
                    </a:lnTo>
                    <a:lnTo>
                      <a:pt x="370" y="204"/>
                    </a:lnTo>
                    <a:lnTo>
                      <a:pt x="372" y="184"/>
                    </a:lnTo>
                    <a:lnTo>
                      <a:pt x="368" y="183"/>
                    </a:lnTo>
                    <a:lnTo>
                      <a:pt x="363" y="183"/>
                    </a:lnTo>
                    <a:lnTo>
                      <a:pt x="357" y="184"/>
                    </a:lnTo>
                    <a:lnTo>
                      <a:pt x="353" y="186"/>
                    </a:lnTo>
                    <a:lnTo>
                      <a:pt x="341" y="190"/>
                    </a:lnTo>
                    <a:lnTo>
                      <a:pt x="334" y="194"/>
                    </a:lnTo>
                    <a:lnTo>
                      <a:pt x="332" y="204"/>
                    </a:lnTo>
                    <a:lnTo>
                      <a:pt x="332" y="213"/>
                    </a:lnTo>
                    <a:lnTo>
                      <a:pt x="328" y="215"/>
                    </a:lnTo>
                    <a:lnTo>
                      <a:pt x="328" y="221"/>
                    </a:lnTo>
                    <a:lnTo>
                      <a:pt x="328" y="225"/>
                    </a:lnTo>
                    <a:lnTo>
                      <a:pt x="324" y="227"/>
                    </a:lnTo>
                    <a:lnTo>
                      <a:pt x="322" y="227"/>
                    </a:lnTo>
                    <a:lnTo>
                      <a:pt x="320" y="231"/>
                    </a:lnTo>
                    <a:lnTo>
                      <a:pt x="320" y="232"/>
                    </a:lnTo>
                    <a:lnTo>
                      <a:pt x="316" y="234"/>
                    </a:lnTo>
                    <a:lnTo>
                      <a:pt x="315" y="234"/>
                    </a:lnTo>
                    <a:lnTo>
                      <a:pt x="315" y="231"/>
                    </a:lnTo>
                    <a:lnTo>
                      <a:pt x="309" y="231"/>
                    </a:lnTo>
                    <a:lnTo>
                      <a:pt x="305" y="231"/>
                    </a:lnTo>
                    <a:lnTo>
                      <a:pt x="303" y="232"/>
                    </a:lnTo>
                    <a:lnTo>
                      <a:pt x="301" y="236"/>
                    </a:lnTo>
                    <a:lnTo>
                      <a:pt x="295" y="236"/>
                    </a:lnTo>
                    <a:lnTo>
                      <a:pt x="292" y="238"/>
                    </a:lnTo>
                    <a:lnTo>
                      <a:pt x="290" y="242"/>
                    </a:lnTo>
                    <a:lnTo>
                      <a:pt x="290" y="244"/>
                    </a:lnTo>
                    <a:lnTo>
                      <a:pt x="288" y="244"/>
                    </a:lnTo>
                    <a:lnTo>
                      <a:pt x="286" y="244"/>
                    </a:lnTo>
                    <a:lnTo>
                      <a:pt x="286" y="244"/>
                    </a:lnTo>
                    <a:lnTo>
                      <a:pt x="288" y="242"/>
                    </a:lnTo>
                    <a:lnTo>
                      <a:pt x="282" y="242"/>
                    </a:lnTo>
                    <a:lnTo>
                      <a:pt x="278" y="244"/>
                    </a:lnTo>
                    <a:lnTo>
                      <a:pt x="276" y="240"/>
                    </a:lnTo>
                    <a:lnTo>
                      <a:pt x="276" y="236"/>
                    </a:lnTo>
                    <a:lnTo>
                      <a:pt x="268" y="236"/>
                    </a:lnTo>
                    <a:lnTo>
                      <a:pt x="263" y="234"/>
                    </a:lnTo>
                    <a:lnTo>
                      <a:pt x="261" y="231"/>
                    </a:lnTo>
                    <a:lnTo>
                      <a:pt x="259" y="225"/>
                    </a:lnTo>
                    <a:lnTo>
                      <a:pt x="249" y="209"/>
                    </a:lnTo>
                    <a:lnTo>
                      <a:pt x="242" y="192"/>
                    </a:lnTo>
                    <a:lnTo>
                      <a:pt x="240" y="194"/>
                    </a:lnTo>
                    <a:lnTo>
                      <a:pt x="238" y="194"/>
                    </a:lnTo>
                    <a:lnTo>
                      <a:pt x="238" y="188"/>
                    </a:lnTo>
                    <a:lnTo>
                      <a:pt x="238" y="181"/>
                    </a:lnTo>
                    <a:lnTo>
                      <a:pt x="242" y="177"/>
                    </a:lnTo>
                    <a:lnTo>
                      <a:pt x="240" y="167"/>
                    </a:lnTo>
                    <a:lnTo>
                      <a:pt x="238" y="160"/>
                    </a:lnTo>
                    <a:lnTo>
                      <a:pt x="238" y="154"/>
                    </a:lnTo>
                    <a:lnTo>
                      <a:pt x="240" y="150"/>
                    </a:lnTo>
                    <a:lnTo>
                      <a:pt x="238" y="144"/>
                    </a:lnTo>
                    <a:lnTo>
                      <a:pt x="236" y="137"/>
                    </a:lnTo>
                    <a:lnTo>
                      <a:pt x="242" y="131"/>
                    </a:lnTo>
                    <a:lnTo>
                      <a:pt x="247" y="125"/>
                    </a:lnTo>
                    <a:lnTo>
                      <a:pt x="247" y="119"/>
                    </a:lnTo>
                    <a:lnTo>
                      <a:pt x="244" y="113"/>
                    </a:lnTo>
                    <a:lnTo>
                      <a:pt x="242" y="115"/>
                    </a:lnTo>
                    <a:lnTo>
                      <a:pt x="240" y="113"/>
                    </a:lnTo>
                    <a:lnTo>
                      <a:pt x="236" y="110"/>
                    </a:lnTo>
                    <a:lnTo>
                      <a:pt x="230" y="110"/>
                    </a:lnTo>
                    <a:lnTo>
                      <a:pt x="224" y="106"/>
                    </a:lnTo>
                    <a:lnTo>
                      <a:pt x="221" y="102"/>
                    </a:lnTo>
                    <a:lnTo>
                      <a:pt x="221" y="100"/>
                    </a:lnTo>
                    <a:lnTo>
                      <a:pt x="219" y="96"/>
                    </a:lnTo>
                    <a:lnTo>
                      <a:pt x="215" y="87"/>
                    </a:lnTo>
                    <a:lnTo>
                      <a:pt x="215" y="83"/>
                    </a:lnTo>
                    <a:lnTo>
                      <a:pt x="211" y="79"/>
                    </a:lnTo>
                    <a:lnTo>
                      <a:pt x="207" y="73"/>
                    </a:lnTo>
                    <a:lnTo>
                      <a:pt x="205" y="69"/>
                    </a:lnTo>
                    <a:lnTo>
                      <a:pt x="205" y="66"/>
                    </a:lnTo>
                    <a:lnTo>
                      <a:pt x="203" y="62"/>
                    </a:lnTo>
                    <a:lnTo>
                      <a:pt x="199" y="60"/>
                    </a:lnTo>
                    <a:lnTo>
                      <a:pt x="197" y="56"/>
                    </a:lnTo>
                    <a:lnTo>
                      <a:pt x="194" y="52"/>
                    </a:lnTo>
                    <a:lnTo>
                      <a:pt x="192" y="50"/>
                    </a:lnTo>
                    <a:lnTo>
                      <a:pt x="188" y="48"/>
                    </a:lnTo>
                    <a:lnTo>
                      <a:pt x="184" y="48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74" y="52"/>
                    </a:lnTo>
                    <a:lnTo>
                      <a:pt x="173" y="56"/>
                    </a:lnTo>
                    <a:lnTo>
                      <a:pt x="165" y="56"/>
                    </a:lnTo>
                    <a:lnTo>
                      <a:pt x="161" y="54"/>
                    </a:lnTo>
                    <a:lnTo>
                      <a:pt x="155" y="50"/>
                    </a:lnTo>
                    <a:lnTo>
                      <a:pt x="153" y="44"/>
                    </a:lnTo>
                    <a:lnTo>
                      <a:pt x="155" y="41"/>
                    </a:lnTo>
                    <a:lnTo>
                      <a:pt x="151" y="37"/>
                    </a:lnTo>
                    <a:lnTo>
                      <a:pt x="148" y="33"/>
                    </a:lnTo>
                    <a:lnTo>
                      <a:pt x="144" y="31"/>
                    </a:lnTo>
                    <a:lnTo>
                      <a:pt x="140" y="29"/>
                    </a:lnTo>
                    <a:lnTo>
                      <a:pt x="138" y="25"/>
                    </a:lnTo>
                    <a:lnTo>
                      <a:pt x="136" y="23"/>
                    </a:lnTo>
                    <a:lnTo>
                      <a:pt x="136" y="19"/>
                    </a:lnTo>
                    <a:lnTo>
                      <a:pt x="132" y="18"/>
                    </a:lnTo>
                    <a:lnTo>
                      <a:pt x="130" y="18"/>
                    </a:lnTo>
                    <a:lnTo>
                      <a:pt x="105" y="16"/>
                    </a:lnTo>
                    <a:lnTo>
                      <a:pt x="105" y="25"/>
                    </a:lnTo>
                    <a:lnTo>
                      <a:pt x="65" y="21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7" name="Freeform 135"/>
              <p:cNvSpPr>
                <a:spLocks/>
              </p:cNvSpPr>
              <p:nvPr/>
            </p:nvSpPr>
            <p:spPr bwMode="gray">
              <a:xfrm>
                <a:off x="5451271" y="4957764"/>
                <a:ext cx="11111" cy="17463"/>
              </a:xfrm>
              <a:custGeom>
                <a:avLst/>
                <a:gdLst>
                  <a:gd name="T0" fmla="*/ 3 w 7"/>
                  <a:gd name="T1" fmla="*/ 0 h 11"/>
                  <a:gd name="T2" fmla="*/ 2 w 7"/>
                  <a:gd name="T3" fmla="*/ 2 h 11"/>
                  <a:gd name="T4" fmla="*/ 0 w 7"/>
                  <a:gd name="T5" fmla="*/ 2 h 11"/>
                  <a:gd name="T6" fmla="*/ 0 w 7"/>
                  <a:gd name="T7" fmla="*/ 4 h 11"/>
                  <a:gd name="T8" fmla="*/ 0 w 7"/>
                  <a:gd name="T9" fmla="*/ 6 h 11"/>
                  <a:gd name="T10" fmla="*/ 2 w 7"/>
                  <a:gd name="T11" fmla="*/ 9 h 11"/>
                  <a:gd name="T12" fmla="*/ 5 w 7"/>
                  <a:gd name="T13" fmla="*/ 11 h 11"/>
                  <a:gd name="T14" fmla="*/ 5 w 7"/>
                  <a:gd name="T15" fmla="*/ 9 h 11"/>
                  <a:gd name="T16" fmla="*/ 7 w 7"/>
                  <a:gd name="T17" fmla="*/ 6 h 11"/>
                  <a:gd name="T18" fmla="*/ 7 w 7"/>
                  <a:gd name="T19" fmla="*/ 4 h 11"/>
                  <a:gd name="T20" fmla="*/ 7 w 7"/>
                  <a:gd name="T21" fmla="*/ 2 h 11"/>
                  <a:gd name="T22" fmla="*/ 5 w 7"/>
                  <a:gd name="T23" fmla="*/ 0 h 11"/>
                  <a:gd name="T24" fmla="*/ 3 w 7"/>
                  <a:gd name="T2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1">
                    <a:moveTo>
                      <a:pt x="3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5" y="11"/>
                    </a:lnTo>
                    <a:lnTo>
                      <a:pt x="5" y="9"/>
                    </a:lnTo>
                    <a:lnTo>
                      <a:pt x="7" y="6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8" name="Freeform 136"/>
              <p:cNvSpPr>
                <a:spLocks/>
              </p:cNvSpPr>
              <p:nvPr/>
            </p:nvSpPr>
            <p:spPr bwMode="gray">
              <a:xfrm>
                <a:off x="3990934" y="3781426"/>
                <a:ext cx="244448" cy="301625"/>
              </a:xfrm>
              <a:custGeom>
                <a:avLst/>
                <a:gdLst>
                  <a:gd name="T0" fmla="*/ 4 w 154"/>
                  <a:gd name="T1" fmla="*/ 100 h 190"/>
                  <a:gd name="T2" fmla="*/ 6 w 154"/>
                  <a:gd name="T3" fmla="*/ 115 h 190"/>
                  <a:gd name="T4" fmla="*/ 8 w 154"/>
                  <a:gd name="T5" fmla="*/ 133 h 190"/>
                  <a:gd name="T6" fmla="*/ 10 w 154"/>
                  <a:gd name="T7" fmla="*/ 154 h 190"/>
                  <a:gd name="T8" fmla="*/ 12 w 154"/>
                  <a:gd name="T9" fmla="*/ 163 h 190"/>
                  <a:gd name="T10" fmla="*/ 20 w 154"/>
                  <a:gd name="T11" fmla="*/ 159 h 190"/>
                  <a:gd name="T12" fmla="*/ 27 w 154"/>
                  <a:gd name="T13" fmla="*/ 161 h 190"/>
                  <a:gd name="T14" fmla="*/ 37 w 154"/>
                  <a:gd name="T15" fmla="*/ 161 h 190"/>
                  <a:gd name="T16" fmla="*/ 43 w 154"/>
                  <a:gd name="T17" fmla="*/ 167 h 190"/>
                  <a:gd name="T18" fmla="*/ 44 w 154"/>
                  <a:gd name="T19" fmla="*/ 175 h 190"/>
                  <a:gd name="T20" fmla="*/ 50 w 154"/>
                  <a:gd name="T21" fmla="*/ 177 h 190"/>
                  <a:gd name="T22" fmla="*/ 54 w 154"/>
                  <a:gd name="T23" fmla="*/ 184 h 190"/>
                  <a:gd name="T24" fmla="*/ 60 w 154"/>
                  <a:gd name="T25" fmla="*/ 188 h 190"/>
                  <a:gd name="T26" fmla="*/ 62 w 154"/>
                  <a:gd name="T27" fmla="*/ 190 h 190"/>
                  <a:gd name="T28" fmla="*/ 68 w 154"/>
                  <a:gd name="T29" fmla="*/ 186 h 190"/>
                  <a:gd name="T30" fmla="*/ 68 w 154"/>
                  <a:gd name="T31" fmla="*/ 177 h 190"/>
                  <a:gd name="T32" fmla="*/ 73 w 154"/>
                  <a:gd name="T33" fmla="*/ 177 h 190"/>
                  <a:gd name="T34" fmla="*/ 83 w 154"/>
                  <a:gd name="T35" fmla="*/ 179 h 190"/>
                  <a:gd name="T36" fmla="*/ 89 w 154"/>
                  <a:gd name="T37" fmla="*/ 177 h 190"/>
                  <a:gd name="T38" fmla="*/ 89 w 154"/>
                  <a:gd name="T39" fmla="*/ 171 h 190"/>
                  <a:gd name="T40" fmla="*/ 92 w 154"/>
                  <a:gd name="T41" fmla="*/ 171 h 190"/>
                  <a:gd name="T42" fmla="*/ 140 w 154"/>
                  <a:gd name="T43" fmla="*/ 171 h 190"/>
                  <a:gd name="T44" fmla="*/ 144 w 154"/>
                  <a:gd name="T45" fmla="*/ 163 h 190"/>
                  <a:gd name="T46" fmla="*/ 142 w 154"/>
                  <a:gd name="T47" fmla="*/ 159 h 190"/>
                  <a:gd name="T48" fmla="*/ 140 w 154"/>
                  <a:gd name="T49" fmla="*/ 159 h 190"/>
                  <a:gd name="T50" fmla="*/ 154 w 154"/>
                  <a:gd name="T51" fmla="*/ 31 h 190"/>
                  <a:gd name="T52" fmla="*/ 112 w 154"/>
                  <a:gd name="T53" fmla="*/ 23 h 190"/>
                  <a:gd name="T54" fmla="*/ 64 w 154"/>
                  <a:gd name="T55" fmla="*/ 58 h 190"/>
                  <a:gd name="T56" fmla="*/ 58 w 154"/>
                  <a:gd name="T57" fmla="*/ 58 h 190"/>
                  <a:gd name="T58" fmla="*/ 52 w 154"/>
                  <a:gd name="T59" fmla="*/ 60 h 190"/>
                  <a:gd name="T60" fmla="*/ 50 w 154"/>
                  <a:gd name="T61" fmla="*/ 65 h 190"/>
                  <a:gd name="T62" fmla="*/ 50 w 154"/>
                  <a:gd name="T63" fmla="*/ 90 h 190"/>
                  <a:gd name="T64" fmla="*/ 4 w 154"/>
                  <a:gd name="T65" fmla="*/ 92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4" h="190">
                    <a:moveTo>
                      <a:pt x="0" y="94"/>
                    </a:moveTo>
                    <a:lnTo>
                      <a:pt x="4" y="100"/>
                    </a:lnTo>
                    <a:lnTo>
                      <a:pt x="8" y="106"/>
                    </a:lnTo>
                    <a:lnTo>
                      <a:pt x="6" y="115"/>
                    </a:lnTo>
                    <a:lnTo>
                      <a:pt x="6" y="123"/>
                    </a:lnTo>
                    <a:lnTo>
                      <a:pt x="8" y="133"/>
                    </a:lnTo>
                    <a:lnTo>
                      <a:pt x="10" y="144"/>
                    </a:lnTo>
                    <a:lnTo>
                      <a:pt x="10" y="154"/>
                    </a:lnTo>
                    <a:lnTo>
                      <a:pt x="8" y="165"/>
                    </a:lnTo>
                    <a:lnTo>
                      <a:pt x="12" y="163"/>
                    </a:lnTo>
                    <a:lnTo>
                      <a:pt x="16" y="161"/>
                    </a:lnTo>
                    <a:lnTo>
                      <a:pt x="20" y="159"/>
                    </a:lnTo>
                    <a:lnTo>
                      <a:pt x="23" y="161"/>
                    </a:lnTo>
                    <a:lnTo>
                      <a:pt x="27" y="161"/>
                    </a:lnTo>
                    <a:lnTo>
                      <a:pt x="31" y="159"/>
                    </a:lnTo>
                    <a:lnTo>
                      <a:pt x="37" y="161"/>
                    </a:lnTo>
                    <a:lnTo>
                      <a:pt x="39" y="163"/>
                    </a:lnTo>
                    <a:lnTo>
                      <a:pt x="43" y="167"/>
                    </a:lnTo>
                    <a:lnTo>
                      <a:pt x="43" y="171"/>
                    </a:lnTo>
                    <a:lnTo>
                      <a:pt x="44" y="175"/>
                    </a:lnTo>
                    <a:lnTo>
                      <a:pt x="48" y="175"/>
                    </a:lnTo>
                    <a:lnTo>
                      <a:pt x="50" y="177"/>
                    </a:lnTo>
                    <a:lnTo>
                      <a:pt x="50" y="182"/>
                    </a:lnTo>
                    <a:lnTo>
                      <a:pt x="54" y="184"/>
                    </a:lnTo>
                    <a:lnTo>
                      <a:pt x="58" y="186"/>
                    </a:lnTo>
                    <a:lnTo>
                      <a:pt x="60" y="188"/>
                    </a:lnTo>
                    <a:lnTo>
                      <a:pt x="62" y="190"/>
                    </a:lnTo>
                    <a:lnTo>
                      <a:pt x="62" y="190"/>
                    </a:lnTo>
                    <a:lnTo>
                      <a:pt x="66" y="190"/>
                    </a:lnTo>
                    <a:lnTo>
                      <a:pt x="68" y="186"/>
                    </a:lnTo>
                    <a:lnTo>
                      <a:pt x="68" y="181"/>
                    </a:lnTo>
                    <a:lnTo>
                      <a:pt x="68" y="177"/>
                    </a:lnTo>
                    <a:lnTo>
                      <a:pt x="69" y="175"/>
                    </a:lnTo>
                    <a:lnTo>
                      <a:pt x="73" y="177"/>
                    </a:lnTo>
                    <a:lnTo>
                      <a:pt x="79" y="179"/>
                    </a:lnTo>
                    <a:lnTo>
                      <a:pt x="83" y="179"/>
                    </a:lnTo>
                    <a:lnTo>
                      <a:pt x="85" y="179"/>
                    </a:lnTo>
                    <a:lnTo>
                      <a:pt x="89" y="177"/>
                    </a:lnTo>
                    <a:lnTo>
                      <a:pt x="89" y="175"/>
                    </a:lnTo>
                    <a:lnTo>
                      <a:pt x="89" y="171"/>
                    </a:lnTo>
                    <a:lnTo>
                      <a:pt x="91" y="169"/>
                    </a:lnTo>
                    <a:lnTo>
                      <a:pt x="92" y="171"/>
                    </a:lnTo>
                    <a:lnTo>
                      <a:pt x="94" y="173"/>
                    </a:lnTo>
                    <a:lnTo>
                      <a:pt x="140" y="171"/>
                    </a:lnTo>
                    <a:lnTo>
                      <a:pt x="140" y="171"/>
                    </a:lnTo>
                    <a:lnTo>
                      <a:pt x="144" y="163"/>
                    </a:lnTo>
                    <a:lnTo>
                      <a:pt x="144" y="161"/>
                    </a:lnTo>
                    <a:lnTo>
                      <a:pt x="142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31" y="33"/>
                    </a:lnTo>
                    <a:lnTo>
                      <a:pt x="154" y="31"/>
                    </a:lnTo>
                    <a:lnTo>
                      <a:pt x="112" y="0"/>
                    </a:lnTo>
                    <a:lnTo>
                      <a:pt x="112" y="23"/>
                    </a:lnTo>
                    <a:lnTo>
                      <a:pt x="66" y="23"/>
                    </a:lnTo>
                    <a:lnTo>
                      <a:pt x="64" y="58"/>
                    </a:lnTo>
                    <a:lnTo>
                      <a:pt x="62" y="58"/>
                    </a:lnTo>
                    <a:lnTo>
                      <a:pt x="58" y="58"/>
                    </a:lnTo>
                    <a:lnTo>
                      <a:pt x="54" y="60"/>
                    </a:lnTo>
                    <a:lnTo>
                      <a:pt x="52" y="60"/>
                    </a:lnTo>
                    <a:lnTo>
                      <a:pt x="50" y="63"/>
                    </a:lnTo>
                    <a:lnTo>
                      <a:pt x="50" y="65"/>
                    </a:lnTo>
                    <a:lnTo>
                      <a:pt x="50" y="83"/>
                    </a:lnTo>
                    <a:lnTo>
                      <a:pt x="50" y="90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0" y="9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39" name="Freeform 137"/>
              <p:cNvSpPr>
                <a:spLocks/>
              </p:cNvSpPr>
              <p:nvPr/>
            </p:nvSpPr>
            <p:spPr bwMode="gray">
              <a:xfrm>
                <a:off x="4086173" y="3830639"/>
                <a:ext cx="325401" cy="387350"/>
              </a:xfrm>
              <a:custGeom>
                <a:avLst/>
                <a:gdLst>
                  <a:gd name="T0" fmla="*/ 63 w 205"/>
                  <a:gd name="T1" fmla="*/ 240 h 244"/>
                  <a:gd name="T2" fmla="*/ 69 w 205"/>
                  <a:gd name="T3" fmla="*/ 234 h 244"/>
                  <a:gd name="T4" fmla="*/ 77 w 205"/>
                  <a:gd name="T5" fmla="*/ 236 h 244"/>
                  <a:gd name="T6" fmla="*/ 82 w 205"/>
                  <a:gd name="T7" fmla="*/ 226 h 244"/>
                  <a:gd name="T8" fmla="*/ 86 w 205"/>
                  <a:gd name="T9" fmla="*/ 213 h 244"/>
                  <a:gd name="T10" fmla="*/ 86 w 205"/>
                  <a:gd name="T11" fmla="*/ 203 h 244"/>
                  <a:gd name="T12" fmla="*/ 92 w 205"/>
                  <a:gd name="T13" fmla="*/ 197 h 244"/>
                  <a:gd name="T14" fmla="*/ 96 w 205"/>
                  <a:gd name="T15" fmla="*/ 188 h 244"/>
                  <a:gd name="T16" fmla="*/ 105 w 205"/>
                  <a:gd name="T17" fmla="*/ 180 h 244"/>
                  <a:gd name="T18" fmla="*/ 117 w 205"/>
                  <a:gd name="T19" fmla="*/ 173 h 244"/>
                  <a:gd name="T20" fmla="*/ 125 w 205"/>
                  <a:gd name="T21" fmla="*/ 163 h 244"/>
                  <a:gd name="T22" fmla="*/ 132 w 205"/>
                  <a:gd name="T23" fmla="*/ 151 h 244"/>
                  <a:gd name="T24" fmla="*/ 138 w 205"/>
                  <a:gd name="T25" fmla="*/ 146 h 244"/>
                  <a:gd name="T26" fmla="*/ 142 w 205"/>
                  <a:gd name="T27" fmla="*/ 146 h 244"/>
                  <a:gd name="T28" fmla="*/ 150 w 205"/>
                  <a:gd name="T29" fmla="*/ 150 h 244"/>
                  <a:gd name="T30" fmla="*/ 155 w 205"/>
                  <a:gd name="T31" fmla="*/ 150 h 244"/>
                  <a:gd name="T32" fmla="*/ 169 w 205"/>
                  <a:gd name="T33" fmla="*/ 146 h 244"/>
                  <a:gd name="T34" fmla="*/ 192 w 205"/>
                  <a:gd name="T35" fmla="*/ 140 h 244"/>
                  <a:gd name="T36" fmla="*/ 201 w 205"/>
                  <a:gd name="T37" fmla="*/ 136 h 244"/>
                  <a:gd name="T38" fmla="*/ 205 w 205"/>
                  <a:gd name="T39" fmla="*/ 126 h 244"/>
                  <a:gd name="T40" fmla="*/ 190 w 205"/>
                  <a:gd name="T41" fmla="*/ 92 h 244"/>
                  <a:gd name="T42" fmla="*/ 190 w 205"/>
                  <a:gd name="T43" fmla="*/ 82 h 244"/>
                  <a:gd name="T44" fmla="*/ 186 w 205"/>
                  <a:gd name="T45" fmla="*/ 71 h 244"/>
                  <a:gd name="T46" fmla="*/ 174 w 205"/>
                  <a:gd name="T47" fmla="*/ 63 h 244"/>
                  <a:gd name="T48" fmla="*/ 71 w 205"/>
                  <a:gd name="T49" fmla="*/ 2 h 244"/>
                  <a:gd name="T50" fmla="*/ 82 w 205"/>
                  <a:gd name="T51" fmla="*/ 128 h 244"/>
                  <a:gd name="T52" fmla="*/ 80 w 205"/>
                  <a:gd name="T53" fmla="*/ 140 h 244"/>
                  <a:gd name="T54" fmla="*/ 32 w 205"/>
                  <a:gd name="T55" fmla="*/ 140 h 244"/>
                  <a:gd name="T56" fmla="*/ 29 w 205"/>
                  <a:gd name="T57" fmla="*/ 144 h 244"/>
                  <a:gd name="T58" fmla="*/ 23 w 205"/>
                  <a:gd name="T59" fmla="*/ 148 h 244"/>
                  <a:gd name="T60" fmla="*/ 9 w 205"/>
                  <a:gd name="T61" fmla="*/ 144 h 244"/>
                  <a:gd name="T62" fmla="*/ 8 w 205"/>
                  <a:gd name="T63" fmla="*/ 155 h 244"/>
                  <a:gd name="T64" fmla="*/ 2 w 205"/>
                  <a:gd name="T65" fmla="*/ 159 h 244"/>
                  <a:gd name="T66" fmla="*/ 2 w 205"/>
                  <a:gd name="T67" fmla="*/ 173 h 244"/>
                  <a:gd name="T68" fmla="*/ 2 w 205"/>
                  <a:gd name="T69" fmla="*/ 182 h 244"/>
                  <a:gd name="T70" fmla="*/ 6 w 205"/>
                  <a:gd name="T71" fmla="*/ 194 h 244"/>
                  <a:gd name="T72" fmla="*/ 11 w 205"/>
                  <a:gd name="T73" fmla="*/ 201 h 244"/>
                  <a:gd name="T74" fmla="*/ 17 w 205"/>
                  <a:gd name="T75" fmla="*/ 201 h 244"/>
                  <a:gd name="T76" fmla="*/ 23 w 205"/>
                  <a:gd name="T77" fmla="*/ 199 h 244"/>
                  <a:gd name="T78" fmla="*/ 34 w 205"/>
                  <a:gd name="T79" fmla="*/ 201 h 244"/>
                  <a:gd name="T80" fmla="*/ 36 w 205"/>
                  <a:gd name="T81" fmla="*/ 209 h 244"/>
                  <a:gd name="T82" fmla="*/ 38 w 205"/>
                  <a:gd name="T83" fmla="*/ 219 h 244"/>
                  <a:gd name="T84" fmla="*/ 44 w 205"/>
                  <a:gd name="T85" fmla="*/ 224 h 244"/>
                  <a:gd name="T86" fmla="*/ 36 w 205"/>
                  <a:gd name="T87" fmla="*/ 232 h 244"/>
                  <a:gd name="T88" fmla="*/ 46 w 205"/>
                  <a:gd name="T89" fmla="*/ 234 h 244"/>
                  <a:gd name="T90" fmla="*/ 54 w 205"/>
                  <a:gd name="T91" fmla="*/ 242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44">
                    <a:moveTo>
                      <a:pt x="57" y="244"/>
                    </a:moveTo>
                    <a:lnTo>
                      <a:pt x="59" y="242"/>
                    </a:lnTo>
                    <a:lnTo>
                      <a:pt x="63" y="240"/>
                    </a:lnTo>
                    <a:lnTo>
                      <a:pt x="65" y="240"/>
                    </a:lnTo>
                    <a:lnTo>
                      <a:pt x="65" y="242"/>
                    </a:lnTo>
                    <a:lnTo>
                      <a:pt x="69" y="234"/>
                    </a:lnTo>
                    <a:lnTo>
                      <a:pt x="71" y="232"/>
                    </a:lnTo>
                    <a:lnTo>
                      <a:pt x="73" y="234"/>
                    </a:lnTo>
                    <a:lnTo>
                      <a:pt x="77" y="236"/>
                    </a:lnTo>
                    <a:lnTo>
                      <a:pt x="79" y="232"/>
                    </a:lnTo>
                    <a:lnTo>
                      <a:pt x="80" y="230"/>
                    </a:lnTo>
                    <a:lnTo>
                      <a:pt x="82" y="226"/>
                    </a:lnTo>
                    <a:lnTo>
                      <a:pt x="82" y="221"/>
                    </a:lnTo>
                    <a:lnTo>
                      <a:pt x="84" y="215"/>
                    </a:lnTo>
                    <a:lnTo>
                      <a:pt x="86" y="213"/>
                    </a:lnTo>
                    <a:lnTo>
                      <a:pt x="84" y="209"/>
                    </a:lnTo>
                    <a:lnTo>
                      <a:pt x="84" y="205"/>
                    </a:lnTo>
                    <a:lnTo>
                      <a:pt x="86" y="203"/>
                    </a:lnTo>
                    <a:lnTo>
                      <a:pt x="86" y="201"/>
                    </a:lnTo>
                    <a:lnTo>
                      <a:pt x="90" y="197"/>
                    </a:lnTo>
                    <a:lnTo>
                      <a:pt x="92" y="197"/>
                    </a:lnTo>
                    <a:lnTo>
                      <a:pt x="94" y="199"/>
                    </a:lnTo>
                    <a:lnTo>
                      <a:pt x="94" y="196"/>
                    </a:lnTo>
                    <a:lnTo>
                      <a:pt x="96" y="188"/>
                    </a:lnTo>
                    <a:lnTo>
                      <a:pt x="98" y="184"/>
                    </a:lnTo>
                    <a:lnTo>
                      <a:pt x="102" y="182"/>
                    </a:lnTo>
                    <a:lnTo>
                      <a:pt x="105" y="180"/>
                    </a:lnTo>
                    <a:lnTo>
                      <a:pt x="111" y="178"/>
                    </a:lnTo>
                    <a:lnTo>
                      <a:pt x="115" y="176"/>
                    </a:lnTo>
                    <a:lnTo>
                      <a:pt x="117" y="173"/>
                    </a:lnTo>
                    <a:lnTo>
                      <a:pt x="117" y="169"/>
                    </a:lnTo>
                    <a:lnTo>
                      <a:pt x="121" y="165"/>
                    </a:lnTo>
                    <a:lnTo>
                      <a:pt x="125" y="163"/>
                    </a:lnTo>
                    <a:lnTo>
                      <a:pt x="126" y="161"/>
                    </a:lnTo>
                    <a:lnTo>
                      <a:pt x="128" y="155"/>
                    </a:lnTo>
                    <a:lnTo>
                      <a:pt x="132" y="151"/>
                    </a:lnTo>
                    <a:lnTo>
                      <a:pt x="136" y="151"/>
                    </a:lnTo>
                    <a:lnTo>
                      <a:pt x="138" y="148"/>
                    </a:lnTo>
                    <a:lnTo>
                      <a:pt x="138" y="146"/>
                    </a:lnTo>
                    <a:lnTo>
                      <a:pt x="140" y="146"/>
                    </a:lnTo>
                    <a:lnTo>
                      <a:pt x="142" y="144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8" y="146"/>
                    </a:lnTo>
                    <a:lnTo>
                      <a:pt x="150" y="150"/>
                    </a:lnTo>
                    <a:lnTo>
                      <a:pt x="151" y="151"/>
                    </a:lnTo>
                    <a:lnTo>
                      <a:pt x="153" y="151"/>
                    </a:lnTo>
                    <a:lnTo>
                      <a:pt x="155" y="150"/>
                    </a:lnTo>
                    <a:lnTo>
                      <a:pt x="157" y="150"/>
                    </a:lnTo>
                    <a:lnTo>
                      <a:pt x="163" y="148"/>
                    </a:lnTo>
                    <a:lnTo>
                      <a:pt x="169" y="146"/>
                    </a:lnTo>
                    <a:lnTo>
                      <a:pt x="176" y="146"/>
                    </a:lnTo>
                    <a:lnTo>
                      <a:pt x="186" y="142"/>
                    </a:lnTo>
                    <a:lnTo>
                      <a:pt x="192" y="140"/>
                    </a:lnTo>
                    <a:lnTo>
                      <a:pt x="199" y="140"/>
                    </a:lnTo>
                    <a:lnTo>
                      <a:pt x="199" y="138"/>
                    </a:lnTo>
                    <a:lnTo>
                      <a:pt x="201" y="136"/>
                    </a:lnTo>
                    <a:lnTo>
                      <a:pt x="201" y="130"/>
                    </a:lnTo>
                    <a:lnTo>
                      <a:pt x="201" y="128"/>
                    </a:lnTo>
                    <a:lnTo>
                      <a:pt x="205" y="126"/>
                    </a:lnTo>
                    <a:lnTo>
                      <a:pt x="203" y="90"/>
                    </a:lnTo>
                    <a:lnTo>
                      <a:pt x="197" y="92"/>
                    </a:lnTo>
                    <a:lnTo>
                      <a:pt x="190" y="92"/>
                    </a:lnTo>
                    <a:lnTo>
                      <a:pt x="192" y="90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79"/>
                    </a:lnTo>
                    <a:lnTo>
                      <a:pt x="190" y="75"/>
                    </a:lnTo>
                    <a:lnTo>
                      <a:pt x="186" y="71"/>
                    </a:lnTo>
                    <a:lnTo>
                      <a:pt x="182" y="69"/>
                    </a:lnTo>
                    <a:lnTo>
                      <a:pt x="176" y="67"/>
                    </a:lnTo>
                    <a:lnTo>
                      <a:pt x="174" y="63"/>
                    </a:lnTo>
                    <a:lnTo>
                      <a:pt x="173" y="61"/>
                    </a:lnTo>
                    <a:lnTo>
                      <a:pt x="94" y="0"/>
                    </a:lnTo>
                    <a:lnTo>
                      <a:pt x="71" y="2"/>
                    </a:lnTo>
                    <a:lnTo>
                      <a:pt x="80" y="128"/>
                    </a:lnTo>
                    <a:lnTo>
                      <a:pt x="80" y="128"/>
                    </a:lnTo>
                    <a:lnTo>
                      <a:pt x="82" y="128"/>
                    </a:lnTo>
                    <a:lnTo>
                      <a:pt x="84" y="130"/>
                    </a:lnTo>
                    <a:lnTo>
                      <a:pt x="84" y="132"/>
                    </a:lnTo>
                    <a:lnTo>
                      <a:pt x="80" y="140"/>
                    </a:lnTo>
                    <a:lnTo>
                      <a:pt x="80" y="140"/>
                    </a:lnTo>
                    <a:lnTo>
                      <a:pt x="34" y="142"/>
                    </a:lnTo>
                    <a:lnTo>
                      <a:pt x="32" y="140"/>
                    </a:lnTo>
                    <a:lnTo>
                      <a:pt x="31" y="138"/>
                    </a:lnTo>
                    <a:lnTo>
                      <a:pt x="29" y="140"/>
                    </a:lnTo>
                    <a:lnTo>
                      <a:pt x="29" y="144"/>
                    </a:lnTo>
                    <a:lnTo>
                      <a:pt x="29" y="146"/>
                    </a:lnTo>
                    <a:lnTo>
                      <a:pt x="25" y="148"/>
                    </a:lnTo>
                    <a:lnTo>
                      <a:pt x="23" y="148"/>
                    </a:lnTo>
                    <a:lnTo>
                      <a:pt x="19" y="148"/>
                    </a:lnTo>
                    <a:lnTo>
                      <a:pt x="13" y="146"/>
                    </a:lnTo>
                    <a:lnTo>
                      <a:pt x="9" y="144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55"/>
                    </a:lnTo>
                    <a:lnTo>
                      <a:pt x="6" y="159"/>
                    </a:lnTo>
                    <a:lnTo>
                      <a:pt x="2" y="159"/>
                    </a:lnTo>
                    <a:lnTo>
                      <a:pt x="2" y="159"/>
                    </a:lnTo>
                    <a:lnTo>
                      <a:pt x="0" y="163"/>
                    </a:lnTo>
                    <a:lnTo>
                      <a:pt x="2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80"/>
                    </a:lnTo>
                    <a:lnTo>
                      <a:pt x="2" y="182"/>
                    </a:lnTo>
                    <a:lnTo>
                      <a:pt x="4" y="186"/>
                    </a:lnTo>
                    <a:lnTo>
                      <a:pt x="6" y="188"/>
                    </a:lnTo>
                    <a:lnTo>
                      <a:pt x="6" y="194"/>
                    </a:lnTo>
                    <a:lnTo>
                      <a:pt x="8" y="197"/>
                    </a:lnTo>
                    <a:lnTo>
                      <a:pt x="8" y="201"/>
                    </a:lnTo>
                    <a:lnTo>
                      <a:pt x="11" y="201"/>
                    </a:lnTo>
                    <a:lnTo>
                      <a:pt x="11" y="201"/>
                    </a:lnTo>
                    <a:lnTo>
                      <a:pt x="15" y="199"/>
                    </a:lnTo>
                    <a:lnTo>
                      <a:pt x="17" y="201"/>
                    </a:lnTo>
                    <a:lnTo>
                      <a:pt x="21" y="203"/>
                    </a:lnTo>
                    <a:lnTo>
                      <a:pt x="23" y="201"/>
                    </a:lnTo>
                    <a:lnTo>
                      <a:pt x="23" y="199"/>
                    </a:lnTo>
                    <a:lnTo>
                      <a:pt x="25" y="199"/>
                    </a:lnTo>
                    <a:lnTo>
                      <a:pt x="31" y="201"/>
                    </a:lnTo>
                    <a:lnTo>
                      <a:pt x="34" y="201"/>
                    </a:lnTo>
                    <a:lnTo>
                      <a:pt x="34" y="201"/>
                    </a:lnTo>
                    <a:lnTo>
                      <a:pt x="36" y="203"/>
                    </a:lnTo>
                    <a:lnTo>
                      <a:pt x="36" y="209"/>
                    </a:lnTo>
                    <a:lnTo>
                      <a:pt x="36" y="213"/>
                    </a:lnTo>
                    <a:lnTo>
                      <a:pt x="34" y="217"/>
                    </a:lnTo>
                    <a:lnTo>
                      <a:pt x="38" y="219"/>
                    </a:lnTo>
                    <a:lnTo>
                      <a:pt x="38" y="222"/>
                    </a:lnTo>
                    <a:lnTo>
                      <a:pt x="40" y="224"/>
                    </a:lnTo>
                    <a:lnTo>
                      <a:pt x="44" y="224"/>
                    </a:lnTo>
                    <a:lnTo>
                      <a:pt x="34" y="230"/>
                    </a:lnTo>
                    <a:lnTo>
                      <a:pt x="34" y="230"/>
                    </a:lnTo>
                    <a:lnTo>
                      <a:pt x="36" y="232"/>
                    </a:lnTo>
                    <a:lnTo>
                      <a:pt x="40" y="230"/>
                    </a:lnTo>
                    <a:lnTo>
                      <a:pt x="42" y="232"/>
                    </a:lnTo>
                    <a:lnTo>
                      <a:pt x="46" y="234"/>
                    </a:lnTo>
                    <a:lnTo>
                      <a:pt x="48" y="236"/>
                    </a:lnTo>
                    <a:lnTo>
                      <a:pt x="50" y="240"/>
                    </a:lnTo>
                    <a:lnTo>
                      <a:pt x="54" y="242"/>
                    </a:lnTo>
                    <a:lnTo>
                      <a:pt x="57" y="244"/>
                    </a:lnTo>
                    <a:lnTo>
                      <a:pt x="57" y="24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0" name="Freeform 138"/>
              <p:cNvSpPr>
                <a:spLocks noEditPoints="1"/>
              </p:cNvSpPr>
              <p:nvPr/>
            </p:nvSpPr>
            <p:spPr bwMode="gray">
              <a:xfrm>
                <a:off x="6316362" y="4291014"/>
                <a:ext cx="365084" cy="146050"/>
              </a:xfrm>
              <a:custGeom>
                <a:avLst/>
                <a:gdLst>
                  <a:gd name="T0" fmla="*/ 190 w 230"/>
                  <a:gd name="T1" fmla="*/ 40 h 92"/>
                  <a:gd name="T2" fmla="*/ 184 w 230"/>
                  <a:gd name="T3" fmla="*/ 40 h 92"/>
                  <a:gd name="T4" fmla="*/ 180 w 230"/>
                  <a:gd name="T5" fmla="*/ 44 h 92"/>
                  <a:gd name="T6" fmla="*/ 172 w 230"/>
                  <a:gd name="T7" fmla="*/ 40 h 92"/>
                  <a:gd name="T8" fmla="*/ 169 w 230"/>
                  <a:gd name="T9" fmla="*/ 40 h 92"/>
                  <a:gd name="T10" fmla="*/ 157 w 230"/>
                  <a:gd name="T11" fmla="*/ 61 h 92"/>
                  <a:gd name="T12" fmla="*/ 145 w 230"/>
                  <a:gd name="T13" fmla="*/ 61 h 92"/>
                  <a:gd name="T14" fmla="*/ 138 w 230"/>
                  <a:gd name="T15" fmla="*/ 65 h 92"/>
                  <a:gd name="T16" fmla="*/ 134 w 230"/>
                  <a:gd name="T17" fmla="*/ 71 h 92"/>
                  <a:gd name="T18" fmla="*/ 132 w 230"/>
                  <a:gd name="T19" fmla="*/ 84 h 92"/>
                  <a:gd name="T20" fmla="*/ 113 w 230"/>
                  <a:gd name="T21" fmla="*/ 74 h 92"/>
                  <a:gd name="T22" fmla="*/ 117 w 230"/>
                  <a:gd name="T23" fmla="*/ 88 h 92"/>
                  <a:gd name="T24" fmla="*/ 124 w 230"/>
                  <a:gd name="T25" fmla="*/ 92 h 92"/>
                  <a:gd name="T26" fmla="*/ 136 w 230"/>
                  <a:gd name="T27" fmla="*/ 92 h 92"/>
                  <a:gd name="T28" fmla="*/ 145 w 230"/>
                  <a:gd name="T29" fmla="*/ 88 h 92"/>
                  <a:gd name="T30" fmla="*/ 155 w 230"/>
                  <a:gd name="T31" fmla="*/ 88 h 92"/>
                  <a:gd name="T32" fmla="*/ 169 w 230"/>
                  <a:gd name="T33" fmla="*/ 84 h 92"/>
                  <a:gd name="T34" fmla="*/ 172 w 230"/>
                  <a:gd name="T35" fmla="*/ 74 h 92"/>
                  <a:gd name="T36" fmla="*/ 178 w 230"/>
                  <a:gd name="T37" fmla="*/ 69 h 92"/>
                  <a:gd name="T38" fmla="*/ 182 w 230"/>
                  <a:gd name="T39" fmla="*/ 61 h 92"/>
                  <a:gd name="T40" fmla="*/ 188 w 230"/>
                  <a:gd name="T41" fmla="*/ 50 h 92"/>
                  <a:gd name="T42" fmla="*/ 199 w 230"/>
                  <a:gd name="T43" fmla="*/ 46 h 92"/>
                  <a:gd name="T44" fmla="*/ 207 w 230"/>
                  <a:gd name="T45" fmla="*/ 44 h 92"/>
                  <a:gd name="T46" fmla="*/ 217 w 230"/>
                  <a:gd name="T47" fmla="*/ 42 h 92"/>
                  <a:gd name="T48" fmla="*/ 218 w 230"/>
                  <a:gd name="T49" fmla="*/ 30 h 92"/>
                  <a:gd name="T50" fmla="*/ 224 w 230"/>
                  <a:gd name="T51" fmla="*/ 32 h 92"/>
                  <a:gd name="T52" fmla="*/ 230 w 230"/>
                  <a:gd name="T53" fmla="*/ 28 h 92"/>
                  <a:gd name="T54" fmla="*/ 224 w 230"/>
                  <a:gd name="T55" fmla="*/ 19 h 92"/>
                  <a:gd name="T56" fmla="*/ 215 w 230"/>
                  <a:gd name="T57" fmla="*/ 15 h 92"/>
                  <a:gd name="T58" fmla="*/ 217 w 230"/>
                  <a:gd name="T59" fmla="*/ 9 h 92"/>
                  <a:gd name="T60" fmla="*/ 199 w 230"/>
                  <a:gd name="T61" fmla="*/ 0 h 92"/>
                  <a:gd name="T62" fmla="*/ 199 w 230"/>
                  <a:gd name="T63" fmla="*/ 7 h 92"/>
                  <a:gd name="T64" fmla="*/ 192 w 230"/>
                  <a:gd name="T65" fmla="*/ 15 h 92"/>
                  <a:gd name="T66" fmla="*/ 188 w 230"/>
                  <a:gd name="T67" fmla="*/ 26 h 92"/>
                  <a:gd name="T68" fmla="*/ 186 w 230"/>
                  <a:gd name="T69" fmla="*/ 32 h 92"/>
                  <a:gd name="T70" fmla="*/ 38 w 230"/>
                  <a:gd name="T71" fmla="*/ 76 h 92"/>
                  <a:gd name="T72" fmla="*/ 44 w 230"/>
                  <a:gd name="T73" fmla="*/ 71 h 92"/>
                  <a:gd name="T74" fmla="*/ 38 w 230"/>
                  <a:gd name="T75" fmla="*/ 63 h 92"/>
                  <a:gd name="T76" fmla="*/ 36 w 230"/>
                  <a:gd name="T77" fmla="*/ 48 h 92"/>
                  <a:gd name="T78" fmla="*/ 38 w 230"/>
                  <a:gd name="T79" fmla="*/ 38 h 92"/>
                  <a:gd name="T80" fmla="*/ 32 w 230"/>
                  <a:gd name="T81" fmla="*/ 23 h 92"/>
                  <a:gd name="T82" fmla="*/ 25 w 230"/>
                  <a:gd name="T83" fmla="*/ 13 h 92"/>
                  <a:gd name="T84" fmla="*/ 19 w 230"/>
                  <a:gd name="T85" fmla="*/ 13 h 92"/>
                  <a:gd name="T86" fmla="*/ 13 w 230"/>
                  <a:gd name="T87" fmla="*/ 19 h 92"/>
                  <a:gd name="T88" fmla="*/ 9 w 230"/>
                  <a:gd name="T89" fmla="*/ 23 h 92"/>
                  <a:gd name="T90" fmla="*/ 3 w 230"/>
                  <a:gd name="T91" fmla="*/ 13 h 92"/>
                  <a:gd name="T92" fmla="*/ 0 w 230"/>
                  <a:gd name="T93" fmla="*/ 23 h 92"/>
                  <a:gd name="T94" fmla="*/ 2 w 230"/>
                  <a:gd name="T95" fmla="*/ 32 h 92"/>
                  <a:gd name="T96" fmla="*/ 5 w 230"/>
                  <a:gd name="T97" fmla="*/ 51 h 92"/>
                  <a:gd name="T98" fmla="*/ 11 w 230"/>
                  <a:gd name="T99" fmla="*/ 57 h 92"/>
                  <a:gd name="T100" fmla="*/ 11 w 230"/>
                  <a:gd name="T101" fmla="*/ 65 h 92"/>
                  <a:gd name="T102" fmla="*/ 19 w 230"/>
                  <a:gd name="T103" fmla="*/ 69 h 92"/>
                  <a:gd name="T104" fmla="*/ 32 w 230"/>
                  <a:gd name="T105" fmla="*/ 8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30" h="92">
                    <a:moveTo>
                      <a:pt x="186" y="32"/>
                    </a:moveTo>
                    <a:lnTo>
                      <a:pt x="190" y="40"/>
                    </a:lnTo>
                    <a:lnTo>
                      <a:pt x="188" y="42"/>
                    </a:lnTo>
                    <a:lnTo>
                      <a:pt x="184" y="40"/>
                    </a:lnTo>
                    <a:lnTo>
                      <a:pt x="182" y="42"/>
                    </a:lnTo>
                    <a:lnTo>
                      <a:pt x="180" y="44"/>
                    </a:lnTo>
                    <a:lnTo>
                      <a:pt x="176" y="46"/>
                    </a:lnTo>
                    <a:lnTo>
                      <a:pt x="172" y="40"/>
                    </a:lnTo>
                    <a:lnTo>
                      <a:pt x="170" y="40"/>
                    </a:lnTo>
                    <a:lnTo>
                      <a:pt x="169" y="40"/>
                    </a:lnTo>
                    <a:lnTo>
                      <a:pt x="163" y="51"/>
                    </a:lnTo>
                    <a:lnTo>
                      <a:pt x="157" y="61"/>
                    </a:lnTo>
                    <a:lnTo>
                      <a:pt x="151" y="61"/>
                    </a:lnTo>
                    <a:lnTo>
                      <a:pt x="145" y="61"/>
                    </a:lnTo>
                    <a:lnTo>
                      <a:pt x="142" y="63"/>
                    </a:lnTo>
                    <a:lnTo>
                      <a:pt x="138" y="65"/>
                    </a:lnTo>
                    <a:lnTo>
                      <a:pt x="136" y="67"/>
                    </a:lnTo>
                    <a:lnTo>
                      <a:pt x="134" y="71"/>
                    </a:lnTo>
                    <a:lnTo>
                      <a:pt x="132" y="78"/>
                    </a:lnTo>
                    <a:lnTo>
                      <a:pt x="132" y="84"/>
                    </a:lnTo>
                    <a:lnTo>
                      <a:pt x="122" y="80"/>
                    </a:lnTo>
                    <a:lnTo>
                      <a:pt x="113" y="74"/>
                    </a:lnTo>
                    <a:lnTo>
                      <a:pt x="113" y="82"/>
                    </a:lnTo>
                    <a:lnTo>
                      <a:pt x="117" y="88"/>
                    </a:lnTo>
                    <a:lnTo>
                      <a:pt x="121" y="90"/>
                    </a:lnTo>
                    <a:lnTo>
                      <a:pt x="124" y="92"/>
                    </a:lnTo>
                    <a:lnTo>
                      <a:pt x="130" y="92"/>
                    </a:lnTo>
                    <a:lnTo>
                      <a:pt x="136" y="92"/>
                    </a:lnTo>
                    <a:lnTo>
                      <a:pt x="144" y="90"/>
                    </a:lnTo>
                    <a:lnTo>
                      <a:pt x="145" y="88"/>
                    </a:lnTo>
                    <a:lnTo>
                      <a:pt x="153" y="86"/>
                    </a:lnTo>
                    <a:lnTo>
                      <a:pt x="155" y="88"/>
                    </a:lnTo>
                    <a:lnTo>
                      <a:pt x="163" y="88"/>
                    </a:lnTo>
                    <a:lnTo>
                      <a:pt x="169" y="84"/>
                    </a:lnTo>
                    <a:lnTo>
                      <a:pt x="170" y="82"/>
                    </a:lnTo>
                    <a:lnTo>
                      <a:pt x="172" y="74"/>
                    </a:lnTo>
                    <a:lnTo>
                      <a:pt x="174" y="71"/>
                    </a:lnTo>
                    <a:lnTo>
                      <a:pt x="178" y="69"/>
                    </a:lnTo>
                    <a:lnTo>
                      <a:pt x="180" y="65"/>
                    </a:lnTo>
                    <a:lnTo>
                      <a:pt x="182" y="61"/>
                    </a:lnTo>
                    <a:lnTo>
                      <a:pt x="186" y="57"/>
                    </a:lnTo>
                    <a:lnTo>
                      <a:pt x="188" y="50"/>
                    </a:lnTo>
                    <a:lnTo>
                      <a:pt x="190" y="44"/>
                    </a:lnTo>
                    <a:lnTo>
                      <a:pt x="199" y="46"/>
                    </a:lnTo>
                    <a:lnTo>
                      <a:pt x="207" y="46"/>
                    </a:lnTo>
                    <a:lnTo>
                      <a:pt x="207" y="44"/>
                    </a:lnTo>
                    <a:lnTo>
                      <a:pt x="213" y="44"/>
                    </a:lnTo>
                    <a:lnTo>
                      <a:pt x="217" y="42"/>
                    </a:lnTo>
                    <a:lnTo>
                      <a:pt x="220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4" y="32"/>
                    </a:lnTo>
                    <a:lnTo>
                      <a:pt x="228" y="28"/>
                    </a:lnTo>
                    <a:lnTo>
                      <a:pt x="230" y="28"/>
                    </a:lnTo>
                    <a:lnTo>
                      <a:pt x="228" y="25"/>
                    </a:lnTo>
                    <a:lnTo>
                      <a:pt x="224" y="19"/>
                    </a:lnTo>
                    <a:lnTo>
                      <a:pt x="218" y="17"/>
                    </a:lnTo>
                    <a:lnTo>
                      <a:pt x="215" y="15"/>
                    </a:lnTo>
                    <a:lnTo>
                      <a:pt x="215" y="11"/>
                    </a:lnTo>
                    <a:lnTo>
                      <a:pt x="217" y="9"/>
                    </a:lnTo>
                    <a:lnTo>
                      <a:pt x="209" y="3"/>
                    </a:lnTo>
                    <a:lnTo>
                      <a:pt x="199" y="0"/>
                    </a:lnTo>
                    <a:lnTo>
                      <a:pt x="199" y="3"/>
                    </a:lnTo>
                    <a:lnTo>
                      <a:pt x="199" y="7"/>
                    </a:lnTo>
                    <a:lnTo>
                      <a:pt x="195" y="9"/>
                    </a:lnTo>
                    <a:lnTo>
                      <a:pt x="192" y="15"/>
                    </a:lnTo>
                    <a:lnTo>
                      <a:pt x="188" y="21"/>
                    </a:lnTo>
                    <a:lnTo>
                      <a:pt x="188" y="26"/>
                    </a:lnTo>
                    <a:lnTo>
                      <a:pt x="188" y="32"/>
                    </a:lnTo>
                    <a:lnTo>
                      <a:pt x="186" y="32"/>
                    </a:lnTo>
                    <a:close/>
                    <a:moveTo>
                      <a:pt x="32" y="80"/>
                    </a:moveTo>
                    <a:lnTo>
                      <a:pt x="38" y="76"/>
                    </a:lnTo>
                    <a:lnTo>
                      <a:pt x="46" y="78"/>
                    </a:lnTo>
                    <a:lnTo>
                      <a:pt x="44" y="71"/>
                    </a:lnTo>
                    <a:lnTo>
                      <a:pt x="42" y="63"/>
                    </a:lnTo>
                    <a:lnTo>
                      <a:pt x="38" y="63"/>
                    </a:lnTo>
                    <a:lnTo>
                      <a:pt x="38" y="55"/>
                    </a:lnTo>
                    <a:lnTo>
                      <a:pt x="36" y="48"/>
                    </a:lnTo>
                    <a:lnTo>
                      <a:pt x="38" y="48"/>
                    </a:lnTo>
                    <a:lnTo>
                      <a:pt x="38" y="38"/>
                    </a:lnTo>
                    <a:lnTo>
                      <a:pt x="36" y="30"/>
                    </a:lnTo>
                    <a:lnTo>
                      <a:pt x="32" y="23"/>
                    </a:lnTo>
                    <a:lnTo>
                      <a:pt x="28" y="15"/>
                    </a:lnTo>
                    <a:lnTo>
                      <a:pt x="25" y="13"/>
                    </a:lnTo>
                    <a:lnTo>
                      <a:pt x="19" y="9"/>
                    </a:lnTo>
                    <a:lnTo>
                      <a:pt x="19" y="13"/>
                    </a:lnTo>
                    <a:lnTo>
                      <a:pt x="17" y="21"/>
                    </a:lnTo>
                    <a:lnTo>
                      <a:pt x="13" y="19"/>
                    </a:lnTo>
                    <a:lnTo>
                      <a:pt x="13" y="23"/>
                    </a:lnTo>
                    <a:lnTo>
                      <a:pt x="9" y="23"/>
                    </a:lnTo>
                    <a:lnTo>
                      <a:pt x="9" y="17"/>
                    </a:lnTo>
                    <a:lnTo>
                      <a:pt x="3" y="13"/>
                    </a:lnTo>
                    <a:lnTo>
                      <a:pt x="0" y="13"/>
                    </a:lnTo>
                    <a:lnTo>
                      <a:pt x="0" y="23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3" y="42"/>
                    </a:lnTo>
                    <a:lnTo>
                      <a:pt x="5" y="51"/>
                    </a:lnTo>
                    <a:lnTo>
                      <a:pt x="7" y="53"/>
                    </a:lnTo>
                    <a:lnTo>
                      <a:pt x="11" y="57"/>
                    </a:lnTo>
                    <a:lnTo>
                      <a:pt x="11" y="61"/>
                    </a:lnTo>
                    <a:lnTo>
                      <a:pt x="11" y="65"/>
                    </a:lnTo>
                    <a:lnTo>
                      <a:pt x="15" y="67"/>
                    </a:lnTo>
                    <a:lnTo>
                      <a:pt x="19" y="69"/>
                    </a:lnTo>
                    <a:lnTo>
                      <a:pt x="27" y="76"/>
                    </a:lnTo>
                    <a:lnTo>
                      <a:pt x="32" y="8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1" name="Freeform 139"/>
              <p:cNvSpPr>
                <a:spLocks/>
              </p:cNvSpPr>
              <p:nvPr/>
            </p:nvSpPr>
            <p:spPr bwMode="gray">
              <a:xfrm>
                <a:off x="5167140" y="4768851"/>
                <a:ext cx="152383" cy="328613"/>
              </a:xfrm>
              <a:custGeom>
                <a:avLst/>
                <a:gdLst>
                  <a:gd name="T0" fmla="*/ 75 w 96"/>
                  <a:gd name="T1" fmla="*/ 11 h 207"/>
                  <a:gd name="T2" fmla="*/ 67 w 96"/>
                  <a:gd name="T3" fmla="*/ 25 h 207"/>
                  <a:gd name="T4" fmla="*/ 63 w 96"/>
                  <a:gd name="T5" fmla="*/ 29 h 207"/>
                  <a:gd name="T6" fmla="*/ 65 w 96"/>
                  <a:gd name="T7" fmla="*/ 31 h 207"/>
                  <a:gd name="T8" fmla="*/ 62 w 96"/>
                  <a:gd name="T9" fmla="*/ 34 h 207"/>
                  <a:gd name="T10" fmla="*/ 60 w 96"/>
                  <a:gd name="T11" fmla="*/ 44 h 207"/>
                  <a:gd name="T12" fmla="*/ 54 w 96"/>
                  <a:gd name="T13" fmla="*/ 42 h 207"/>
                  <a:gd name="T14" fmla="*/ 54 w 96"/>
                  <a:gd name="T15" fmla="*/ 52 h 207"/>
                  <a:gd name="T16" fmla="*/ 48 w 96"/>
                  <a:gd name="T17" fmla="*/ 50 h 207"/>
                  <a:gd name="T18" fmla="*/ 44 w 96"/>
                  <a:gd name="T19" fmla="*/ 56 h 207"/>
                  <a:gd name="T20" fmla="*/ 35 w 96"/>
                  <a:gd name="T21" fmla="*/ 54 h 207"/>
                  <a:gd name="T22" fmla="*/ 27 w 96"/>
                  <a:gd name="T23" fmla="*/ 61 h 207"/>
                  <a:gd name="T24" fmla="*/ 15 w 96"/>
                  <a:gd name="T25" fmla="*/ 71 h 207"/>
                  <a:gd name="T26" fmla="*/ 15 w 96"/>
                  <a:gd name="T27" fmla="*/ 98 h 207"/>
                  <a:gd name="T28" fmla="*/ 14 w 96"/>
                  <a:gd name="T29" fmla="*/ 123 h 207"/>
                  <a:gd name="T30" fmla="*/ 10 w 96"/>
                  <a:gd name="T31" fmla="*/ 132 h 207"/>
                  <a:gd name="T32" fmla="*/ 6 w 96"/>
                  <a:gd name="T33" fmla="*/ 138 h 207"/>
                  <a:gd name="T34" fmla="*/ 2 w 96"/>
                  <a:gd name="T35" fmla="*/ 146 h 207"/>
                  <a:gd name="T36" fmla="*/ 0 w 96"/>
                  <a:gd name="T37" fmla="*/ 157 h 207"/>
                  <a:gd name="T38" fmla="*/ 6 w 96"/>
                  <a:gd name="T39" fmla="*/ 171 h 207"/>
                  <a:gd name="T40" fmla="*/ 14 w 96"/>
                  <a:gd name="T41" fmla="*/ 190 h 207"/>
                  <a:gd name="T42" fmla="*/ 21 w 96"/>
                  <a:gd name="T43" fmla="*/ 203 h 207"/>
                  <a:gd name="T44" fmla="*/ 33 w 96"/>
                  <a:gd name="T45" fmla="*/ 207 h 207"/>
                  <a:gd name="T46" fmla="*/ 42 w 96"/>
                  <a:gd name="T47" fmla="*/ 203 h 207"/>
                  <a:gd name="T48" fmla="*/ 56 w 96"/>
                  <a:gd name="T49" fmla="*/ 186 h 207"/>
                  <a:gd name="T50" fmla="*/ 65 w 96"/>
                  <a:gd name="T51" fmla="*/ 152 h 207"/>
                  <a:gd name="T52" fmla="*/ 71 w 96"/>
                  <a:gd name="T53" fmla="*/ 123 h 207"/>
                  <a:gd name="T54" fmla="*/ 75 w 96"/>
                  <a:gd name="T55" fmla="*/ 109 h 207"/>
                  <a:gd name="T56" fmla="*/ 83 w 96"/>
                  <a:gd name="T57" fmla="*/ 96 h 207"/>
                  <a:gd name="T58" fmla="*/ 83 w 96"/>
                  <a:gd name="T59" fmla="*/ 86 h 207"/>
                  <a:gd name="T60" fmla="*/ 85 w 96"/>
                  <a:gd name="T61" fmla="*/ 80 h 207"/>
                  <a:gd name="T62" fmla="*/ 86 w 96"/>
                  <a:gd name="T63" fmla="*/ 75 h 207"/>
                  <a:gd name="T64" fmla="*/ 86 w 96"/>
                  <a:gd name="T65" fmla="*/ 71 h 207"/>
                  <a:gd name="T66" fmla="*/ 90 w 96"/>
                  <a:gd name="T67" fmla="*/ 65 h 207"/>
                  <a:gd name="T68" fmla="*/ 85 w 96"/>
                  <a:gd name="T69" fmla="*/ 50 h 207"/>
                  <a:gd name="T70" fmla="*/ 90 w 96"/>
                  <a:gd name="T71" fmla="*/ 50 h 207"/>
                  <a:gd name="T72" fmla="*/ 90 w 96"/>
                  <a:gd name="T73" fmla="*/ 56 h 207"/>
                  <a:gd name="T74" fmla="*/ 94 w 96"/>
                  <a:gd name="T75" fmla="*/ 52 h 207"/>
                  <a:gd name="T76" fmla="*/ 94 w 96"/>
                  <a:gd name="T77" fmla="*/ 29 h 207"/>
                  <a:gd name="T78" fmla="*/ 86 w 96"/>
                  <a:gd name="T79" fmla="*/ 8 h 207"/>
                  <a:gd name="T80" fmla="*/ 81 w 96"/>
                  <a:gd name="T81" fmla="*/ 6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6" h="207">
                    <a:moveTo>
                      <a:pt x="79" y="0"/>
                    </a:moveTo>
                    <a:lnTo>
                      <a:pt x="75" y="11"/>
                    </a:lnTo>
                    <a:lnTo>
                      <a:pt x="73" y="25"/>
                    </a:lnTo>
                    <a:lnTo>
                      <a:pt x="67" y="25"/>
                    </a:lnTo>
                    <a:lnTo>
                      <a:pt x="63" y="27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5" y="31"/>
                    </a:lnTo>
                    <a:lnTo>
                      <a:pt x="65" y="34"/>
                    </a:lnTo>
                    <a:lnTo>
                      <a:pt x="62" y="34"/>
                    </a:lnTo>
                    <a:lnTo>
                      <a:pt x="62" y="38"/>
                    </a:lnTo>
                    <a:lnTo>
                      <a:pt x="60" y="44"/>
                    </a:lnTo>
                    <a:lnTo>
                      <a:pt x="58" y="42"/>
                    </a:lnTo>
                    <a:lnTo>
                      <a:pt x="54" y="42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2" y="52"/>
                    </a:lnTo>
                    <a:lnTo>
                      <a:pt x="48" y="50"/>
                    </a:lnTo>
                    <a:lnTo>
                      <a:pt x="46" y="54"/>
                    </a:lnTo>
                    <a:lnTo>
                      <a:pt x="44" y="56"/>
                    </a:lnTo>
                    <a:lnTo>
                      <a:pt x="39" y="56"/>
                    </a:lnTo>
                    <a:lnTo>
                      <a:pt x="35" y="54"/>
                    </a:lnTo>
                    <a:lnTo>
                      <a:pt x="35" y="57"/>
                    </a:lnTo>
                    <a:lnTo>
                      <a:pt x="27" y="61"/>
                    </a:lnTo>
                    <a:lnTo>
                      <a:pt x="21" y="65"/>
                    </a:lnTo>
                    <a:lnTo>
                      <a:pt x="15" y="71"/>
                    </a:lnTo>
                    <a:lnTo>
                      <a:pt x="12" y="77"/>
                    </a:lnTo>
                    <a:lnTo>
                      <a:pt x="15" y="98"/>
                    </a:lnTo>
                    <a:lnTo>
                      <a:pt x="19" y="119"/>
                    </a:lnTo>
                    <a:lnTo>
                      <a:pt x="14" y="123"/>
                    </a:lnTo>
                    <a:lnTo>
                      <a:pt x="10" y="127"/>
                    </a:lnTo>
                    <a:lnTo>
                      <a:pt x="10" y="132"/>
                    </a:lnTo>
                    <a:lnTo>
                      <a:pt x="10" y="136"/>
                    </a:lnTo>
                    <a:lnTo>
                      <a:pt x="6" y="138"/>
                    </a:lnTo>
                    <a:lnTo>
                      <a:pt x="4" y="140"/>
                    </a:lnTo>
                    <a:lnTo>
                      <a:pt x="2" y="146"/>
                    </a:lnTo>
                    <a:lnTo>
                      <a:pt x="0" y="152"/>
                    </a:lnTo>
                    <a:lnTo>
                      <a:pt x="0" y="157"/>
                    </a:lnTo>
                    <a:lnTo>
                      <a:pt x="2" y="163"/>
                    </a:lnTo>
                    <a:lnTo>
                      <a:pt x="6" y="171"/>
                    </a:lnTo>
                    <a:lnTo>
                      <a:pt x="10" y="180"/>
                    </a:lnTo>
                    <a:lnTo>
                      <a:pt x="14" y="190"/>
                    </a:lnTo>
                    <a:lnTo>
                      <a:pt x="15" y="198"/>
                    </a:lnTo>
                    <a:lnTo>
                      <a:pt x="21" y="203"/>
                    </a:lnTo>
                    <a:lnTo>
                      <a:pt x="29" y="207"/>
                    </a:lnTo>
                    <a:lnTo>
                      <a:pt x="33" y="207"/>
                    </a:lnTo>
                    <a:lnTo>
                      <a:pt x="33" y="207"/>
                    </a:lnTo>
                    <a:lnTo>
                      <a:pt x="42" y="203"/>
                    </a:lnTo>
                    <a:lnTo>
                      <a:pt x="52" y="198"/>
                    </a:lnTo>
                    <a:lnTo>
                      <a:pt x="56" y="186"/>
                    </a:lnTo>
                    <a:lnTo>
                      <a:pt x="58" y="173"/>
                    </a:lnTo>
                    <a:lnTo>
                      <a:pt x="65" y="152"/>
                    </a:lnTo>
                    <a:lnTo>
                      <a:pt x="73" y="128"/>
                    </a:lnTo>
                    <a:lnTo>
                      <a:pt x="71" y="123"/>
                    </a:lnTo>
                    <a:lnTo>
                      <a:pt x="71" y="117"/>
                    </a:lnTo>
                    <a:lnTo>
                      <a:pt x="75" y="109"/>
                    </a:lnTo>
                    <a:lnTo>
                      <a:pt x="81" y="102"/>
                    </a:lnTo>
                    <a:lnTo>
                      <a:pt x="83" y="96"/>
                    </a:lnTo>
                    <a:lnTo>
                      <a:pt x="85" y="90"/>
                    </a:lnTo>
                    <a:lnTo>
                      <a:pt x="83" y="86"/>
                    </a:lnTo>
                    <a:lnTo>
                      <a:pt x="83" y="82"/>
                    </a:lnTo>
                    <a:lnTo>
                      <a:pt x="85" y="80"/>
                    </a:lnTo>
                    <a:lnTo>
                      <a:pt x="86" y="79"/>
                    </a:lnTo>
                    <a:lnTo>
                      <a:pt x="86" y="75"/>
                    </a:lnTo>
                    <a:lnTo>
                      <a:pt x="86" y="73"/>
                    </a:lnTo>
                    <a:lnTo>
                      <a:pt x="86" y="71"/>
                    </a:lnTo>
                    <a:lnTo>
                      <a:pt x="90" y="69"/>
                    </a:lnTo>
                    <a:lnTo>
                      <a:pt x="90" y="65"/>
                    </a:lnTo>
                    <a:lnTo>
                      <a:pt x="88" y="57"/>
                    </a:lnTo>
                    <a:lnTo>
                      <a:pt x="85" y="50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54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6" y="50"/>
                    </a:lnTo>
                    <a:lnTo>
                      <a:pt x="94" y="29"/>
                    </a:lnTo>
                    <a:lnTo>
                      <a:pt x="90" y="9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1" y="6"/>
                    </a:lnTo>
                    <a:lnTo>
                      <a:pt x="7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2" name="Freeform 140"/>
              <p:cNvSpPr>
                <a:spLocks/>
              </p:cNvSpPr>
              <p:nvPr/>
            </p:nvSpPr>
            <p:spPr bwMode="gray">
              <a:xfrm>
                <a:off x="4738563" y="3370264"/>
                <a:ext cx="57144" cy="55563"/>
              </a:xfrm>
              <a:custGeom>
                <a:avLst/>
                <a:gdLst>
                  <a:gd name="T0" fmla="*/ 1 w 36"/>
                  <a:gd name="T1" fmla="*/ 13 h 35"/>
                  <a:gd name="T2" fmla="*/ 1 w 36"/>
                  <a:gd name="T3" fmla="*/ 17 h 35"/>
                  <a:gd name="T4" fmla="*/ 1 w 36"/>
                  <a:gd name="T5" fmla="*/ 23 h 35"/>
                  <a:gd name="T6" fmla="*/ 0 w 36"/>
                  <a:gd name="T7" fmla="*/ 27 h 35"/>
                  <a:gd name="T8" fmla="*/ 1 w 36"/>
                  <a:gd name="T9" fmla="*/ 29 h 35"/>
                  <a:gd name="T10" fmla="*/ 3 w 36"/>
                  <a:gd name="T11" fmla="*/ 33 h 35"/>
                  <a:gd name="T12" fmla="*/ 5 w 36"/>
                  <a:gd name="T13" fmla="*/ 35 h 35"/>
                  <a:gd name="T14" fmla="*/ 9 w 36"/>
                  <a:gd name="T15" fmla="*/ 35 h 35"/>
                  <a:gd name="T16" fmla="*/ 17 w 36"/>
                  <a:gd name="T17" fmla="*/ 33 h 35"/>
                  <a:gd name="T18" fmla="*/ 19 w 36"/>
                  <a:gd name="T19" fmla="*/ 33 h 35"/>
                  <a:gd name="T20" fmla="*/ 21 w 36"/>
                  <a:gd name="T21" fmla="*/ 29 h 35"/>
                  <a:gd name="T22" fmla="*/ 23 w 36"/>
                  <a:gd name="T23" fmla="*/ 29 h 35"/>
                  <a:gd name="T24" fmla="*/ 24 w 36"/>
                  <a:gd name="T25" fmla="*/ 27 h 35"/>
                  <a:gd name="T26" fmla="*/ 28 w 36"/>
                  <a:gd name="T27" fmla="*/ 25 h 35"/>
                  <a:gd name="T28" fmla="*/ 32 w 36"/>
                  <a:gd name="T29" fmla="*/ 25 h 35"/>
                  <a:gd name="T30" fmla="*/ 34 w 36"/>
                  <a:gd name="T31" fmla="*/ 25 h 35"/>
                  <a:gd name="T32" fmla="*/ 34 w 36"/>
                  <a:gd name="T33" fmla="*/ 23 h 35"/>
                  <a:gd name="T34" fmla="*/ 36 w 36"/>
                  <a:gd name="T35" fmla="*/ 19 h 35"/>
                  <a:gd name="T36" fmla="*/ 36 w 36"/>
                  <a:gd name="T37" fmla="*/ 19 h 35"/>
                  <a:gd name="T38" fmla="*/ 34 w 36"/>
                  <a:gd name="T39" fmla="*/ 13 h 35"/>
                  <a:gd name="T40" fmla="*/ 34 w 36"/>
                  <a:gd name="T41" fmla="*/ 10 h 35"/>
                  <a:gd name="T42" fmla="*/ 34 w 36"/>
                  <a:gd name="T43" fmla="*/ 6 h 35"/>
                  <a:gd name="T44" fmla="*/ 32 w 36"/>
                  <a:gd name="T45" fmla="*/ 4 h 35"/>
                  <a:gd name="T46" fmla="*/ 30 w 36"/>
                  <a:gd name="T47" fmla="*/ 0 h 35"/>
                  <a:gd name="T48" fmla="*/ 19 w 36"/>
                  <a:gd name="T49" fmla="*/ 6 h 35"/>
                  <a:gd name="T50" fmla="*/ 15 w 36"/>
                  <a:gd name="T51" fmla="*/ 10 h 35"/>
                  <a:gd name="T52" fmla="*/ 7 w 36"/>
                  <a:gd name="T53" fmla="*/ 10 h 35"/>
                  <a:gd name="T54" fmla="*/ 1 w 36"/>
                  <a:gd name="T55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6" h="35">
                    <a:moveTo>
                      <a:pt x="1" y="13"/>
                    </a:moveTo>
                    <a:lnTo>
                      <a:pt x="1" y="17"/>
                    </a:lnTo>
                    <a:lnTo>
                      <a:pt x="1" y="23"/>
                    </a:lnTo>
                    <a:lnTo>
                      <a:pt x="0" y="27"/>
                    </a:lnTo>
                    <a:lnTo>
                      <a:pt x="1" y="29"/>
                    </a:lnTo>
                    <a:lnTo>
                      <a:pt x="3" y="33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7" y="33"/>
                    </a:lnTo>
                    <a:lnTo>
                      <a:pt x="19" y="33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4" y="27"/>
                    </a:lnTo>
                    <a:lnTo>
                      <a:pt x="28" y="25"/>
                    </a:lnTo>
                    <a:lnTo>
                      <a:pt x="32" y="25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6" y="19"/>
                    </a:lnTo>
                    <a:lnTo>
                      <a:pt x="36" y="19"/>
                    </a:lnTo>
                    <a:lnTo>
                      <a:pt x="34" y="13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2" y="4"/>
                    </a:lnTo>
                    <a:lnTo>
                      <a:pt x="30" y="0"/>
                    </a:lnTo>
                    <a:lnTo>
                      <a:pt x="19" y="6"/>
                    </a:lnTo>
                    <a:lnTo>
                      <a:pt x="15" y="10"/>
                    </a:lnTo>
                    <a:lnTo>
                      <a:pt x="7" y="10"/>
                    </a:lnTo>
                    <a:lnTo>
                      <a:pt x="1" y="1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3" name="Freeform 141"/>
              <p:cNvSpPr>
                <a:spLocks/>
              </p:cNvSpPr>
              <p:nvPr/>
            </p:nvSpPr>
            <p:spPr bwMode="gray">
              <a:xfrm>
                <a:off x="4441733" y="3148014"/>
                <a:ext cx="15873" cy="23813"/>
              </a:xfrm>
              <a:custGeom>
                <a:avLst/>
                <a:gdLst>
                  <a:gd name="T0" fmla="*/ 2 w 10"/>
                  <a:gd name="T1" fmla="*/ 8 h 15"/>
                  <a:gd name="T2" fmla="*/ 2 w 10"/>
                  <a:gd name="T3" fmla="*/ 8 h 15"/>
                  <a:gd name="T4" fmla="*/ 0 w 10"/>
                  <a:gd name="T5" fmla="*/ 8 h 15"/>
                  <a:gd name="T6" fmla="*/ 0 w 10"/>
                  <a:gd name="T7" fmla="*/ 6 h 15"/>
                  <a:gd name="T8" fmla="*/ 2 w 10"/>
                  <a:gd name="T9" fmla="*/ 4 h 15"/>
                  <a:gd name="T10" fmla="*/ 2 w 10"/>
                  <a:gd name="T11" fmla="*/ 2 h 15"/>
                  <a:gd name="T12" fmla="*/ 4 w 10"/>
                  <a:gd name="T13" fmla="*/ 0 h 15"/>
                  <a:gd name="T14" fmla="*/ 4 w 10"/>
                  <a:gd name="T15" fmla="*/ 0 h 15"/>
                  <a:gd name="T16" fmla="*/ 6 w 10"/>
                  <a:gd name="T17" fmla="*/ 4 h 15"/>
                  <a:gd name="T18" fmla="*/ 10 w 10"/>
                  <a:gd name="T19" fmla="*/ 6 h 15"/>
                  <a:gd name="T20" fmla="*/ 8 w 10"/>
                  <a:gd name="T21" fmla="*/ 8 h 15"/>
                  <a:gd name="T22" fmla="*/ 8 w 10"/>
                  <a:gd name="T23" fmla="*/ 13 h 15"/>
                  <a:gd name="T24" fmla="*/ 8 w 10"/>
                  <a:gd name="T25" fmla="*/ 15 h 15"/>
                  <a:gd name="T26" fmla="*/ 6 w 10"/>
                  <a:gd name="T27" fmla="*/ 13 h 15"/>
                  <a:gd name="T28" fmla="*/ 2 w 10"/>
                  <a:gd name="T29" fmla="*/ 13 h 15"/>
                  <a:gd name="T30" fmla="*/ 2 w 10"/>
                  <a:gd name="T31" fmla="*/ 11 h 15"/>
                  <a:gd name="T32" fmla="*/ 2 w 10"/>
                  <a:gd name="T33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15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4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8" y="13"/>
                    </a:lnTo>
                    <a:lnTo>
                      <a:pt x="8" y="15"/>
                    </a:lnTo>
                    <a:lnTo>
                      <a:pt x="6" y="13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4" name="Freeform 142"/>
              <p:cNvSpPr>
                <a:spLocks/>
              </p:cNvSpPr>
              <p:nvPr/>
            </p:nvSpPr>
            <p:spPr bwMode="gray">
              <a:xfrm>
                <a:off x="4743325" y="2952751"/>
                <a:ext cx="115875" cy="88900"/>
              </a:xfrm>
              <a:custGeom>
                <a:avLst/>
                <a:gdLst>
                  <a:gd name="T0" fmla="*/ 0 w 73"/>
                  <a:gd name="T1" fmla="*/ 25 h 56"/>
                  <a:gd name="T2" fmla="*/ 4 w 73"/>
                  <a:gd name="T3" fmla="*/ 29 h 56"/>
                  <a:gd name="T4" fmla="*/ 10 w 73"/>
                  <a:gd name="T5" fmla="*/ 35 h 56"/>
                  <a:gd name="T6" fmla="*/ 18 w 73"/>
                  <a:gd name="T7" fmla="*/ 37 h 56"/>
                  <a:gd name="T8" fmla="*/ 25 w 73"/>
                  <a:gd name="T9" fmla="*/ 37 h 56"/>
                  <a:gd name="T10" fmla="*/ 27 w 73"/>
                  <a:gd name="T11" fmla="*/ 50 h 56"/>
                  <a:gd name="T12" fmla="*/ 35 w 73"/>
                  <a:gd name="T13" fmla="*/ 50 h 56"/>
                  <a:gd name="T14" fmla="*/ 45 w 73"/>
                  <a:gd name="T15" fmla="*/ 52 h 56"/>
                  <a:gd name="T16" fmla="*/ 46 w 73"/>
                  <a:gd name="T17" fmla="*/ 54 h 56"/>
                  <a:gd name="T18" fmla="*/ 46 w 73"/>
                  <a:gd name="T19" fmla="*/ 56 h 56"/>
                  <a:gd name="T20" fmla="*/ 52 w 73"/>
                  <a:gd name="T21" fmla="*/ 52 h 56"/>
                  <a:gd name="T22" fmla="*/ 54 w 73"/>
                  <a:gd name="T23" fmla="*/ 52 h 56"/>
                  <a:gd name="T24" fmla="*/ 58 w 73"/>
                  <a:gd name="T25" fmla="*/ 52 h 56"/>
                  <a:gd name="T26" fmla="*/ 60 w 73"/>
                  <a:gd name="T27" fmla="*/ 50 h 56"/>
                  <a:gd name="T28" fmla="*/ 62 w 73"/>
                  <a:gd name="T29" fmla="*/ 48 h 56"/>
                  <a:gd name="T30" fmla="*/ 66 w 73"/>
                  <a:gd name="T31" fmla="*/ 48 h 56"/>
                  <a:gd name="T32" fmla="*/ 66 w 73"/>
                  <a:gd name="T33" fmla="*/ 46 h 56"/>
                  <a:gd name="T34" fmla="*/ 66 w 73"/>
                  <a:gd name="T35" fmla="*/ 40 h 56"/>
                  <a:gd name="T36" fmla="*/ 68 w 73"/>
                  <a:gd name="T37" fmla="*/ 33 h 56"/>
                  <a:gd name="T38" fmla="*/ 71 w 73"/>
                  <a:gd name="T39" fmla="*/ 29 h 56"/>
                  <a:gd name="T40" fmla="*/ 73 w 73"/>
                  <a:gd name="T41" fmla="*/ 23 h 56"/>
                  <a:gd name="T42" fmla="*/ 73 w 73"/>
                  <a:gd name="T43" fmla="*/ 21 h 56"/>
                  <a:gd name="T44" fmla="*/ 71 w 73"/>
                  <a:gd name="T45" fmla="*/ 21 h 56"/>
                  <a:gd name="T46" fmla="*/ 68 w 73"/>
                  <a:gd name="T47" fmla="*/ 19 h 56"/>
                  <a:gd name="T48" fmla="*/ 64 w 73"/>
                  <a:gd name="T49" fmla="*/ 17 h 56"/>
                  <a:gd name="T50" fmla="*/ 62 w 73"/>
                  <a:gd name="T51" fmla="*/ 16 h 56"/>
                  <a:gd name="T52" fmla="*/ 58 w 73"/>
                  <a:gd name="T53" fmla="*/ 14 h 56"/>
                  <a:gd name="T54" fmla="*/ 54 w 73"/>
                  <a:gd name="T55" fmla="*/ 14 h 56"/>
                  <a:gd name="T56" fmla="*/ 50 w 73"/>
                  <a:gd name="T57" fmla="*/ 10 h 56"/>
                  <a:gd name="T58" fmla="*/ 50 w 73"/>
                  <a:gd name="T59" fmla="*/ 8 h 56"/>
                  <a:gd name="T60" fmla="*/ 48 w 73"/>
                  <a:gd name="T61" fmla="*/ 8 h 56"/>
                  <a:gd name="T62" fmla="*/ 45 w 73"/>
                  <a:gd name="T63" fmla="*/ 8 h 56"/>
                  <a:gd name="T64" fmla="*/ 41 w 73"/>
                  <a:gd name="T65" fmla="*/ 8 h 56"/>
                  <a:gd name="T66" fmla="*/ 37 w 73"/>
                  <a:gd name="T67" fmla="*/ 6 h 56"/>
                  <a:gd name="T68" fmla="*/ 33 w 73"/>
                  <a:gd name="T69" fmla="*/ 4 h 56"/>
                  <a:gd name="T70" fmla="*/ 25 w 73"/>
                  <a:gd name="T71" fmla="*/ 2 h 56"/>
                  <a:gd name="T72" fmla="*/ 18 w 73"/>
                  <a:gd name="T73" fmla="*/ 0 h 56"/>
                  <a:gd name="T74" fmla="*/ 14 w 73"/>
                  <a:gd name="T75" fmla="*/ 0 h 56"/>
                  <a:gd name="T76" fmla="*/ 6 w 73"/>
                  <a:gd name="T77" fmla="*/ 2 h 56"/>
                  <a:gd name="T78" fmla="*/ 2 w 73"/>
                  <a:gd name="T79" fmla="*/ 2 h 56"/>
                  <a:gd name="T80" fmla="*/ 2 w 73"/>
                  <a:gd name="T81" fmla="*/ 4 h 56"/>
                  <a:gd name="T82" fmla="*/ 2 w 73"/>
                  <a:gd name="T83" fmla="*/ 16 h 56"/>
                  <a:gd name="T84" fmla="*/ 2 w 73"/>
                  <a:gd name="T85" fmla="*/ 25 h 56"/>
                  <a:gd name="T86" fmla="*/ 0 w 73"/>
                  <a:gd name="T87" fmla="*/ 2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3" h="56">
                    <a:moveTo>
                      <a:pt x="0" y="25"/>
                    </a:moveTo>
                    <a:lnTo>
                      <a:pt x="4" y="29"/>
                    </a:lnTo>
                    <a:lnTo>
                      <a:pt x="10" y="35"/>
                    </a:lnTo>
                    <a:lnTo>
                      <a:pt x="18" y="37"/>
                    </a:lnTo>
                    <a:lnTo>
                      <a:pt x="25" y="37"/>
                    </a:lnTo>
                    <a:lnTo>
                      <a:pt x="27" y="50"/>
                    </a:lnTo>
                    <a:lnTo>
                      <a:pt x="35" y="50"/>
                    </a:lnTo>
                    <a:lnTo>
                      <a:pt x="45" y="52"/>
                    </a:lnTo>
                    <a:lnTo>
                      <a:pt x="46" y="54"/>
                    </a:lnTo>
                    <a:lnTo>
                      <a:pt x="46" y="56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60" y="5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46"/>
                    </a:lnTo>
                    <a:lnTo>
                      <a:pt x="66" y="40"/>
                    </a:lnTo>
                    <a:lnTo>
                      <a:pt x="68" y="33"/>
                    </a:lnTo>
                    <a:lnTo>
                      <a:pt x="71" y="29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1" y="21"/>
                    </a:lnTo>
                    <a:lnTo>
                      <a:pt x="68" y="19"/>
                    </a:lnTo>
                    <a:lnTo>
                      <a:pt x="64" y="17"/>
                    </a:lnTo>
                    <a:lnTo>
                      <a:pt x="62" y="16"/>
                    </a:lnTo>
                    <a:lnTo>
                      <a:pt x="58" y="14"/>
                    </a:lnTo>
                    <a:lnTo>
                      <a:pt x="54" y="14"/>
                    </a:lnTo>
                    <a:lnTo>
                      <a:pt x="50" y="10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5" y="8"/>
                    </a:lnTo>
                    <a:lnTo>
                      <a:pt x="41" y="8"/>
                    </a:lnTo>
                    <a:lnTo>
                      <a:pt x="37" y="6"/>
                    </a:lnTo>
                    <a:lnTo>
                      <a:pt x="33" y="4"/>
                    </a:lnTo>
                    <a:lnTo>
                      <a:pt x="25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16"/>
                    </a:lnTo>
                    <a:lnTo>
                      <a:pt x="2" y="25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5" name="Freeform 143"/>
              <p:cNvSpPr>
                <a:spLocks/>
              </p:cNvSpPr>
              <p:nvPr/>
            </p:nvSpPr>
            <p:spPr bwMode="gray">
              <a:xfrm>
                <a:off x="4494115" y="3617914"/>
                <a:ext cx="334925" cy="349250"/>
              </a:xfrm>
              <a:custGeom>
                <a:avLst/>
                <a:gdLst>
                  <a:gd name="T0" fmla="*/ 33 w 211"/>
                  <a:gd name="T1" fmla="*/ 5 h 220"/>
                  <a:gd name="T2" fmla="*/ 31 w 211"/>
                  <a:gd name="T3" fmla="*/ 13 h 220"/>
                  <a:gd name="T4" fmla="*/ 23 w 211"/>
                  <a:gd name="T5" fmla="*/ 19 h 220"/>
                  <a:gd name="T6" fmla="*/ 17 w 211"/>
                  <a:gd name="T7" fmla="*/ 23 h 220"/>
                  <a:gd name="T8" fmla="*/ 17 w 211"/>
                  <a:gd name="T9" fmla="*/ 32 h 220"/>
                  <a:gd name="T10" fmla="*/ 15 w 211"/>
                  <a:gd name="T11" fmla="*/ 40 h 220"/>
                  <a:gd name="T12" fmla="*/ 10 w 211"/>
                  <a:gd name="T13" fmla="*/ 44 h 220"/>
                  <a:gd name="T14" fmla="*/ 6 w 211"/>
                  <a:gd name="T15" fmla="*/ 46 h 220"/>
                  <a:gd name="T16" fmla="*/ 8 w 211"/>
                  <a:gd name="T17" fmla="*/ 51 h 220"/>
                  <a:gd name="T18" fmla="*/ 12 w 211"/>
                  <a:gd name="T19" fmla="*/ 82 h 220"/>
                  <a:gd name="T20" fmla="*/ 8 w 211"/>
                  <a:gd name="T21" fmla="*/ 86 h 220"/>
                  <a:gd name="T22" fmla="*/ 8 w 211"/>
                  <a:gd name="T23" fmla="*/ 92 h 220"/>
                  <a:gd name="T24" fmla="*/ 8 w 211"/>
                  <a:gd name="T25" fmla="*/ 107 h 220"/>
                  <a:gd name="T26" fmla="*/ 0 w 211"/>
                  <a:gd name="T27" fmla="*/ 115 h 220"/>
                  <a:gd name="T28" fmla="*/ 4 w 211"/>
                  <a:gd name="T29" fmla="*/ 120 h 220"/>
                  <a:gd name="T30" fmla="*/ 8 w 211"/>
                  <a:gd name="T31" fmla="*/ 130 h 220"/>
                  <a:gd name="T32" fmla="*/ 12 w 211"/>
                  <a:gd name="T33" fmla="*/ 136 h 220"/>
                  <a:gd name="T34" fmla="*/ 17 w 211"/>
                  <a:gd name="T35" fmla="*/ 145 h 220"/>
                  <a:gd name="T36" fmla="*/ 25 w 211"/>
                  <a:gd name="T37" fmla="*/ 147 h 220"/>
                  <a:gd name="T38" fmla="*/ 31 w 211"/>
                  <a:gd name="T39" fmla="*/ 151 h 220"/>
                  <a:gd name="T40" fmla="*/ 38 w 211"/>
                  <a:gd name="T41" fmla="*/ 157 h 220"/>
                  <a:gd name="T42" fmla="*/ 69 w 211"/>
                  <a:gd name="T43" fmla="*/ 172 h 220"/>
                  <a:gd name="T44" fmla="*/ 90 w 211"/>
                  <a:gd name="T45" fmla="*/ 157 h 220"/>
                  <a:gd name="T46" fmla="*/ 198 w 211"/>
                  <a:gd name="T47" fmla="*/ 209 h 220"/>
                  <a:gd name="T48" fmla="*/ 211 w 211"/>
                  <a:gd name="T49" fmla="*/ 180 h 220"/>
                  <a:gd name="T50" fmla="*/ 209 w 211"/>
                  <a:gd name="T51" fmla="*/ 67 h 220"/>
                  <a:gd name="T52" fmla="*/ 205 w 211"/>
                  <a:gd name="T53" fmla="*/ 61 h 220"/>
                  <a:gd name="T54" fmla="*/ 205 w 211"/>
                  <a:gd name="T55" fmla="*/ 49 h 220"/>
                  <a:gd name="T56" fmla="*/ 207 w 211"/>
                  <a:gd name="T57" fmla="*/ 40 h 220"/>
                  <a:gd name="T58" fmla="*/ 203 w 211"/>
                  <a:gd name="T59" fmla="*/ 28 h 220"/>
                  <a:gd name="T60" fmla="*/ 198 w 211"/>
                  <a:gd name="T61" fmla="*/ 23 h 220"/>
                  <a:gd name="T62" fmla="*/ 188 w 211"/>
                  <a:gd name="T63" fmla="*/ 21 h 220"/>
                  <a:gd name="T64" fmla="*/ 180 w 211"/>
                  <a:gd name="T65" fmla="*/ 13 h 220"/>
                  <a:gd name="T66" fmla="*/ 161 w 211"/>
                  <a:gd name="T67" fmla="*/ 7 h 220"/>
                  <a:gd name="T68" fmla="*/ 150 w 211"/>
                  <a:gd name="T69" fmla="*/ 15 h 220"/>
                  <a:gd name="T70" fmla="*/ 140 w 211"/>
                  <a:gd name="T71" fmla="*/ 24 h 220"/>
                  <a:gd name="T72" fmla="*/ 146 w 211"/>
                  <a:gd name="T73" fmla="*/ 30 h 220"/>
                  <a:gd name="T74" fmla="*/ 146 w 211"/>
                  <a:gd name="T75" fmla="*/ 38 h 220"/>
                  <a:gd name="T76" fmla="*/ 132 w 211"/>
                  <a:gd name="T77" fmla="*/ 49 h 220"/>
                  <a:gd name="T78" fmla="*/ 127 w 211"/>
                  <a:gd name="T79" fmla="*/ 44 h 220"/>
                  <a:gd name="T80" fmla="*/ 94 w 211"/>
                  <a:gd name="T81" fmla="*/ 34 h 220"/>
                  <a:gd name="T82" fmla="*/ 77 w 211"/>
                  <a:gd name="T83" fmla="*/ 15 h 220"/>
                  <a:gd name="T84" fmla="*/ 48 w 211"/>
                  <a:gd name="T85" fmla="*/ 11 h 220"/>
                  <a:gd name="T86" fmla="*/ 42 w 211"/>
                  <a:gd name="T87" fmla="*/ 7 h 220"/>
                  <a:gd name="T88" fmla="*/ 36 w 211"/>
                  <a:gd name="T89" fmla="*/ 1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1" h="220">
                    <a:moveTo>
                      <a:pt x="36" y="0"/>
                    </a:moveTo>
                    <a:lnTo>
                      <a:pt x="33" y="5"/>
                    </a:lnTo>
                    <a:lnTo>
                      <a:pt x="35" y="9"/>
                    </a:lnTo>
                    <a:lnTo>
                      <a:pt x="31" y="13"/>
                    </a:lnTo>
                    <a:lnTo>
                      <a:pt x="27" y="17"/>
                    </a:lnTo>
                    <a:lnTo>
                      <a:pt x="23" y="19"/>
                    </a:lnTo>
                    <a:lnTo>
                      <a:pt x="19" y="21"/>
                    </a:lnTo>
                    <a:lnTo>
                      <a:pt x="17" y="23"/>
                    </a:lnTo>
                    <a:lnTo>
                      <a:pt x="17" y="26"/>
                    </a:lnTo>
                    <a:lnTo>
                      <a:pt x="17" y="32"/>
                    </a:lnTo>
                    <a:lnTo>
                      <a:pt x="17" y="36"/>
                    </a:lnTo>
                    <a:lnTo>
                      <a:pt x="15" y="40"/>
                    </a:lnTo>
                    <a:lnTo>
                      <a:pt x="13" y="44"/>
                    </a:lnTo>
                    <a:lnTo>
                      <a:pt x="10" y="44"/>
                    </a:lnTo>
                    <a:lnTo>
                      <a:pt x="8" y="44"/>
                    </a:lnTo>
                    <a:lnTo>
                      <a:pt x="6" y="46"/>
                    </a:lnTo>
                    <a:lnTo>
                      <a:pt x="6" y="49"/>
                    </a:lnTo>
                    <a:lnTo>
                      <a:pt x="8" y="51"/>
                    </a:lnTo>
                    <a:lnTo>
                      <a:pt x="6" y="76"/>
                    </a:lnTo>
                    <a:lnTo>
                      <a:pt x="12" y="82"/>
                    </a:lnTo>
                    <a:lnTo>
                      <a:pt x="8" y="84"/>
                    </a:lnTo>
                    <a:lnTo>
                      <a:pt x="8" y="86"/>
                    </a:lnTo>
                    <a:lnTo>
                      <a:pt x="8" y="90"/>
                    </a:lnTo>
                    <a:lnTo>
                      <a:pt x="8" y="92"/>
                    </a:lnTo>
                    <a:lnTo>
                      <a:pt x="8" y="97"/>
                    </a:lnTo>
                    <a:lnTo>
                      <a:pt x="8" y="107"/>
                    </a:lnTo>
                    <a:lnTo>
                      <a:pt x="4" y="113"/>
                    </a:lnTo>
                    <a:lnTo>
                      <a:pt x="0" y="115"/>
                    </a:lnTo>
                    <a:lnTo>
                      <a:pt x="0" y="117"/>
                    </a:lnTo>
                    <a:lnTo>
                      <a:pt x="4" y="120"/>
                    </a:lnTo>
                    <a:lnTo>
                      <a:pt x="6" y="124"/>
                    </a:lnTo>
                    <a:lnTo>
                      <a:pt x="8" y="130"/>
                    </a:lnTo>
                    <a:lnTo>
                      <a:pt x="12" y="132"/>
                    </a:lnTo>
                    <a:lnTo>
                      <a:pt x="12" y="136"/>
                    </a:lnTo>
                    <a:lnTo>
                      <a:pt x="13" y="142"/>
                    </a:lnTo>
                    <a:lnTo>
                      <a:pt x="17" y="145"/>
                    </a:lnTo>
                    <a:lnTo>
                      <a:pt x="21" y="145"/>
                    </a:lnTo>
                    <a:lnTo>
                      <a:pt x="25" y="147"/>
                    </a:lnTo>
                    <a:lnTo>
                      <a:pt x="29" y="149"/>
                    </a:lnTo>
                    <a:lnTo>
                      <a:pt x="31" y="151"/>
                    </a:lnTo>
                    <a:lnTo>
                      <a:pt x="36" y="155"/>
                    </a:lnTo>
                    <a:lnTo>
                      <a:pt x="38" y="157"/>
                    </a:lnTo>
                    <a:lnTo>
                      <a:pt x="67" y="174"/>
                    </a:lnTo>
                    <a:lnTo>
                      <a:pt x="69" y="172"/>
                    </a:lnTo>
                    <a:lnTo>
                      <a:pt x="79" y="165"/>
                    </a:lnTo>
                    <a:lnTo>
                      <a:pt x="90" y="157"/>
                    </a:lnTo>
                    <a:lnTo>
                      <a:pt x="198" y="220"/>
                    </a:lnTo>
                    <a:lnTo>
                      <a:pt x="198" y="209"/>
                    </a:lnTo>
                    <a:lnTo>
                      <a:pt x="211" y="209"/>
                    </a:lnTo>
                    <a:lnTo>
                      <a:pt x="211" y="180"/>
                    </a:lnTo>
                    <a:lnTo>
                      <a:pt x="209" y="67"/>
                    </a:lnTo>
                    <a:lnTo>
                      <a:pt x="209" y="67"/>
                    </a:lnTo>
                    <a:lnTo>
                      <a:pt x="207" y="63"/>
                    </a:lnTo>
                    <a:lnTo>
                      <a:pt x="205" y="61"/>
                    </a:lnTo>
                    <a:lnTo>
                      <a:pt x="205" y="55"/>
                    </a:lnTo>
                    <a:lnTo>
                      <a:pt x="205" y="49"/>
                    </a:lnTo>
                    <a:lnTo>
                      <a:pt x="207" y="46"/>
                    </a:lnTo>
                    <a:lnTo>
                      <a:pt x="207" y="40"/>
                    </a:lnTo>
                    <a:lnTo>
                      <a:pt x="205" y="34"/>
                    </a:lnTo>
                    <a:lnTo>
                      <a:pt x="203" y="28"/>
                    </a:lnTo>
                    <a:lnTo>
                      <a:pt x="203" y="26"/>
                    </a:lnTo>
                    <a:lnTo>
                      <a:pt x="198" y="23"/>
                    </a:lnTo>
                    <a:lnTo>
                      <a:pt x="196" y="21"/>
                    </a:lnTo>
                    <a:lnTo>
                      <a:pt x="188" y="21"/>
                    </a:lnTo>
                    <a:lnTo>
                      <a:pt x="182" y="21"/>
                    </a:lnTo>
                    <a:lnTo>
                      <a:pt x="180" y="13"/>
                    </a:lnTo>
                    <a:lnTo>
                      <a:pt x="169" y="9"/>
                    </a:lnTo>
                    <a:lnTo>
                      <a:pt x="161" y="7"/>
                    </a:lnTo>
                    <a:lnTo>
                      <a:pt x="155" y="9"/>
                    </a:lnTo>
                    <a:lnTo>
                      <a:pt x="150" y="15"/>
                    </a:lnTo>
                    <a:lnTo>
                      <a:pt x="144" y="19"/>
                    </a:lnTo>
                    <a:lnTo>
                      <a:pt x="140" y="24"/>
                    </a:lnTo>
                    <a:lnTo>
                      <a:pt x="142" y="28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38" y="44"/>
                    </a:lnTo>
                    <a:lnTo>
                      <a:pt x="132" y="49"/>
                    </a:lnTo>
                    <a:lnTo>
                      <a:pt x="129" y="46"/>
                    </a:lnTo>
                    <a:lnTo>
                      <a:pt x="127" y="44"/>
                    </a:lnTo>
                    <a:lnTo>
                      <a:pt x="109" y="40"/>
                    </a:lnTo>
                    <a:lnTo>
                      <a:pt x="94" y="34"/>
                    </a:lnTo>
                    <a:lnTo>
                      <a:pt x="84" y="24"/>
                    </a:lnTo>
                    <a:lnTo>
                      <a:pt x="77" y="15"/>
                    </a:lnTo>
                    <a:lnTo>
                      <a:pt x="63" y="13"/>
                    </a:lnTo>
                    <a:lnTo>
                      <a:pt x="48" y="11"/>
                    </a:lnTo>
                    <a:lnTo>
                      <a:pt x="48" y="7"/>
                    </a:lnTo>
                    <a:lnTo>
                      <a:pt x="42" y="7"/>
                    </a:lnTo>
                    <a:lnTo>
                      <a:pt x="38" y="5"/>
                    </a:lnTo>
                    <a:lnTo>
                      <a:pt x="36" y="1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6" name="Freeform 144"/>
              <p:cNvSpPr>
                <a:spLocks/>
              </p:cNvSpPr>
              <p:nvPr/>
            </p:nvSpPr>
            <p:spPr bwMode="gray">
              <a:xfrm>
                <a:off x="4095697" y="4238626"/>
                <a:ext cx="87303" cy="115888"/>
              </a:xfrm>
              <a:custGeom>
                <a:avLst/>
                <a:gdLst>
                  <a:gd name="T0" fmla="*/ 0 w 55"/>
                  <a:gd name="T1" fmla="*/ 33 h 73"/>
                  <a:gd name="T2" fmla="*/ 2 w 55"/>
                  <a:gd name="T3" fmla="*/ 36 h 73"/>
                  <a:gd name="T4" fmla="*/ 3 w 55"/>
                  <a:gd name="T5" fmla="*/ 40 h 73"/>
                  <a:gd name="T6" fmla="*/ 11 w 55"/>
                  <a:gd name="T7" fmla="*/ 46 h 73"/>
                  <a:gd name="T8" fmla="*/ 19 w 55"/>
                  <a:gd name="T9" fmla="*/ 50 h 73"/>
                  <a:gd name="T10" fmla="*/ 25 w 55"/>
                  <a:gd name="T11" fmla="*/ 58 h 73"/>
                  <a:gd name="T12" fmla="*/ 32 w 55"/>
                  <a:gd name="T13" fmla="*/ 65 h 73"/>
                  <a:gd name="T14" fmla="*/ 36 w 55"/>
                  <a:gd name="T15" fmla="*/ 69 h 73"/>
                  <a:gd name="T16" fmla="*/ 40 w 55"/>
                  <a:gd name="T17" fmla="*/ 71 h 73"/>
                  <a:gd name="T18" fmla="*/ 46 w 55"/>
                  <a:gd name="T19" fmla="*/ 73 h 73"/>
                  <a:gd name="T20" fmla="*/ 51 w 55"/>
                  <a:gd name="T21" fmla="*/ 73 h 73"/>
                  <a:gd name="T22" fmla="*/ 51 w 55"/>
                  <a:gd name="T23" fmla="*/ 71 h 73"/>
                  <a:gd name="T24" fmla="*/ 51 w 55"/>
                  <a:gd name="T25" fmla="*/ 67 h 73"/>
                  <a:gd name="T26" fmla="*/ 49 w 55"/>
                  <a:gd name="T27" fmla="*/ 63 h 73"/>
                  <a:gd name="T28" fmla="*/ 51 w 55"/>
                  <a:gd name="T29" fmla="*/ 61 h 73"/>
                  <a:gd name="T30" fmla="*/ 53 w 55"/>
                  <a:gd name="T31" fmla="*/ 58 h 73"/>
                  <a:gd name="T32" fmla="*/ 53 w 55"/>
                  <a:gd name="T33" fmla="*/ 54 h 73"/>
                  <a:gd name="T34" fmla="*/ 55 w 55"/>
                  <a:gd name="T35" fmla="*/ 50 h 73"/>
                  <a:gd name="T36" fmla="*/ 53 w 55"/>
                  <a:gd name="T37" fmla="*/ 50 h 73"/>
                  <a:gd name="T38" fmla="*/ 49 w 55"/>
                  <a:gd name="T39" fmla="*/ 48 h 73"/>
                  <a:gd name="T40" fmla="*/ 48 w 55"/>
                  <a:gd name="T41" fmla="*/ 42 h 73"/>
                  <a:gd name="T42" fmla="*/ 46 w 55"/>
                  <a:gd name="T43" fmla="*/ 38 h 73"/>
                  <a:gd name="T44" fmla="*/ 44 w 55"/>
                  <a:gd name="T45" fmla="*/ 35 h 73"/>
                  <a:gd name="T46" fmla="*/ 38 w 55"/>
                  <a:gd name="T47" fmla="*/ 33 h 73"/>
                  <a:gd name="T48" fmla="*/ 36 w 55"/>
                  <a:gd name="T49" fmla="*/ 33 h 73"/>
                  <a:gd name="T50" fmla="*/ 38 w 55"/>
                  <a:gd name="T51" fmla="*/ 29 h 73"/>
                  <a:gd name="T52" fmla="*/ 42 w 55"/>
                  <a:gd name="T53" fmla="*/ 23 h 73"/>
                  <a:gd name="T54" fmla="*/ 42 w 55"/>
                  <a:gd name="T55" fmla="*/ 17 h 73"/>
                  <a:gd name="T56" fmla="*/ 40 w 55"/>
                  <a:gd name="T57" fmla="*/ 13 h 73"/>
                  <a:gd name="T58" fmla="*/ 40 w 55"/>
                  <a:gd name="T59" fmla="*/ 11 h 73"/>
                  <a:gd name="T60" fmla="*/ 36 w 55"/>
                  <a:gd name="T61" fmla="*/ 13 h 73"/>
                  <a:gd name="T62" fmla="*/ 32 w 55"/>
                  <a:gd name="T63" fmla="*/ 19 h 73"/>
                  <a:gd name="T64" fmla="*/ 30 w 55"/>
                  <a:gd name="T65" fmla="*/ 21 h 73"/>
                  <a:gd name="T66" fmla="*/ 28 w 55"/>
                  <a:gd name="T67" fmla="*/ 17 h 73"/>
                  <a:gd name="T68" fmla="*/ 30 w 55"/>
                  <a:gd name="T69" fmla="*/ 15 h 73"/>
                  <a:gd name="T70" fmla="*/ 30 w 55"/>
                  <a:gd name="T71" fmla="*/ 8 h 73"/>
                  <a:gd name="T72" fmla="*/ 28 w 55"/>
                  <a:gd name="T73" fmla="*/ 2 h 73"/>
                  <a:gd name="T74" fmla="*/ 26 w 55"/>
                  <a:gd name="T75" fmla="*/ 0 h 73"/>
                  <a:gd name="T76" fmla="*/ 26 w 55"/>
                  <a:gd name="T77" fmla="*/ 2 h 73"/>
                  <a:gd name="T78" fmla="*/ 25 w 55"/>
                  <a:gd name="T79" fmla="*/ 4 h 73"/>
                  <a:gd name="T80" fmla="*/ 21 w 55"/>
                  <a:gd name="T81" fmla="*/ 4 h 73"/>
                  <a:gd name="T82" fmla="*/ 19 w 55"/>
                  <a:gd name="T83" fmla="*/ 4 h 73"/>
                  <a:gd name="T84" fmla="*/ 19 w 55"/>
                  <a:gd name="T85" fmla="*/ 6 h 73"/>
                  <a:gd name="T86" fmla="*/ 17 w 55"/>
                  <a:gd name="T87" fmla="*/ 10 h 73"/>
                  <a:gd name="T88" fmla="*/ 13 w 55"/>
                  <a:gd name="T89" fmla="*/ 11 h 73"/>
                  <a:gd name="T90" fmla="*/ 11 w 55"/>
                  <a:gd name="T91" fmla="*/ 13 h 73"/>
                  <a:gd name="T92" fmla="*/ 9 w 55"/>
                  <a:gd name="T93" fmla="*/ 17 h 73"/>
                  <a:gd name="T94" fmla="*/ 5 w 55"/>
                  <a:gd name="T95" fmla="*/ 23 h 73"/>
                  <a:gd name="T96" fmla="*/ 2 w 55"/>
                  <a:gd name="T97" fmla="*/ 29 h 73"/>
                  <a:gd name="T98" fmla="*/ 0 w 55"/>
                  <a:gd name="T99" fmla="*/ 3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5" h="73">
                    <a:moveTo>
                      <a:pt x="0" y="33"/>
                    </a:moveTo>
                    <a:lnTo>
                      <a:pt x="2" y="36"/>
                    </a:lnTo>
                    <a:lnTo>
                      <a:pt x="3" y="40"/>
                    </a:lnTo>
                    <a:lnTo>
                      <a:pt x="11" y="46"/>
                    </a:lnTo>
                    <a:lnTo>
                      <a:pt x="19" y="50"/>
                    </a:lnTo>
                    <a:lnTo>
                      <a:pt x="25" y="58"/>
                    </a:lnTo>
                    <a:lnTo>
                      <a:pt x="32" y="65"/>
                    </a:lnTo>
                    <a:lnTo>
                      <a:pt x="36" y="69"/>
                    </a:lnTo>
                    <a:lnTo>
                      <a:pt x="40" y="71"/>
                    </a:lnTo>
                    <a:lnTo>
                      <a:pt x="46" y="73"/>
                    </a:lnTo>
                    <a:lnTo>
                      <a:pt x="51" y="73"/>
                    </a:lnTo>
                    <a:lnTo>
                      <a:pt x="51" y="71"/>
                    </a:lnTo>
                    <a:lnTo>
                      <a:pt x="51" y="67"/>
                    </a:lnTo>
                    <a:lnTo>
                      <a:pt x="49" y="63"/>
                    </a:lnTo>
                    <a:lnTo>
                      <a:pt x="51" y="61"/>
                    </a:lnTo>
                    <a:lnTo>
                      <a:pt x="53" y="58"/>
                    </a:lnTo>
                    <a:lnTo>
                      <a:pt x="53" y="54"/>
                    </a:lnTo>
                    <a:lnTo>
                      <a:pt x="55" y="50"/>
                    </a:lnTo>
                    <a:lnTo>
                      <a:pt x="53" y="50"/>
                    </a:lnTo>
                    <a:lnTo>
                      <a:pt x="49" y="48"/>
                    </a:lnTo>
                    <a:lnTo>
                      <a:pt x="48" y="42"/>
                    </a:lnTo>
                    <a:lnTo>
                      <a:pt x="46" y="38"/>
                    </a:lnTo>
                    <a:lnTo>
                      <a:pt x="44" y="35"/>
                    </a:lnTo>
                    <a:lnTo>
                      <a:pt x="38" y="33"/>
                    </a:lnTo>
                    <a:lnTo>
                      <a:pt x="36" y="33"/>
                    </a:lnTo>
                    <a:lnTo>
                      <a:pt x="38" y="29"/>
                    </a:lnTo>
                    <a:lnTo>
                      <a:pt x="42" y="23"/>
                    </a:lnTo>
                    <a:lnTo>
                      <a:pt x="42" y="17"/>
                    </a:lnTo>
                    <a:lnTo>
                      <a:pt x="40" y="13"/>
                    </a:lnTo>
                    <a:lnTo>
                      <a:pt x="40" y="11"/>
                    </a:lnTo>
                    <a:lnTo>
                      <a:pt x="36" y="13"/>
                    </a:lnTo>
                    <a:lnTo>
                      <a:pt x="32" y="19"/>
                    </a:lnTo>
                    <a:lnTo>
                      <a:pt x="30" y="21"/>
                    </a:lnTo>
                    <a:lnTo>
                      <a:pt x="28" y="17"/>
                    </a:lnTo>
                    <a:lnTo>
                      <a:pt x="30" y="15"/>
                    </a:lnTo>
                    <a:lnTo>
                      <a:pt x="30" y="8"/>
                    </a:lnTo>
                    <a:lnTo>
                      <a:pt x="28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5" y="4"/>
                    </a:lnTo>
                    <a:lnTo>
                      <a:pt x="21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7" y="10"/>
                    </a:lnTo>
                    <a:lnTo>
                      <a:pt x="13" y="11"/>
                    </a:lnTo>
                    <a:lnTo>
                      <a:pt x="11" y="13"/>
                    </a:lnTo>
                    <a:lnTo>
                      <a:pt x="9" y="17"/>
                    </a:lnTo>
                    <a:lnTo>
                      <a:pt x="5" y="23"/>
                    </a:lnTo>
                    <a:lnTo>
                      <a:pt x="2" y="29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7" name="Freeform 145"/>
              <p:cNvSpPr>
                <a:spLocks/>
              </p:cNvSpPr>
              <p:nvPr/>
            </p:nvSpPr>
            <p:spPr bwMode="gray">
              <a:xfrm>
                <a:off x="4859199" y="5183189"/>
                <a:ext cx="36508" cy="33338"/>
              </a:xfrm>
              <a:custGeom>
                <a:avLst/>
                <a:gdLst>
                  <a:gd name="T0" fmla="*/ 12 w 23"/>
                  <a:gd name="T1" fmla="*/ 19 h 21"/>
                  <a:gd name="T2" fmla="*/ 12 w 23"/>
                  <a:gd name="T3" fmla="*/ 19 h 21"/>
                  <a:gd name="T4" fmla="*/ 14 w 23"/>
                  <a:gd name="T5" fmla="*/ 17 h 21"/>
                  <a:gd name="T6" fmla="*/ 16 w 23"/>
                  <a:gd name="T7" fmla="*/ 15 h 21"/>
                  <a:gd name="T8" fmla="*/ 18 w 23"/>
                  <a:gd name="T9" fmla="*/ 15 h 21"/>
                  <a:gd name="T10" fmla="*/ 21 w 23"/>
                  <a:gd name="T11" fmla="*/ 13 h 21"/>
                  <a:gd name="T12" fmla="*/ 23 w 23"/>
                  <a:gd name="T13" fmla="*/ 13 h 21"/>
                  <a:gd name="T14" fmla="*/ 23 w 23"/>
                  <a:gd name="T15" fmla="*/ 9 h 21"/>
                  <a:gd name="T16" fmla="*/ 21 w 23"/>
                  <a:gd name="T17" fmla="*/ 8 h 21"/>
                  <a:gd name="T18" fmla="*/ 19 w 23"/>
                  <a:gd name="T19" fmla="*/ 6 h 21"/>
                  <a:gd name="T20" fmla="*/ 18 w 23"/>
                  <a:gd name="T21" fmla="*/ 2 h 21"/>
                  <a:gd name="T22" fmla="*/ 16 w 23"/>
                  <a:gd name="T23" fmla="*/ 0 h 21"/>
                  <a:gd name="T24" fmla="*/ 16 w 23"/>
                  <a:gd name="T25" fmla="*/ 0 h 21"/>
                  <a:gd name="T26" fmla="*/ 12 w 23"/>
                  <a:gd name="T27" fmla="*/ 2 h 21"/>
                  <a:gd name="T28" fmla="*/ 8 w 23"/>
                  <a:gd name="T29" fmla="*/ 6 h 21"/>
                  <a:gd name="T30" fmla="*/ 4 w 23"/>
                  <a:gd name="T31" fmla="*/ 8 h 21"/>
                  <a:gd name="T32" fmla="*/ 2 w 23"/>
                  <a:gd name="T33" fmla="*/ 8 h 21"/>
                  <a:gd name="T34" fmla="*/ 0 w 23"/>
                  <a:gd name="T35" fmla="*/ 9 h 21"/>
                  <a:gd name="T36" fmla="*/ 0 w 23"/>
                  <a:gd name="T37" fmla="*/ 11 h 21"/>
                  <a:gd name="T38" fmla="*/ 2 w 23"/>
                  <a:gd name="T39" fmla="*/ 13 h 21"/>
                  <a:gd name="T40" fmla="*/ 2 w 23"/>
                  <a:gd name="T41" fmla="*/ 17 h 21"/>
                  <a:gd name="T42" fmla="*/ 4 w 23"/>
                  <a:gd name="T43" fmla="*/ 21 h 21"/>
                  <a:gd name="T44" fmla="*/ 6 w 23"/>
                  <a:gd name="T45" fmla="*/ 21 h 21"/>
                  <a:gd name="T46" fmla="*/ 10 w 23"/>
                  <a:gd name="T47" fmla="*/ 21 h 21"/>
                  <a:gd name="T48" fmla="*/ 12 w 23"/>
                  <a:gd name="T49" fmla="*/ 1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" h="21">
                    <a:moveTo>
                      <a:pt x="12" y="19"/>
                    </a:moveTo>
                    <a:lnTo>
                      <a:pt x="12" y="19"/>
                    </a:lnTo>
                    <a:lnTo>
                      <a:pt x="14" y="17"/>
                    </a:lnTo>
                    <a:lnTo>
                      <a:pt x="16" y="15"/>
                    </a:lnTo>
                    <a:lnTo>
                      <a:pt x="18" y="15"/>
                    </a:lnTo>
                    <a:lnTo>
                      <a:pt x="21" y="13"/>
                    </a:lnTo>
                    <a:lnTo>
                      <a:pt x="23" y="13"/>
                    </a:lnTo>
                    <a:lnTo>
                      <a:pt x="23" y="9"/>
                    </a:lnTo>
                    <a:lnTo>
                      <a:pt x="21" y="8"/>
                    </a:lnTo>
                    <a:lnTo>
                      <a:pt x="19" y="6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8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2" y="17"/>
                    </a:lnTo>
                    <a:lnTo>
                      <a:pt x="4" y="21"/>
                    </a:lnTo>
                    <a:lnTo>
                      <a:pt x="6" y="21"/>
                    </a:lnTo>
                    <a:lnTo>
                      <a:pt x="10" y="21"/>
                    </a:lnTo>
                    <a:lnTo>
                      <a:pt x="12" y="1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8" name="Freeform 146"/>
              <p:cNvSpPr>
                <a:spLocks/>
              </p:cNvSpPr>
              <p:nvPr/>
            </p:nvSpPr>
            <p:spPr bwMode="gray">
              <a:xfrm>
                <a:off x="5027456" y="3579814"/>
                <a:ext cx="36508" cy="52388"/>
              </a:xfrm>
              <a:custGeom>
                <a:avLst/>
                <a:gdLst>
                  <a:gd name="T0" fmla="*/ 2 w 23"/>
                  <a:gd name="T1" fmla="*/ 33 h 33"/>
                  <a:gd name="T2" fmla="*/ 6 w 23"/>
                  <a:gd name="T3" fmla="*/ 31 h 33"/>
                  <a:gd name="T4" fmla="*/ 9 w 23"/>
                  <a:gd name="T5" fmla="*/ 29 h 33"/>
                  <a:gd name="T6" fmla="*/ 9 w 23"/>
                  <a:gd name="T7" fmla="*/ 29 h 33"/>
                  <a:gd name="T8" fmla="*/ 11 w 23"/>
                  <a:gd name="T9" fmla="*/ 25 h 33"/>
                  <a:gd name="T10" fmla="*/ 13 w 23"/>
                  <a:gd name="T11" fmla="*/ 24 h 33"/>
                  <a:gd name="T12" fmla="*/ 15 w 23"/>
                  <a:gd name="T13" fmla="*/ 24 h 33"/>
                  <a:gd name="T14" fmla="*/ 17 w 23"/>
                  <a:gd name="T15" fmla="*/ 18 h 33"/>
                  <a:gd name="T16" fmla="*/ 17 w 23"/>
                  <a:gd name="T17" fmla="*/ 14 h 33"/>
                  <a:gd name="T18" fmla="*/ 21 w 23"/>
                  <a:gd name="T19" fmla="*/ 8 h 33"/>
                  <a:gd name="T20" fmla="*/ 23 w 23"/>
                  <a:gd name="T21" fmla="*/ 2 h 33"/>
                  <a:gd name="T22" fmla="*/ 21 w 23"/>
                  <a:gd name="T23" fmla="*/ 0 h 33"/>
                  <a:gd name="T24" fmla="*/ 15 w 23"/>
                  <a:gd name="T25" fmla="*/ 0 h 33"/>
                  <a:gd name="T26" fmla="*/ 11 w 23"/>
                  <a:gd name="T27" fmla="*/ 4 h 33"/>
                  <a:gd name="T28" fmla="*/ 9 w 23"/>
                  <a:gd name="T29" fmla="*/ 6 h 33"/>
                  <a:gd name="T30" fmla="*/ 6 w 23"/>
                  <a:gd name="T31" fmla="*/ 18 h 33"/>
                  <a:gd name="T32" fmla="*/ 0 w 23"/>
                  <a:gd name="T33" fmla="*/ 27 h 33"/>
                  <a:gd name="T34" fmla="*/ 0 w 23"/>
                  <a:gd name="T35" fmla="*/ 31 h 33"/>
                  <a:gd name="T36" fmla="*/ 2 w 23"/>
                  <a:gd name="T3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33">
                    <a:moveTo>
                      <a:pt x="2" y="33"/>
                    </a:moveTo>
                    <a:lnTo>
                      <a:pt x="6" y="31"/>
                    </a:lnTo>
                    <a:lnTo>
                      <a:pt x="9" y="29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3" y="24"/>
                    </a:lnTo>
                    <a:lnTo>
                      <a:pt x="15" y="24"/>
                    </a:lnTo>
                    <a:lnTo>
                      <a:pt x="17" y="18"/>
                    </a:lnTo>
                    <a:lnTo>
                      <a:pt x="17" y="14"/>
                    </a:lnTo>
                    <a:lnTo>
                      <a:pt x="21" y="8"/>
                    </a:lnTo>
                    <a:lnTo>
                      <a:pt x="23" y="2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1" y="4"/>
                    </a:lnTo>
                    <a:lnTo>
                      <a:pt x="9" y="6"/>
                    </a:lnTo>
                    <a:lnTo>
                      <a:pt x="6" y="18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49" name="Freeform 147"/>
              <p:cNvSpPr>
                <a:spLocks/>
              </p:cNvSpPr>
              <p:nvPr/>
            </p:nvSpPr>
            <p:spPr bwMode="gray">
              <a:xfrm>
                <a:off x="4746500" y="2898776"/>
                <a:ext cx="152383" cy="87313"/>
              </a:xfrm>
              <a:custGeom>
                <a:avLst/>
                <a:gdLst>
                  <a:gd name="T0" fmla="*/ 39 w 96"/>
                  <a:gd name="T1" fmla="*/ 13 h 55"/>
                  <a:gd name="T2" fmla="*/ 31 w 96"/>
                  <a:gd name="T3" fmla="*/ 21 h 55"/>
                  <a:gd name="T4" fmla="*/ 21 w 96"/>
                  <a:gd name="T5" fmla="*/ 13 h 55"/>
                  <a:gd name="T6" fmla="*/ 14 w 96"/>
                  <a:gd name="T7" fmla="*/ 7 h 55"/>
                  <a:gd name="T8" fmla="*/ 10 w 96"/>
                  <a:gd name="T9" fmla="*/ 15 h 55"/>
                  <a:gd name="T10" fmla="*/ 6 w 96"/>
                  <a:gd name="T11" fmla="*/ 26 h 55"/>
                  <a:gd name="T12" fmla="*/ 2 w 96"/>
                  <a:gd name="T13" fmla="*/ 34 h 55"/>
                  <a:gd name="T14" fmla="*/ 6 w 96"/>
                  <a:gd name="T15" fmla="*/ 34 h 55"/>
                  <a:gd name="T16" fmla="*/ 16 w 96"/>
                  <a:gd name="T17" fmla="*/ 34 h 55"/>
                  <a:gd name="T18" fmla="*/ 31 w 96"/>
                  <a:gd name="T19" fmla="*/ 38 h 55"/>
                  <a:gd name="T20" fmla="*/ 39 w 96"/>
                  <a:gd name="T21" fmla="*/ 42 h 55"/>
                  <a:gd name="T22" fmla="*/ 46 w 96"/>
                  <a:gd name="T23" fmla="*/ 42 h 55"/>
                  <a:gd name="T24" fmla="*/ 48 w 96"/>
                  <a:gd name="T25" fmla="*/ 44 h 55"/>
                  <a:gd name="T26" fmla="*/ 56 w 96"/>
                  <a:gd name="T27" fmla="*/ 48 h 55"/>
                  <a:gd name="T28" fmla="*/ 62 w 96"/>
                  <a:gd name="T29" fmla="*/ 51 h 55"/>
                  <a:gd name="T30" fmla="*/ 69 w 96"/>
                  <a:gd name="T31" fmla="*/ 55 h 55"/>
                  <a:gd name="T32" fmla="*/ 73 w 96"/>
                  <a:gd name="T33" fmla="*/ 51 h 55"/>
                  <a:gd name="T34" fmla="*/ 83 w 96"/>
                  <a:gd name="T35" fmla="*/ 51 h 55"/>
                  <a:gd name="T36" fmla="*/ 85 w 96"/>
                  <a:gd name="T37" fmla="*/ 50 h 55"/>
                  <a:gd name="T38" fmla="*/ 85 w 96"/>
                  <a:gd name="T39" fmla="*/ 40 h 55"/>
                  <a:gd name="T40" fmla="*/ 90 w 96"/>
                  <a:gd name="T41" fmla="*/ 40 h 55"/>
                  <a:gd name="T42" fmla="*/ 94 w 96"/>
                  <a:gd name="T43" fmla="*/ 32 h 55"/>
                  <a:gd name="T44" fmla="*/ 90 w 96"/>
                  <a:gd name="T45" fmla="*/ 26 h 55"/>
                  <a:gd name="T46" fmla="*/ 85 w 96"/>
                  <a:gd name="T47" fmla="*/ 25 h 55"/>
                  <a:gd name="T48" fmla="*/ 85 w 96"/>
                  <a:gd name="T49" fmla="*/ 15 h 55"/>
                  <a:gd name="T50" fmla="*/ 79 w 96"/>
                  <a:gd name="T51" fmla="*/ 15 h 55"/>
                  <a:gd name="T52" fmla="*/ 77 w 96"/>
                  <a:gd name="T53" fmla="*/ 9 h 55"/>
                  <a:gd name="T54" fmla="*/ 67 w 96"/>
                  <a:gd name="T55" fmla="*/ 5 h 55"/>
                  <a:gd name="T56" fmla="*/ 62 w 96"/>
                  <a:gd name="T57" fmla="*/ 3 h 55"/>
                  <a:gd name="T58" fmla="*/ 52 w 96"/>
                  <a:gd name="T59" fmla="*/ 0 h 55"/>
                  <a:gd name="T60" fmla="*/ 50 w 96"/>
                  <a:gd name="T61" fmla="*/ 0 h 55"/>
                  <a:gd name="T62" fmla="*/ 43 w 96"/>
                  <a:gd name="T63" fmla="*/ 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55">
                    <a:moveTo>
                      <a:pt x="41" y="2"/>
                    </a:moveTo>
                    <a:lnTo>
                      <a:pt x="39" y="13"/>
                    </a:lnTo>
                    <a:lnTo>
                      <a:pt x="37" y="21"/>
                    </a:lnTo>
                    <a:lnTo>
                      <a:pt x="31" y="21"/>
                    </a:lnTo>
                    <a:lnTo>
                      <a:pt x="25" y="21"/>
                    </a:lnTo>
                    <a:lnTo>
                      <a:pt x="21" y="13"/>
                    </a:lnTo>
                    <a:lnTo>
                      <a:pt x="18" y="5"/>
                    </a:lnTo>
                    <a:lnTo>
                      <a:pt x="14" y="7"/>
                    </a:lnTo>
                    <a:lnTo>
                      <a:pt x="10" y="9"/>
                    </a:lnTo>
                    <a:lnTo>
                      <a:pt x="10" y="15"/>
                    </a:lnTo>
                    <a:lnTo>
                      <a:pt x="10" y="21"/>
                    </a:lnTo>
                    <a:lnTo>
                      <a:pt x="6" y="26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6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23" y="36"/>
                    </a:lnTo>
                    <a:lnTo>
                      <a:pt x="31" y="38"/>
                    </a:lnTo>
                    <a:lnTo>
                      <a:pt x="35" y="40"/>
                    </a:lnTo>
                    <a:lnTo>
                      <a:pt x="39" y="42"/>
                    </a:lnTo>
                    <a:lnTo>
                      <a:pt x="43" y="42"/>
                    </a:lnTo>
                    <a:lnTo>
                      <a:pt x="46" y="42"/>
                    </a:lnTo>
                    <a:lnTo>
                      <a:pt x="48" y="42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60" y="50"/>
                    </a:lnTo>
                    <a:lnTo>
                      <a:pt x="62" y="51"/>
                    </a:lnTo>
                    <a:lnTo>
                      <a:pt x="66" y="53"/>
                    </a:lnTo>
                    <a:lnTo>
                      <a:pt x="69" y="55"/>
                    </a:lnTo>
                    <a:lnTo>
                      <a:pt x="71" y="55"/>
                    </a:lnTo>
                    <a:lnTo>
                      <a:pt x="73" y="51"/>
                    </a:lnTo>
                    <a:lnTo>
                      <a:pt x="79" y="50"/>
                    </a:lnTo>
                    <a:lnTo>
                      <a:pt x="83" y="51"/>
                    </a:lnTo>
                    <a:lnTo>
                      <a:pt x="83" y="51"/>
                    </a:lnTo>
                    <a:lnTo>
                      <a:pt x="85" y="50"/>
                    </a:lnTo>
                    <a:lnTo>
                      <a:pt x="85" y="46"/>
                    </a:lnTo>
                    <a:lnTo>
                      <a:pt x="85" y="40"/>
                    </a:lnTo>
                    <a:lnTo>
                      <a:pt x="87" y="38"/>
                    </a:lnTo>
                    <a:lnTo>
                      <a:pt x="90" y="40"/>
                    </a:lnTo>
                    <a:lnTo>
                      <a:pt x="96" y="38"/>
                    </a:lnTo>
                    <a:lnTo>
                      <a:pt x="94" y="32"/>
                    </a:lnTo>
                    <a:lnTo>
                      <a:pt x="92" y="30"/>
                    </a:lnTo>
                    <a:lnTo>
                      <a:pt x="90" y="26"/>
                    </a:lnTo>
                    <a:lnTo>
                      <a:pt x="87" y="26"/>
                    </a:lnTo>
                    <a:lnTo>
                      <a:pt x="85" y="25"/>
                    </a:lnTo>
                    <a:lnTo>
                      <a:pt x="85" y="19"/>
                    </a:lnTo>
                    <a:lnTo>
                      <a:pt x="85" y="15"/>
                    </a:lnTo>
                    <a:lnTo>
                      <a:pt x="81" y="15"/>
                    </a:lnTo>
                    <a:lnTo>
                      <a:pt x="79" y="15"/>
                    </a:lnTo>
                    <a:lnTo>
                      <a:pt x="77" y="11"/>
                    </a:lnTo>
                    <a:lnTo>
                      <a:pt x="77" y="9"/>
                    </a:lnTo>
                    <a:lnTo>
                      <a:pt x="69" y="11"/>
                    </a:lnTo>
                    <a:lnTo>
                      <a:pt x="67" y="5"/>
                    </a:lnTo>
                    <a:lnTo>
                      <a:pt x="64" y="5"/>
                    </a:lnTo>
                    <a:lnTo>
                      <a:pt x="62" y="3"/>
                    </a:lnTo>
                    <a:lnTo>
                      <a:pt x="58" y="0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6" y="2"/>
                    </a:lnTo>
                    <a:lnTo>
                      <a:pt x="43" y="2"/>
                    </a:lnTo>
                    <a:lnTo>
                      <a:pt x="41" y="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0" name="Freeform 148"/>
              <p:cNvSpPr>
                <a:spLocks/>
              </p:cNvSpPr>
              <p:nvPr/>
            </p:nvSpPr>
            <p:spPr bwMode="gray">
              <a:xfrm>
                <a:off x="6316362" y="3890964"/>
                <a:ext cx="136510" cy="219075"/>
              </a:xfrm>
              <a:custGeom>
                <a:avLst/>
                <a:gdLst>
                  <a:gd name="T0" fmla="*/ 63 w 86"/>
                  <a:gd name="T1" fmla="*/ 129 h 138"/>
                  <a:gd name="T2" fmla="*/ 65 w 86"/>
                  <a:gd name="T3" fmla="*/ 121 h 138"/>
                  <a:gd name="T4" fmla="*/ 61 w 86"/>
                  <a:gd name="T5" fmla="*/ 110 h 138"/>
                  <a:gd name="T6" fmla="*/ 55 w 86"/>
                  <a:gd name="T7" fmla="*/ 102 h 138"/>
                  <a:gd name="T8" fmla="*/ 51 w 86"/>
                  <a:gd name="T9" fmla="*/ 90 h 138"/>
                  <a:gd name="T10" fmla="*/ 48 w 86"/>
                  <a:gd name="T11" fmla="*/ 75 h 138"/>
                  <a:gd name="T12" fmla="*/ 38 w 86"/>
                  <a:gd name="T13" fmla="*/ 73 h 138"/>
                  <a:gd name="T14" fmla="*/ 30 w 86"/>
                  <a:gd name="T15" fmla="*/ 67 h 138"/>
                  <a:gd name="T16" fmla="*/ 23 w 86"/>
                  <a:gd name="T17" fmla="*/ 71 h 138"/>
                  <a:gd name="T18" fmla="*/ 17 w 86"/>
                  <a:gd name="T19" fmla="*/ 77 h 138"/>
                  <a:gd name="T20" fmla="*/ 11 w 86"/>
                  <a:gd name="T21" fmla="*/ 73 h 138"/>
                  <a:gd name="T22" fmla="*/ 5 w 86"/>
                  <a:gd name="T23" fmla="*/ 67 h 138"/>
                  <a:gd name="T24" fmla="*/ 3 w 86"/>
                  <a:gd name="T25" fmla="*/ 62 h 138"/>
                  <a:gd name="T26" fmla="*/ 7 w 86"/>
                  <a:gd name="T27" fmla="*/ 50 h 138"/>
                  <a:gd name="T28" fmla="*/ 0 w 86"/>
                  <a:gd name="T29" fmla="*/ 50 h 138"/>
                  <a:gd name="T30" fmla="*/ 3 w 86"/>
                  <a:gd name="T31" fmla="*/ 41 h 138"/>
                  <a:gd name="T32" fmla="*/ 7 w 86"/>
                  <a:gd name="T33" fmla="*/ 29 h 138"/>
                  <a:gd name="T34" fmla="*/ 11 w 86"/>
                  <a:gd name="T35" fmla="*/ 29 h 138"/>
                  <a:gd name="T36" fmla="*/ 19 w 86"/>
                  <a:gd name="T37" fmla="*/ 17 h 138"/>
                  <a:gd name="T38" fmla="*/ 15 w 86"/>
                  <a:gd name="T39" fmla="*/ 0 h 138"/>
                  <a:gd name="T40" fmla="*/ 28 w 86"/>
                  <a:gd name="T41" fmla="*/ 6 h 138"/>
                  <a:gd name="T42" fmla="*/ 30 w 86"/>
                  <a:gd name="T43" fmla="*/ 16 h 138"/>
                  <a:gd name="T44" fmla="*/ 38 w 86"/>
                  <a:gd name="T45" fmla="*/ 21 h 138"/>
                  <a:gd name="T46" fmla="*/ 48 w 86"/>
                  <a:gd name="T47" fmla="*/ 19 h 138"/>
                  <a:gd name="T48" fmla="*/ 57 w 86"/>
                  <a:gd name="T49" fmla="*/ 25 h 138"/>
                  <a:gd name="T50" fmla="*/ 53 w 86"/>
                  <a:gd name="T51" fmla="*/ 35 h 138"/>
                  <a:gd name="T52" fmla="*/ 51 w 86"/>
                  <a:gd name="T53" fmla="*/ 48 h 138"/>
                  <a:gd name="T54" fmla="*/ 42 w 86"/>
                  <a:gd name="T55" fmla="*/ 52 h 138"/>
                  <a:gd name="T56" fmla="*/ 51 w 86"/>
                  <a:gd name="T57" fmla="*/ 62 h 138"/>
                  <a:gd name="T58" fmla="*/ 59 w 86"/>
                  <a:gd name="T59" fmla="*/ 79 h 138"/>
                  <a:gd name="T60" fmla="*/ 65 w 86"/>
                  <a:gd name="T61" fmla="*/ 87 h 138"/>
                  <a:gd name="T62" fmla="*/ 74 w 86"/>
                  <a:gd name="T63" fmla="*/ 96 h 138"/>
                  <a:gd name="T64" fmla="*/ 78 w 86"/>
                  <a:gd name="T65" fmla="*/ 108 h 138"/>
                  <a:gd name="T66" fmla="*/ 84 w 86"/>
                  <a:gd name="T67" fmla="*/ 117 h 138"/>
                  <a:gd name="T68" fmla="*/ 84 w 86"/>
                  <a:gd name="T69" fmla="*/ 129 h 138"/>
                  <a:gd name="T70" fmla="*/ 76 w 86"/>
                  <a:gd name="T71" fmla="*/ 127 h 138"/>
                  <a:gd name="T72" fmla="*/ 69 w 86"/>
                  <a:gd name="T73" fmla="*/ 131 h 138"/>
                  <a:gd name="T74" fmla="*/ 65 w 86"/>
                  <a:gd name="T75" fmla="*/ 138 h 138"/>
                  <a:gd name="T76" fmla="*/ 59 w 86"/>
                  <a:gd name="T77" fmla="*/ 131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86" h="138">
                    <a:moveTo>
                      <a:pt x="59" y="131"/>
                    </a:moveTo>
                    <a:lnTo>
                      <a:pt x="63" y="129"/>
                    </a:lnTo>
                    <a:lnTo>
                      <a:pt x="65" y="123"/>
                    </a:lnTo>
                    <a:lnTo>
                      <a:pt x="65" y="121"/>
                    </a:lnTo>
                    <a:lnTo>
                      <a:pt x="63" y="113"/>
                    </a:lnTo>
                    <a:lnTo>
                      <a:pt x="61" y="110"/>
                    </a:lnTo>
                    <a:lnTo>
                      <a:pt x="59" y="106"/>
                    </a:lnTo>
                    <a:lnTo>
                      <a:pt x="55" y="102"/>
                    </a:lnTo>
                    <a:lnTo>
                      <a:pt x="53" y="98"/>
                    </a:lnTo>
                    <a:lnTo>
                      <a:pt x="51" y="90"/>
                    </a:lnTo>
                    <a:lnTo>
                      <a:pt x="51" y="85"/>
                    </a:lnTo>
                    <a:lnTo>
                      <a:pt x="48" y="75"/>
                    </a:lnTo>
                    <a:lnTo>
                      <a:pt x="44" y="75"/>
                    </a:lnTo>
                    <a:lnTo>
                      <a:pt x="38" y="73"/>
                    </a:lnTo>
                    <a:lnTo>
                      <a:pt x="36" y="67"/>
                    </a:lnTo>
                    <a:lnTo>
                      <a:pt x="30" y="67"/>
                    </a:lnTo>
                    <a:lnTo>
                      <a:pt x="27" y="69"/>
                    </a:lnTo>
                    <a:lnTo>
                      <a:pt x="23" y="71"/>
                    </a:lnTo>
                    <a:lnTo>
                      <a:pt x="21" y="77"/>
                    </a:lnTo>
                    <a:lnTo>
                      <a:pt x="17" y="77"/>
                    </a:lnTo>
                    <a:lnTo>
                      <a:pt x="15" y="75"/>
                    </a:lnTo>
                    <a:lnTo>
                      <a:pt x="11" y="73"/>
                    </a:lnTo>
                    <a:lnTo>
                      <a:pt x="5" y="73"/>
                    </a:lnTo>
                    <a:lnTo>
                      <a:pt x="5" y="67"/>
                    </a:lnTo>
                    <a:lnTo>
                      <a:pt x="3" y="65"/>
                    </a:lnTo>
                    <a:lnTo>
                      <a:pt x="3" y="62"/>
                    </a:lnTo>
                    <a:lnTo>
                      <a:pt x="9" y="56"/>
                    </a:lnTo>
                    <a:lnTo>
                      <a:pt x="7" y="50"/>
                    </a:lnTo>
                    <a:lnTo>
                      <a:pt x="3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3" y="41"/>
                    </a:lnTo>
                    <a:lnTo>
                      <a:pt x="3" y="35"/>
                    </a:lnTo>
                    <a:lnTo>
                      <a:pt x="7" y="29"/>
                    </a:lnTo>
                    <a:lnTo>
                      <a:pt x="9" y="29"/>
                    </a:lnTo>
                    <a:lnTo>
                      <a:pt x="11" y="29"/>
                    </a:lnTo>
                    <a:lnTo>
                      <a:pt x="17" y="25"/>
                    </a:lnTo>
                    <a:lnTo>
                      <a:pt x="19" y="17"/>
                    </a:lnTo>
                    <a:lnTo>
                      <a:pt x="13" y="6"/>
                    </a:lnTo>
                    <a:lnTo>
                      <a:pt x="15" y="0"/>
                    </a:lnTo>
                    <a:lnTo>
                      <a:pt x="23" y="0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6"/>
                    </a:lnTo>
                    <a:lnTo>
                      <a:pt x="36" y="17"/>
                    </a:lnTo>
                    <a:lnTo>
                      <a:pt x="38" y="21"/>
                    </a:lnTo>
                    <a:lnTo>
                      <a:pt x="44" y="23"/>
                    </a:lnTo>
                    <a:lnTo>
                      <a:pt x="48" y="19"/>
                    </a:lnTo>
                    <a:lnTo>
                      <a:pt x="53" y="1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53" y="35"/>
                    </a:lnTo>
                    <a:lnTo>
                      <a:pt x="53" y="46"/>
                    </a:lnTo>
                    <a:lnTo>
                      <a:pt x="51" y="48"/>
                    </a:lnTo>
                    <a:lnTo>
                      <a:pt x="46" y="48"/>
                    </a:lnTo>
                    <a:lnTo>
                      <a:pt x="42" y="52"/>
                    </a:lnTo>
                    <a:lnTo>
                      <a:pt x="44" y="58"/>
                    </a:lnTo>
                    <a:lnTo>
                      <a:pt x="51" y="62"/>
                    </a:lnTo>
                    <a:lnTo>
                      <a:pt x="55" y="71"/>
                    </a:lnTo>
                    <a:lnTo>
                      <a:pt x="59" y="79"/>
                    </a:lnTo>
                    <a:lnTo>
                      <a:pt x="63" y="83"/>
                    </a:lnTo>
                    <a:lnTo>
                      <a:pt x="65" y="87"/>
                    </a:lnTo>
                    <a:lnTo>
                      <a:pt x="69" y="92"/>
                    </a:lnTo>
                    <a:lnTo>
                      <a:pt x="74" y="96"/>
                    </a:lnTo>
                    <a:lnTo>
                      <a:pt x="76" y="102"/>
                    </a:lnTo>
                    <a:lnTo>
                      <a:pt x="78" y="108"/>
                    </a:lnTo>
                    <a:lnTo>
                      <a:pt x="84" y="112"/>
                    </a:lnTo>
                    <a:lnTo>
                      <a:pt x="84" y="117"/>
                    </a:lnTo>
                    <a:lnTo>
                      <a:pt x="86" y="125"/>
                    </a:lnTo>
                    <a:lnTo>
                      <a:pt x="84" y="129"/>
                    </a:lnTo>
                    <a:lnTo>
                      <a:pt x="78" y="131"/>
                    </a:lnTo>
                    <a:lnTo>
                      <a:pt x="76" y="127"/>
                    </a:lnTo>
                    <a:lnTo>
                      <a:pt x="73" y="127"/>
                    </a:lnTo>
                    <a:lnTo>
                      <a:pt x="69" y="131"/>
                    </a:lnTo>
                    <a:lnTo>
                      <a:pt x="69" y="136"/>
                    </a:lnTo>
                    <a:lnTo>
                      <a:pt x="65" y="138"/>
                    </a:lnTo>
                    <a:lnTo>
                      <a:pt x="61" y="135"/>
                    </a:lnTo>
                    <a:lnTo>
                      <a:pt x="59" y="13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1" name="Freeform 149"/>
              <p:cNvSpPr>
                <a:spLocks noEditPoints="1"/>
              </p:cNvSpPr>
              <p:nvPr/>
            </p:nvSpPr>
            <p:spPr bwMode="gray">
              <a:xfrm>
                <a:off x="5700481" y="3349626"/>
                <a:ext cx="212701" cy="106363"/>
              </a:xfrm>
              <a:custGeom>
                <a:avLst/>
                <a:gdLst>
                  <a:gd name="T0" fmla="*/ 40 w 134"/>
                  <a:gd name="T1" fmla="*/ 63 h 67"/>
                  <a:gd name="T2" fmla="*/ 31 w 134"/>
                  <a:gd name="T3" fmla="*/ 67 h 67"/>
                  <a:gd name="T4" fmla="*/ 27 w 134"/>
                  <a:gd name="T5" fmla="*/ 65 h 67"/>
                  <a:gd name="T6" fmla="*/ 19 w 134"/>
                  <a:gd name="T7" fmla="*/ 63 h 67"/>
                  <a:gd name="T8" fmla="*/ 11 w 134"/>
                  <a:gd name="T9" fmla="*/ 63 h 67"/>
                  <a:gd name="T10" fmla="*/ 2 w 134"/>
                  <a:gd name="T11" fmla="*/ 61 h 67"/>
                  <a:gd name="T12" fmla="*/ 6 w 134"/>
                  <a:gd name="T13" fmla="*/ 53 h 67"/>
                  <a:gd name="T14" fmla="*/ 13 w 134"/>
                  <a:gd name="T15" fmla="*/ 51 h 67"/>
                  <a:gd name="T16" fmla="*/ 15 w 134"/>
                  <a:gd name="T17" fmla="*/ 53 h 67"/>
                  <a:gd name="T18" fmla="*/ 17 w 134"/>
                  <a:gd name="T19" fmla="*/ 55 h 67"/>
                  <a:gd name="T20" fmla="*/ 19 w 134"/>
                  <a:gd name="T21" fmla="*/ 51 h 67"/>
                  <a:gd name="T22" fmla="*/ 23 w 134"/>
                  <a:gd name="T23" fmla="*/ 50 h 67"/>
                  <a:gd name="T24" fmla="*/ 29 w 134"/>
                  <a:gd name="T25" fmla="*/ 51 h 67"/>
                  <a:gd name="T26" fmla="*/ 38 w 134"/>
                  <a:gd name="T27" fmla="*/ 40 h 67"/>
                  <a:gd name="T28" fmla="*/ 40 w 134"/>
                  <a:gd name="T29" fmla="*/ 38 h 67"/>
                  <a:gd name="T30" fmla="*/ 35 w 134"/>
                  <a:gd name="T31" fmla="*/ 36 h 67"/>
                  <a:gd name="T32" fmla="*/ 27 w 134"/>
                  <a:gd name="T33" fmla="*/ 32 h 67"/>
                  <a:gd name="T34" fmla="*/ 23 w 134"/>
                  <a:gd name="T35" fmla="*/ 32 h 67"/>
                  <a:gd name="T36" fmla="*/ 23 w 134"/>
                  <a:gd name="T37" fmla="*/ 30 h 67"/>
                  <a:gd name="T38" fmla="*/ 23 w 134"/>
                  <a:gd name="T39" fmla="*/ 28 h 67"/>
                  <a:gd name="T40" fmla="*/ 19 w 134"/>
                  <a:gd name="T41" fmla="*/ 28 h 67"/>
                  <a:gd name="T42" fmla="*/ 11 w 134"/>
                  <a:gd name="T43" fmla="*/ 25 h 67"/>
                  <a:gd name="T44" fmla="*/ 15 w 134"/>
                  <a:gd name="T45" fmla="*/ 23 h 67"/>
                  <a:gd name="T46" fmla="*/ 21 w 134"/>
                  <a:gd name="T47" fmla="*/ 17 h 67"/>
                  <a:gd name="T48" fmla="*/ 19 w 134"/>
                  <a:gd name="T49" fmla="*/ 11 h 67"/>
                  <a:gd name="T50" fmla="*/ 15 w 134"/>
                  <a:gd name="T51" fmla="*/ 13 h 67"/>
                  <a:gd name="T52" fmla="*/ 25 w 134"/>
                  <a:gd name="T53" fmla="*/ 5 h 67"/>
                  <a:gd name="T54" fmla="*/ 42 w 134"/>
                  <a:gd name="T55" fmla="*/ 9 h 67"/>
                  <a:gd name="T56" fmla="*/ 50 w 134"/>
                  <a:gd name="T57" fmla="*/ 9 h 67"/>
                  <a:gd name="T58" fmla="*/ 54 w 134"/>
                  <a:gd name="T59" fmla="*/ 5 h 67"/>
                  <a:gd name="T60" fmla="*/ 58 w 134"/>
                  <a:gd name="T61" fmla="*/ 3 h 67"/>
                  <a:gd name="T62" fmla="*/ 65 w 134"/>
                  <a:gd name="T63" fmla="*/ 2 h 67"/>
                  <a:gd name="T64" fmla="*/ 71 w 134"/>
                  <a:gd name="T65" fmla="*/ 7 h 67"/>
                  <a:gd name="T66" fmla="*/ 81 w 134"/>
                  <a:gd name="T67" fmla="*/ 3 h 67"/>
                  <a:gd name="T68" fmla="*/ 94 w 134"/>
                  <a:gd name="T69" fmla="*/ 0 h 67"/>
                  <a:gd name="T70" fmla="*/ 109 w 134"/>
                  <a:gd name="T71" fmla="*/ 0 h 67"/>
                  <a:gd name="T72" fmla="*/ 119 w 134"/>
                  <a:gd name="T73" fmla="*/ 2 h 67"/>
                  <a:gd name="T74" fmla="*/ 125 w 134"/>
                  <a:gd name="T75" fmla="*/ 7 h 67"/>
                  <a:gd name="T76" fmla="*/ 134 w 134"/>
                  <a:gd name="T77" fmla="*/ 11 h 67"/>
                  <a:gd name="T78" fmla="*/ 125 w 134"/>
                  <a:gd name="T79" fmla="*/ 17 h 67"/>
                  <a:gd name="T80" fmla="*/ 119 w 134"/>
                  <a:gd name="T81" fmla="*/ 23 h 67"/>
                  <a:gd name="T82" fmla="*/ 113 w 134"/>
                  <a:gd name="T83" fmla="*/ 25 h 67"/>
                  <a:gd name="T84" fmla="*/ 111 w 134"/>
                  <a:gd name="T85" fmla="*/ 30 h 67"/>
                  <a:gd name="T86" fmla="*/ 90 w 134"/>
                  <a:gd name="T87" fmla="*/ 38 h 67"/>
                  <a:gd name="T88" fmla="*/ 86 w 134"/>
                  <a:gd name="T89" fmla="*/ 50 h 67"/>
                  <a:gd name="T90" fmla="*/ 77 w 134"/>
                  <a:gd name="T91" fmla="*/ 51 h 67"/>
                  <a:gd name="T92" fmla="*/ 71 w 134"/>
                  <a:gd name="T93" fmla="*/ 55 h 67"/>
                  <a:gd name="T94" fmla="*/ 65 w 134"/>
                  <a:gd name="T95" fmla="*/ 50 h 67"/>
                  <a:gd name="T96" fmla="*/ 59 w 134"/>
                  <a:gd name="T97" fmla="*/ 53 h 67"/>
                  <a:gd name="T98" fmla="*/ 54 w 134"/>
                  <a:gd name="T99" fmla="*/ 57 h 67"/>
                  <a:gd name="T100" fmla="*/ 50 w 134"/>
                  <a:gd name="T101" fmla="*/ 61 h 67"/>
                  <a:gd name="T102" fmla="*/ 44 w 134"/>
                  <a:gd name="T103" fmla="*/ 65 h 67"/>
                  <a:gd name="T104" fmla="*/ 111 w 134"/>
                  <a:gd name="T105" fmla="*/ 2 h 67"/>
                  <a:gd name="T106" fmla="*/ 113 w 134"/>
                  <a:gd name="T107" fmla="*/ 5 h 67"/>
                  <a:gd name="T108" fmla="*/ 107 w 134"/>
                  <a:gd name="T109" fmla="*/ 11 h 67"/>
                  <a:gd name="T110" fmla="*/ 100 w 134"/>
                  <a:gd name="T111" fmla="*/ 13 h 67"/>
                  <a:gd name="T112" fmla="*/ 92 w 134"/>
                  <a:gd name="T113" fmla="*/ 7 h 67"/>
                  <a:gd name="T114" fmla="*/ 106 w 134"/>
                  <a:gd name="T115" fmla="*/ 5 h 67"/>
                  <a:gd name="T116" fmla="*/ 109 w 134"/>
                  <a:gd name="T117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4" h="67">
                    <a:moveTo>
                      <a:pt x="44" y="65"/>
                    </a:moveTo>
                    <a:lnTo>
                      <a:pt x="40" y="63"/>
                    </a:lnTo>
                    <a:lnTo>
                      <a:pt x="36" y="65"/>
                    </a:lnTo>
                    <a:lnTo>
                      <a:pt x="31" y="67"/>
                    </a:lnTo>
                    <a:lnTo>
                      <a:pt x="29" y="65"/>
                    </a:lnTo>
                    <a:lnTo>
                      <a:pt x="27" y="65"/>
                    </a:lnTo>
                    <a:lnTo>
                      <a:pt x="23" y="63"/>
                    </a:lnTo>
                    <a:lnTo>
                      <a:pt x="19" y="63"/>
                    </a:lnTo>
                    <a:lnTo>
                      <a:pt x="15" y="65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2" y="61"/>
                    </a:lnTo>
                    <a:lnTo>
                      <a:pt x="0" y="55"/>
                    </a:lnTo>
                    <a:lnTo>
                      <a:pt x="6" y="53"/>
                    </a:lnTo>
                    <a:lnTo>
                      <a:pt x="11" y="55"/>
                    </a:lnTo>
                    <a:lnTo>
                      <a:pt x="13" y="51"/>
                    </a:lnTo>
                    <a:lnTo>
                      <a:pt x="13" y="51"/>
                    </a:lnTo>
                    <a:lnTo>
                      <a:pt x="15" y="53"/>
                    </a:lnTo>
                    <a:lnTo>
                      <a:pt x="17" y="55"/>
                    </a:lnTo>
                    <a:lnTo>
                      <a:pt x="17" y="55"/>
                    </a:lnTo>
                    <a:lnTo>
                      <a:pt x="19" y="53"/>
                    </a:lnTo>
                    <a:lnTo>
                      <a:pt x="19" y="51"/>
                    </a:lnTo>
                    <a:lnTo>
                      <a:pt x="21" y="50"/>
                    </a:lnTo>
                    <a:lnTo>
                      <a:pt x="23" y="50"/>
                    </a:lnTo>
                    <a:lnTo>
                      <a:pt x="23" y="50"/>
                    </a:lnTo>
                    <a:lnTo>
                      <a:pt x="29" y="51"/>
                    </a:lnTo>
                    <a:lnTo>
                      <a:pt x="35" y="46"/>
                    </a:lnTo>
                    <a:lnTo>
                      <a:pt x="38" y="40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5" y="36"/>
                    </a:lnTo>
                    <a:lnTo>
                      <a:pt x="31" y="34"/>
                    </a:lnTo>
                    <a:lnTo>
                      <a:pt x="27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21" y="28"/>
                    </a:lnTo>
                    <a:lnTo>
                      <a:pt x="19" y="28"/>
                    </a:lnTo>
                    <a:lnTo>
                      <a:pt x="15" y="28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5" y="23"/>
                    </a:lnTo>
                    <a:lnTo>
                      <a:pt x="17" y="21"/>
                    </a:lnTo>
                    <a:lnTo>
                      <a:pt x="21" y="17"/>
                    </a:lnTo>
                    <a:lnTo>
                      <a:pt x="21" y="13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5" y="13"/>
                    </a:lnTo>
                    <a:lnTo>
                      <a:pt x="17" y="9"/>
                    </a:lnTo>
                    <a:lnTo>
                      <a:pt x="25" y="5"/>
                    </a:lnTo>
                    <a:lnTo>
                      <a:pt x="35" y="5"/>
                    </a:lnTo>
                    <a:lnTo>
                      <a:pt x="42" y="9"/>
                    </a:lnTo>
                    <a:lnTo>
                      <a:pt x="48" y="13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4" y="5"/>
                    </a:lnTo>
                    <a:lnTo>
                      <a:pt x="56" y="3"/>
                    </a:lnTo>
                    <a:lnTo>
                      <a:pt x="58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9" y="5"/>
                    </a:lnTo>
                    <a:lnTo>
                      <a:pt x="71" y="7"/>
                    </a:lnTo>
                    <a:lnTo>
                      <a:pt x="75" y="7"/>
                    </a:lnTo>
                    <a:lnTo>
                      <a:pt x="81" y="3"/>
                    </a:lnTo>
                    <a:lnTo>
                      <a:pt x="88" y="2"/>
                    </a:lnTo>
                    <a:lnTo>
                      <a:pt x="94" y="0"/>
                    </a:lnTo>
                    <a:lnTo>
                      <a:pt x="102" y="0"/>
                    </a:lnTo>
                    <a:lnTo>
                      <a:pt x="109" y="0"/>
                    </a:lnTo>
                    <a:lnTo>
                      <a:pt x="113" y="2"/>
                    </a:lnTo>
                    <a:lnTo>
                      <a:pt x="119" y="2"/>
                    </a:lnTo>
                    <a:lnTo>
                      <a:pt x="121" y="5"/>
                    </a:lnTo>
                    <a:lnTo>
                      <a:pt x="125" y="7"/>
                    </a:lnTo>
                    <a:lnTo>
                      <a:pt x="129" y="7"/>
                    </a:lnTo>
                    <a:lnTo>
                      <a:pt x="134" y="11"/>
                    </a:lnTo>
                    <a:lnTo>
                      <a:pt x="130" y="13"/>
                    </a:lnTo>
                    <a:lnTo>
                      <a:pt x="125" y="17"/>
                    </a:lnTo>
                    <a:lnTo>
                      <a:pt x="123" y="19"/>
                    </a:lnTo>
                    <a:lnTo>
                      <a:pt x="119" y="23"/>
                    </a:lnTo>
                    <a:lnTo>
                      <a:pt x="115" y="23"/>
                    </a:lnTo>
                    <a:lnTo>
                      <a:pt x="113" y="25"/>
                    </a:lnTo>
                    <a:lnTo>
                      <a:pt x="111" y="26"/>
                    </a:lnTo>
                    <a:lnTo>
                      <a:pt x="111" y="30"/>
                    </a:lnTo>
                    <a:lnTo>
                      <a:pt x="102" y="32"/>
                    </a:lnTo>
                    <a:lnTo>
                      <a:pt x="90" y="38"/>
                    </a:lnTo>
                    <a:lnTo>
                      <a:pt x="88" y="44"/>
                    </a:lnTo>
                    <a:lnTo>
                      <a:pt x="86" y="50"/>
                    </a:lnTo>
                    <a:lnTo>
                      <a:pt x="82" y="51"/>
                    </a:lnTo>
                    <a:lnTo>
                      <a:pt x="77" y="51"/>
                    </a:lnTo>
                    <a:lnTo>
                      <a:pt x="73" y="53"/>
                    </a:lnTo>
                    <a:lnTo>
                      <a:pt x="71" y="55"/>
                    </a:lnTo>
                    <a:lnTo>
                      <a:pt x="67" y="51"/>
                    </a:lnTo>
                    <a:lnTo>
                      <a:pt x="65" y="50"/>
                    </a:lnTo>
                    <a:lnTo>
                      <a:pt x="61" y="50"/>
                    </a:lnTo>
                    <a:lnTo>
                      <a:pt x="59" y="53"/>
                    </a:lnTo>
                    <a:lnTo>
                      <a:pt x="56" y="55"/>
                    </a:lnTo>
                    <a:lnTo>
                      <a:pt x="54" y="57"/>
                    </a:lnTo>
                    <a:lnTo>
                      <a:pt x="52" y="59"/>
                    </a:lnTo>
                    <a:lnTo>
                      <a:pt x="50" y="61"/>
                    </a:lnTo>
                    <a:lnTo>
                      <a:pt x="48" y="63"/>
                    </a:lnTo>
                    <a:lnTo>
                      <a:pt x="44" y="65"/>
                    </a:lnTo>
                    <a:close/>
                    <a:moveTo>
                      <a:pt x="109" y="2"/>
                    </a:moveTo>
                    <a:lnTo>
                      <a:pt x="111" y="2"/>
                    </a:lnTo>
                    <a:lnTo>
                      <a:pt x="113" y="3"/>
                    </a:lnTo>
                    <a:lnTo>
                      <a:pt x="113" y="5"/>
                    </a:lnTo>
                    <a:lnTo>
                      <a:pt x="111" y="7"/>
                    </a:lnTo>
                    <a:lnTo>
                      <a:pt x="107" y="11"/>
                    </a:lnTo>
                    <a:lnTo>
                      <a:pt x="106" y="13"/>
                    </a:lnTo>
                    <a:lnTo>
                      <a:pt x="100" y="13"/>
                    </a:lnTo>
                    <a:lnTo>
                      <a:pt x="94" y="13"/>
                    </a:lnTo>
                    <a:lnTo>
                      <a:pt x="92" y="7"/>
                    </a:lnTo>
                    <a:lnTo>
                      <a:pt x="98" y="7"/>
                    </a:lnTo>
                    <a:lnTo>
                      <a:pt x="106" y="5"/>
                    </a:lnTo>
                    <a:lnTo>
                      <a:pt x="107" y="3"/>
                    </a:lnTo>
                    <a:lnTo>
                      <a:pt x="109" y="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2" name="Freeform 150"/>
              <p:cNvSpPr>
                <a:spLocks/>
              </p:cNvSpPr>
              <p:nvPr/>
            </p:nvSpPr>
            <p:spPr bwMode="gray">
              <a:xfrm>
                <a:off x="5236982" y="3690939"/>
                <a:ext cx="49207" cy="44450"/>
              </a:xfrm>
              <a:custGeom>
                <a:avLst/>
                <a:gdLst>
                  <a:gd name="T0" fmla="*/ 31 w 31"/>
                  <a:gd name="T1" fmla="*/ 26 h 28"/>
                  <a:gd name="T2" fmla="*/ 27 w 31"/>
                  <a:gd name="T3" fmla="*/ 21 h 28"/>
                  <a:gd name="T4" fmla="*/ 23 w 31"/>
                  <a:gd name="T5" fmla="*/ 17 h 28"/>
                  <a:gd name="T6" fmla="*/ 25 w 31"/>
                  <a:gd name="T7" fmla="*/ 13 h 28"/>
                  <a:gd name="T8" fmla="*/ 25 w 31"/>
                  <a:gd name="T9" fmla="*/ 7 h 28"/>
                  <a:gd name="T10" fmla="*/ 31 w 31"/>
                  <a:gd name="T11" fmla="*/ 7 h 28"/>
                  <a:gd name="T12" fmla="*/ 31 w 31"/>
                  <a:gd name="T13" fmla="*/ 7 h 28"/>
                  <a:gd name="T14" fmla="*/ 29 w 31"/>
                  <a:gd name="T15" fmla="*/ 3 h 28"/>
                  <a:gd name="T16" fmla="*/ 27 w 31"/>
                  <a:gd name="T17" fmla="*/ 0 h 28"/>
                  <a:gd name="T18" fmla="*/ 25 w 31"/>
                  <a:gd name="T19" fmla="*/ 1 h 28"/>
                  <a:gd name="T20" fmla="*/ 19 w 31"/>
                  <a:gd name="T21" fmla="*/ 0 h 28"/>
                  <a:gd name="T22" fmla="*/ 16 w 31"/>
                  <a:gd name="T23" fmla="*/ 3 h 28"/>
                  <a:gd name="T24" fmla="*/ 12 w 31"/>
                  <a:gd name="T25" fmla="*/ 9 h 28"/>
                  <a:gd name="T26" fmla="*/ 4 w 31"/>
                  <a:gd name="T27" fmla="*/ 15 h 28"/>
                  <a:gd name="T28" fmla="*/ 0 w 31"/>
                  <a:gd name="T29" fmla="*/ 19 h 28"/>
                  <a:gd name="T30" fmla="*/ 18 w 31"/>
                  <a:gd name="T31" fmla="*/ 23 h 28"/>
                  <a:gd name="T32" fmla="*/ 19 w 31"/>
                  <a:gd name="T33" fmla="*/ 28 h 28"/>
                  <a:gd name="T34" fmla="*/ 31 w 31"/>
                  <a:gd name="T35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28">
                    <a:moveTo>
                      <a:pt x="31" y="26"/>
                    </a:moveTo>
                    <a:lnTo>
                      <a:pt x="27" y="21"/>
                    </a:lnTo>
                    <a:lnTo>
                      <a:pt x="23" y="17"/>
                    </a:lnTo>
                    <a:lnTo>
                      <a:pt x="25" y="13"/>
                    </a:lnTo>
                    <a:lnTo>
                      <a:pt x="25" y="7"/>
                    </a:lnTo>
                    <a:lnTo>
                      <a:pt x="31" y="7"/>
                    </a:lnTo>
                    <a:lnTo>
                      <a:pt x="31" y="7"/>
                    </a:lnTo>
                    <a:lnTo>
                      <a:pt x="29" y="3"/>
                    </a:lnTo>
                    <a:lnTo>
                      <a:pt x="27" y="0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16" y="3"/>
                    </a:lnTo>
                    <a:lnTo>
                      <a:pt x="12" y="9"/>
                    </a:lnTo>
                    <a:lnTo>
                      <a:pt x="4" y="15"/>
                    </a:lnTo>
                    <a:lnTo>
                      <a:pt x="0" y="19"/>
                    </a:lnTo>
                    <a:lnTo>
                      <a:pt x="18" y="23"/>
                    </a:lnTo>
                    <a:lnTo>
                      <a:pt x="19" y="28"/>
                    </a:lnTo>
                    <a:lnTo>
                      <a:pt x="31" y="2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3" name="Freeform 151"/>
              <p:cNvSpPr>
                <a:spLocks noEditPoints="1"/>
              </p:cNvSpPr>
              <p:nvPr/>
            </p:nvSpPr>
            <p:spPr bwMode="gray">
              <a:xfrm>
                <a:off x="5000471" y="4338639"/>
                <a:ext cx="173018" cy="228600"/>
              </a:xfrm>
              <a:custGeom>
                <a:avLst/>
                <a:gdLst>
                  <a:gd name="T0" fmla="*/ 5 w 109"/>
                  <a:gd name="T1" fmla="*/ 87 h 144"/>
                  <a:gd name="T2" fmla="*/ 5 w 109"/>
                  <a:gd name="T3" fmla="*/ 92 h 144"/>
                  <a:gd name="T4" fmla="*/ 46 w 109"/>
                  <a:gd name="T5" fmla="*/ 121 h 144"/>
                  <a:gd name="T6" fmla="*/ 48 w 109"/>
                  <a:gd name="T7" fmla="*/ 127 h 144"/>
                  <a:gd name="T8" fmla="*/ 49 w 109"/>
                  <a:gd name="T9" fmla="*/ 135 h 144"/>
                  <a:gd name="T10" fmla="*/ 53 w 109"/>
                  <a:gd name="T11" fmla="*/ 137 h 144"/>
                  <a:gd name="T12" fmla="*/ 67 w 109"/>
                  <a:gd name="T13" fmla="*/ 138 h 144"/>
                  <a:gd name="T14" fmla="*/ 71 w 109"/>
                  <a:gd name="T15" fmla="*/ 131 h 144"/>
                  <a:gd name="T16" fmla="*/ 72 w 109"/>
                  <a:gd name="T17" fmla="*/ 123 h 144"/>
                  <a:gd name="T18" fmla="*/ 78 w 109"/>
                  <a:gd name="T19" fmla="*/ 119 h 144"/>
                  <a:gd name="T20" fmla="*/ 84 w 109"/>
                  <a:gd name="T21" fmla="*/ 115 h 144"/>
                  <a:gd name="T22" fmla="*/ 90 w 109"/>
                  <a:gd name="T23" fmla="*/ 110 h 144"/>
                  <a:gd name="T24" fmla="*/ 94 w 109"/>
                  <a:gd name="T25" fmla="*/ 104 h 144"/>
                  <a:gd name="T26" fmla="*/ 96 w 109"/>
                  <a:gd name="T27" fmla="*/ 96 h 144"/>
                  <a:gd name="T28" fmla="*/ 101 w 109"/>
                  <a:gd name="T29" fmla="*/ 89 h 144"/>
                  <a:gd name="T30" fmla="*/ 96 w 109"/>
                  <a:gd name="T31" fmla="*/ 77 h 144"/>
                  <a:gd name="T32" fmla="*/ 101 w 109"/>
                  <a:gd name="T33" fmla="*/ 21 h 144"/>
                  <a:gd name="T34" fmla="*/ 101 w 109"/>
                  <a:gd name="T35" fmla="*/ 6 h 144"/>
                  <a:gd name="T36" fmla="*/ 90 w 109"/>
                  <a:gd name="T37" fmla="*/ 2 h 144"/>
                  <a:gd name="T38" fmla="*/ 88 w 109"/>
                  <a:gd name="T39" fmla="*/ 4 h 144"/>
                  <a:gd name="T40" fmla="*/ 78 w 109"/>
                  <a:gd name="T41" fmla="*/ 6 h 144"/>
                  <a:gd name="T42" fmla="*/ 74 w 109"/>
                  <a:gd name="T43" fmla="*/ 10 h 144"/>
                  <a:gd name="T44" fmla="*/ 67 w 109"/>
                  <a:gd name="T45" fmla="*/ 10 h 144"/>
                  <a:gd name="T46" fmla="*/ 57 w 109"/>
                  <a:gd name="T47" fmla="*/ 6 h 144"/>
                  <a:gd name="T48" fmla="*/ 49 w 109"/>
                  <a:gd name="T49" fmla="*/ 8 h 144"/>
                  <a:gd name="T50" fmla="*/ 40 w 109"/>
                  <a:gd name="T51" fmla="*/ 8 h 144"/>
                  <a:gd name="T52" fmla="*/ 30 w 109"/>
                  <a:gd name="T53" fmla="*/ 8 h 144"/>
                  <a:gd name="T54" fmla="*/ 19 w 109"/>
                  <a:gd name="T55" fmla="*/ 2 h 144"/>
                  <a:gd name="T56" fmla="*/ 13 w 109"/>
                  <a:gd name="T57" fmla="*/ 2 h 144"/>
                  <a:gd name="T58" fmla="*/ 5 w 109"/>
                  <a:gd name="T59" fmla="*/ 6 h 144"/>
                  <a:gd name="T60" fmla="*/ 0 w 109"/>
                  <a:gd name="T61" fmla="*/ 12 h 144"/>
                  <a:gd name="T62" fmla="*/ 1 w 109"/>
                  <a:gd name="T63" fmla="*/ 14 h 144"/>
                  <a:gd name="T64" fmla="*/ 5 w 109"/>
                  <a:gd name="T65" fmla="*/ 18 h 144"/>
                  <a:gd name="T66" fmla="*/ 5 w 109"/>
                  <a:gd name="T67" fmla="*/ 25 h 144"/>
                  <a:gd name="T68" fmla="*/ 7 w 109"/>
                  <a:gd name="T69" fmla="*/ 35 h 144"/>
                  <a:gd name="T70" fmla="*/ 9 w 109"/>
                  <a:gd name="T71" fmla="*/ 43 h 144"/>
                  <a:gd name="T72" fmla="*/ 7 w 109"/>
                  <a:gd name="T73" fmla="*/ 48 h 144"/>
                  <a:gd name="T74" fmla="*/ 3 w 109"/>
                  <a:gd name="T75" fmla="*/ 54 h 144"/>
                  <a:gd name="T76" fmla="*/ 1 w 109"/>
                  <a:gd name="T77" fmla="*/ 64 h 144"/>
                  <a:gd name="T78" fmla="*/ 1 w 109"/>
                  <a:gd name="T79" fmla="*/ 75 h 144"/>
                  <a:gd name="T80" fmla="*/ 1 w 109"/>
                  <a:gd name="T81" fmla="*/ 81 h 144"/>
                  <a:gd name="T82" fmla="*/ 1 w 109"/>
                  <a:gd name="T83" fmla="*/ 87 h 144"/>
                  <a:gd name="T84" fmla="*/ 26 w 109"/>
                  <a:gd name="T85" fmla="*/ 18 h 144"/>
                  <a:gd name="T86" fmla="*/ 30 w 109"/>
                  <a:gd name="T87" fmla="*/ 31 h 144"/>
                  <a:gd name="T88" fmla="*/ 34 w 109"/>
                  <a:gd name="T89" fmla="*/ 37 h 144"/>
                  <a:gd name="T90" fmla="*/ 32 w 109"/>
                  <a:gd name="T91" fmla="*/ 39 h 144"/>
                  <a:gd name="T92" fmla="*/ 25 w 109"/>
                  <a:gd name="T93" fmla="*/ 29 h 144"/>
                  <a:gd name="T94" fmla="*/ 23 w 109"/>
                  <a:gd name="T95" fmla="*/ 16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9" h="144">
                    <a:moveTo>
                      <a:pt x="1" y="87"/>
                    </a:moveTo>
                    <a:lnTo>
                      <a:pt x="5" y="87"/>
                    </a:lnTo>
                    <a:lnTo>
                      <a:pt x="9" y="85"/>
                    </a:lnTo>
                    <a:lnTo>
                      <a:pt x="5" y="92"/>
                    </a:lnTo>
                    <a:lnTo>
                      <a:pt x="3" y="102"/>
                    </a:lnTo>
                    <a:lnTo>
                      <a:pt x="46" y="121"/>
                    </a:lnTo>
                    <a:lnTo>
                      <a:pt x="46" y="123"/>
                    </a:lnTo>
                    <a:lnTo>
                      <a:pt x="48" y="127"/>
                    </a:lnTo>
                    <a:lnTo>
                      <a:pt x="48" y="131"/>
                    </a:lnTo>
                    <a:lnTo>
                      <a:pt x="49" y="135"/>
                    </a:lnTo>
                    <a:lnTo>
                      <a:pt x="53" y="135"/>
                    </a:lnTo>
                    <a:lnTo>
                      <a:pt x="53" y="137"/>
                    </a:lnTo>
                    <a:lnTo>
                      <a:pt x="67" y="144"/>
                    </a:lnTo>
                    <a:lnTo>
                      <a:pt x="67" y="138"/>
                    </a:lnTo>
                    <a:lnTo>
                      <a:pt x="67" y="131"/>
                    </a:lnTo>
                    <a:lnTo>
                      <a:pt x="71" y="131"/>
                    </a:lnTo>
                    <a:lnTo>
                      <a:pt x="71" y="129"/>
                    </a:lnTo>
                    <a:lnTo>
                      <a:pt x="72" y="123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82" y="119"/>
                    </a:lnTo>
                    <a:lnTo>
                      <a:pt x="84" y="115"/>
                    </a:lnTo>
                    <a:lnTo>
                      <a:pt x="86" y="110"/>
                    </a:lnTo>
                    <a:lnTo>
                      <a:pt x="90" y="110"/>
                    </a:lnTo>
                    <a:lnTo>
                      <a:pt x="94" y="108"/>
                    </a:lnTo>
                    <a:lnTo>
                      <a:pt x="94" y="104"/>
                    </a:lnTo>
                    <a:lnTo>
                      <a:pt x="94" y="100"/>
                    </a:lnTo>
                    <a:lnTo>
                      <a:pt x="96" y="96"/>
                    </a:lnTo>
                    <a:lnTo>
                      <a:pt x="99" y="94"/>
                    </a:lnTo>
                    <a:lnTo>
                      <a:pt x="101" y="89"/>
                    </a:lnTo>
                    <a:lnTo>
                      <a:pt x="101" y="85"/>
                    </a:lnTo>
                    <a:lnTo>
                      <a:pt x="96" y="77"/>
                    </a:lnTo>
                    <a:lnTo>
                      <a:pt x="94" y="25"/>
                    </a:lnTo>
                    <a:lnTo>
                      <a:pt x="101" y="21"/>
                    </a:lnTo>
                    <a:lnTo>
                      <a:pt x="109" y="4"/>
                    </a:lnTo>
                    <a:lnTo>
                      <a:pt x="101" y="6"/>
                    </a:lnTo>
                    <a:lnTo>
                      <a:pt x="94" y="6"/>
                    </a:lnTo>
                    <a:lnTo>
                      <a:pt x="90" y="2"/>
                    </a:lnTo>
                    <a:lnTo>
                      <a:pt x="90" y="0"/>
                    </a:lnTo>
                    <a:lnTo>
                      <a:pt x="88" y="4"/>
                    </a:lnTo>
                    <a:lnTo>
                      <a:pt x="82" y="4"/>
                    </a:lnTo>
                    <a:lnTo>
                      <a:pt x="78" y="6"/>
                    </a:lnTo>
                    <a:lnTo>
                      <a:pt x="78" y="10"/>
                    </a:lnTo>
                    <a:lnTo>
                      <a:pt x="74" y="10"/>
                    </a:lnTo>
                    <a:lnTo>
                      <a:pt x="71" y="10"/>
                    </a:lnTo>
                    <a:lnTo>
                      <a:pt x="67" y="10"/>
                    </a:lnTo>
                    <a:lnTo>
                      <a:pt x="63" y="8"/>
                    </a:lnTo>
                    <a:lnTo>
                      <a:pt x="57" y="6"/>
                    </a:lnTo>
                    <a:lnTo>
                      <a:pt x="53" y="6"/>
                    </a:lnTo>
                    <a:lnTo>
                      <a:pt x="49" y="8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19" y="2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9" y="2"/>
                    </a:lnTo>
                    <a:lnTo>
                      <a:pt x="5" y="6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7" y="20"/>
                    </a:lnTo>
                    <a:lnTo>
                      <a:pt x="5" y="25"/>
                    </a:lnTo>
                    <a:lnTo>
                      <a:pt x="3" y="31"/>
                    </a:lnTo>
                    <a:lnTo>
                      <a:pt x="7" y="35"/>
                    </a:lnTo>
                    <a:lnTo>
                      <a:pt x="9" y="39"/>
                    </a:lnTo>
                    <a:lnTo>
                      <a:pt x="9" y="43"/>
                    </a:lnTo>
                    <a:lnTo>
                      <a:pt x="9" y="46"/>
                    </a:lnTo>
                    <a:lnTo>
                      <a:pt x="7" y="48"/>
                    </a:lnTo>
                    <a:lnTo>
                      <a:pt x="5" y="50"/>
                    </a:lnTo>
                    <a:lnTo>
                      <a:pt x="3" y="54"/>
                    </a:lnTo>
                    <a:lnTo>
                      <a:pt x="3" y="60"/>
                    </a:lnTo>
                    <a:lnTo>
                      <a:pt x="1" y="64"/>
                    </a:lnTo>
                    <a:lnTo>
                      <a:pt x="1" y="71"/>
                    </a:lnTo>
                    <a:lnTo>
                      <a:pt x="1" y="75"/>
                    </a:lnTo>
                    <a:lnTo>
                      <a:pt x="1" y="79"/>
                    </a:lnTo>
                    <a:lnTo>
                      <a:pt x="1" y="81"/>
                    </a:lnTo>
                    <a:lnTo>
                      <a:pt x="1" y="87"/>
                    </a:lnTo>
                    <a:lnTo>
                      <a:pt x="1" y="87"/>
                    </a:lnTo>
                    <a:close/>
                    <a:moveTo>
                      <a:pt x="26" y="10"/>
                    </a:moveTo>
                    <a:lnTo>
                      <a:pt x="26" y="18"/>
                    </a:lnTo>
                    <a:lnTo>
                      <a:pt x="28" y="27"/>
                    </a:lnTo>
                    <a:lnTo>
                      <a:pt x="30" y="31"/>
                    </a:lnTo>
                    <a:lnTo>
                      <a:pt x="34" y="33"/>
                    </a:lnTo>
                    <a:lnTo>
                      <a:pt x="34" y="37"/>
                    </a:lnTo>
                    <a:lnTo>
                      <a:pt x="34" y="39"/>
                    </a:lnTo>
                    <a:lnTo>
                      <a:pt x="32" y="39"/>
                    </a:lnTo>
                    <a:lnTo>
                      <a:pt x="30" y="37"/>
                    </a:lnTo>
                    <a:lnTo>
                      <a:pt x="25" y="29"/>
                    </a:lnTo>
                    <a:lnTo>
                      <a:pt x="23" y="25"/>
                    </a:lnTo>
                    <a:lnTo>
                      <a:pt x="23" y="16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4" name="Freeform 152"/>
              <p:cNvSpPr>
                <a:spLocks noEditPoints="1"/>
              </p:cNvSpPr>
              <p:nvPr/>
            </p:nvSpPr>
            <p:spPr bwMode="gray">
              <a:xfrm>
                <a:off x="5262380" y="2995614"/>
                <a:ext cx="812710" cy="414338"/>
              </a:xfrm>
              <a:custGeom>
                <a:avLst/>
                <a:gdLst>
                  <a:gd name="T0" fmla="*/ 149 w 512"/>
                  <a:gd name="T1" fmla="*/ 178 h 261"/>
                  <a:gd name="T2" fmla="*/ 167 w 512"/>
                  <a:gd name="T3" fmla="*/ 169 h 261"/>
                  <a:gd name="T4" fmla="*/ 176 w 512"/>
                  <a:gd name="T5" fmla="*/ 163 h 261"/>
                  <a:gd name="T6" fmla="*/ 178 w 512"/>
                  <a:gd name="T7" fmla="*/ 196 h 261"/>
                  <a:gd name="T8" fmla="*/ 180 w 512"/>
                  <a:gd name="T9" fmla="*/ 205 h 261"/>
                  <a:gd name="T10" fmla="*/ 195 w 512"/>
                  <a:gd name="T11" fmla="*/ 228 h 261"/>
                  <a:gd name="T12" fmla="*/ 224 w 512"/>
                  <a:gd name="T13" fmla="*/ 238 h 261"/>
                  <a:gd name="T14" fmla="*/ 236 w 512"/>
                  <a:gd name="T15" fmla="*/ 251 h 261"/>
                  <a:gd name="T16" fmla="*/ 257 w 512"/>
                  <a:gd name="T17" fmla="*/ 259 h 261"/>
                  <a:gd name="T18" fmla="*/ 276 w 512"/>
                  <a:gd name="T19" fmla="*/ 242 h 261"/>
                  <a:gd name="T20" fmla="*/ 311 w 512"/>
                  <a:gd name="T21" fmla="*/ 228 h 261"/>
                  <a:gd name="T22" fmla="*/ 334 w 512"/>
                  <a:gd name="T23" fmla="*/ 226 h 261"/>
                  <a:gd name="T24" fmla="*/ 364 w 512"/>
                  <a:gd name="T25" fmla="*/ 225 h 261"/>
                  <a:gd name="T26" fmla="*/ 401 w 512"/>
                  <a:gd name="T27" fmla="*/ 230 h 261"/>
                  <a:gd name="T28" fmla="*/ 405 w 512"/>
                  <a:gd name="T29" fmla="*/ 198 h 261"/>
                  <a:gd name="T30" fmla="*/ 437 w 512"/>
                  <a:gd name="T31" fmla="*/ 171 h 261"/>
                  <a:gd name="T32" fmla="*/ 472 w 512"/>
                  <a:gd name="T33" fmla="*/ 136 h 261"/>
                  <a:gd name="T34" fmla="*/ 497 w 512"/>
                  <a:gd name="T35" fmla="*/ 109 h 261"/>
                  <a:gd name="T36" fmla="*/ 443 w 512"/>
                  <a:gd name="T37" fmla="*/ 106 h 261"/>
                  <a:gd name="T38" fmla="*/ 406 w 512"/>
                  <a:gd name="T39" fmla="*/ 77 h 261"/>
                  <a:gd name="T40" fmla="*/ 366 w 512"/>
                  <a:gd name="T41" fmla="*/ 13 h 261"/>
                  <a:gd name="T42" fmla="*/ 312 w 512"/>
                  <a:gd name="T43" fmla="*/ 25 h 261"/>
                  <a:gd name="T44" fmla="*/ 287 w 512"/>
                  <a:gd name="T45" fmla="*/ 19 h 261"/>
                  <a:gd name="T46" fmla="*/ 266 w 512"/>
                  <a:gd name="T47" fmla="*/ 0 h 261"/>
                  <a:gd name="T48" fmla="*/ 203 w 512"/>
                  <a:gd name="T49" fmla="*/ 17 h 261"/>
                  <a:gd name="T50" fmla="*/ 169 w 512"/>
                  <a:gd name="T51" fmla="*/ 25 h 261"/>
                  <a:gd name="T52" fmla="*/ 161 w 512"/>
                  <a:gd name="T53" fmla="*/ 69 h 261"/>
                  <a:gd name="T54" fmla="*/ 155 w 512"/>
                  <a:gd name="T55" fmla="*/ 84 h 261"/>
                  <a:gd name="T56" fmla="*/ 130 w 512"/>
                  <a:gd name="T57" fmla="*/ 77 h 261"/>
                  <a:gd name="T58" fmla="*/ 107 w 512"/>
                  <a:gd name="T59" fmla="*/ 86 h 261"/>
                  <a:gd name="T60" fmla="*/ 92 w 512"/>
                  <a:gd name="T61" fmla="*/ 69 h 261"/>
                  <a:gd name="T62" fmla="*/ 73 w 512"/>
                  <a:gd name="T63" fmla="*/ 54 h 261"/>
                  <a:gd name="T64" fmla="*/ 53 w 512"/>
                  <a:gd name="T65" fmla="*/ 58 h 261"/>
                  <a:gd name="T66" fmla="*/ 30 w 512"/>
                  <a:gd name="T67" fmla="*/ 75 h 261"/>
                  <a:gd name="T68" fmla="*/ 19 w 512"/>
                  <a:gd name="T69" fmla="*/ 86 h 261"/>
                  <a:gd name="T70" fmla="*/ 5 w 512"/>
                  <a:gd name="T71" fmla="*/ 106 h 261"/>
                  <a:gd name="T72" fmla="*/ 0 w 512"/>
                  <a:gd name="T73" fmla="*/ 125 h 261"/>
                  <a:gd name="T74" fmla="*/ 19 w 512"/>
                  <a:gd name="T75" fmla="*/ 150 h 261"/>
                  <a:gd name="T76" fmla="*/ 28 w 512"/>
                  <a:gd name="T77" fmla="*/ 161 h 261"/>
                  <a:gd name="T78" fmla="*/ 57 w 512"/>
                  <a:gd name="T79" fmla="*/ 152 h 261"/>
                  <a:gd name="T80" fmla="*/ 84 w 512"/>
                  <a:gd name="T81" fmla="*/ 167 h 261"/>
                  <a:gd name="T82" fmla="*/ 92 w 512"/>
                  <a:gd name="T83" fmla="*/ 190 h 261"/>
                  <a:gd name="T84" fmla="*/ 78 w 512"/>
                  <a:gd name="T85" fmla="*/ 192 h 261"/>
                  <a:gd name="T86" fmla="*/ 63 w 512"/>
                  <a:gd name="T87" fmla="*/ 194 h 261"/>
                  <a:gd name="T88" fmla="*/ 50 w 512"/>
                  <a:gd name="T89" fmla="*/ 203 h 261"/>
                  <a:gd name="T90" fmla="*/ 59 w 512"/>
                  <a:gd name="T91" fmla="*/ 226 h 261"/>
                  <a:gd name="T92" fmla="*/ 69 w 512"/>
                  <a:gd name="T93" fmla="*/ 244 h 261"/>
                  <a:gd name="T94" fmla="*/ 86 w 512"/>
                  <a:gd name="T95" fmla="*/ 234 h 261"/>
                  <a:gd name="T96" fmla="*/ 111 w 512"/>
                  <a:gd name="T97" fmla="*/ 248 h 261"/>
                  <a:gd name="T98" fmla="*/ 142 w 512"/>
                  <a:gd name="T99" fmla="*/ 182 h 261"/>
                  <a:gd name="T100" fmla="*/ 73 w 512"/>
                  <a:gd name="T101" fmla="*/ 203 h 261"/>
                  <a:gd name="T102" fmla="*/ 406 w 512"/>
                  <a:gd name="T103" fmla="*/ 152 h 261"/>
                  <a:gd name="T104" fmla="*/ 376 w 512"/>
                  <a:gd name="T105" fmla="*/ 159 h 261"/>
                  <a:gd name="T106" fmla="*/ 347 w 512"/>
                  <a:gd name="T107" fmla="*/ 167 h 261"/>
                  <a:gd name="T108" fmla="*/ 330 w 512"/>
                  <a:gd name="T109" fmla="*/ 188 h 261"/>
                  <a:gd name="T110" fmla="*/ 326 w 512"/>
                  <a:gd name="T111" fmla="*/ 180 h 261"/>
                  <a:gd name="T112" fmla="*/ 339 w 512"/>
                  <a:gd name="T113" fmla="*/ 159 h 261"/>
                  <a:gd name="T114" fmla="*/ 389 w 512"/>
                  <a:gd name="T115" fmla="*/ 15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261">
                    <a:moveTo>
                      <a:pt x="142" y="182"/>
                    </a:moveTo>
                    <a:lnTo>
                      <a:pt x="142" y="180"/>
                    </a:lnTo>
                    <a:lnTo>
                      <a:pt x="144" y="178"/>
                    </a:lnTo>
                    <a:lnTo>
                      <a:pt x="147" y="178"/>
                    </a:lnTo>
                    <a:lnTo>
                      <a:pt x="147" y="177"/>
                    </a:lnTo>
                    <a:lnTo>
                      <a:pt x="151" y="177"/>
                    </a:lnTo>
                    <a:lnTo>
                      <a:pt x="149" y="178"/>
                    </a:lnTo>
                    <a:lnTo>
                      <a:pt x="149" y="180"/>
                    </a:lnTo>
                    <a:lnTo>
                      <a:pt x="149" y="180"/>
                    </a:lnTo>
                    <a:lnTo>
                      <a:pt x="151" y="182"/>
                    </a:lnTo>
                    <a:lnTo>
                      <a:pt x="155" y="177"/>
                    </a:lnTo>
                    <a:lnTo>
                      <a:pt x="157" y="173"/>
                    </a:lnTo>
                    <a:lnTo>
                      <a:pt x="161" y="171"/>
                    </a:lnTo>
                    <a:lnTo>
                      <a:pt x="167" y="169"/>
                    </a:lnTo>
                    <a:lnTo>
                      <a:pt x="165" y="167"/>
                    </a:lnTo>
                    <a:lnTo>
                      <a:pt x="165" y="163"/>
                    </a:lnTo>
                    <a:lnTo>
                      <a:pt x="169" y="163"/>
                    </a:lnTo>
                    <a:lnTo>
                      <a:pt x="174" y="165"/>
                    </a:lnTo>
                    <a:lnTo>
                      <a:pt x="174" y="161"/>
                    </a:lnTo>
                    <a:lnTo>
                      <a:pt x="176" y="161"/>
                    </a:lnTo>
                    <a:lnTo>
                      <a:pt x="176" y="163"/>
                    </a:lnTo>
                    <a:lnTo>
                      <a:pt x="180" y="163"/>
                    </a:lnTo>
                    <a:lnTo>
                      <a:pt x="176" y="171"/>
                    </a:lnTo>
                    <a:lnTo>
                      <a:pt x="172" y="180"/>
                    </a:lnTo>
                    <a:lnTo>
                      <a:pt x="172" y="184"/>
                    </a:lnTo>
                    <a:lnTo>
                      <a:pt x="172" y="188"/>
                    </a:lnTo>
                    <a:lnTo>
                      <a:pt x="174" y="192"/>
                    </a:lnTo>
                    <a:lnTo>
                      <a:pt x="178" y="196"/>
                    </a:lnTo>
                    <a:lnTo>
                      <a:pt x="180" y="196"/>
                    </a:lnTo>
                    <a:lnTo>
                      <a:pt x="184" y="198"/>
                    </a:lnTo>
                    <a:lnTo>
                      <a:pt x="180" y="200"/>
                    </a:lnTo>
                    <a:lnTo>
                      <a:pt x="180" y="203"/>
                    </a:lnTo>
                    <a:lnTo>
                      <a:pt x="182" y="203"/>
                    </a:lnTo>
                    <a:lnTo>
                      <a:pt x="182" y="205"/>
                    </a:lnTo>
                    <a:lnTo>
                      <a:pt x="180" y="205"/>
                    </a:lnTo>
                    <a:lnTo>
                      <a:pt x="178" y="207"/>
                    </a:lnTo>
                    <a:lnTo>
                      <a:pt x="180" y="209"/>
                    </a:lnTo>
                    <a:lnTo>
                      <a:pt x="182" y="215"/>
                    </a:lnTo>
                    <a:lnTo>
                      <a:pt x="182" y="223"/>
                    </a:lnTo>
                    <a:lnTo>
                      <a:pt x="182" y="228"/>
                    </a:lnTo>
                    <a:lnTo>
                      <a:pt x="188" y="228"/>
                    </a:lnTo>
                    <a:lnTo>
                      <a:pt x="195" y="228"/>
                    </a:lnTo>
                    <a:lnTo>
                      <a:pt x="205" y="230"/>
                    </a:lnTo>
                    <a:lnTo>
                      <a:pt x="211" y="232"/>
                    </a:lnTo>
                    <a:lnTo>
                      <a:pt x="213" y="228"/>
                    </a:lnTo>
                    <a:lnTo>
                      <a:pt x="215" y="232"/>
                    </a:lnTo>
                    <a:lnTo>
                      <a:pt x="216" y="236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38"/>
                    </a:lnTo>
                    <a:lnTo>
                      <a:pt x="228" y="242"/>
                    </a:lnTo>
                    <a:lnTo>
                      <a:pt x="230" y="242"/>
                    </a:lnTo>
                    <a:lnTo>
                      <a:pt x="230" y="244"/>
                    </a:lnTo>
                    <a:lnTo>
                      <a:pt x="230" y="248"/>
                    </a:lnTo>
                    <a:lnTo>
                      <a:pt x="230" y="249"/>
                    </a:lnTo>
                    <a:lnTo>
                      <a:pt x="236" y="251"/>
                    </a:lnTo>
                    <a:lnTo>
                      <a:pt x="241" y="251"/>
                    </a:lnTo>
                    <a:lnTo>
                      <a:pt x="247" y="251"/>
                    </a:lnTo>
                    <a:lnTo>
                      <a:pt x="251" y="253"/>
                    </a:lnTo>
                    <a:lnTo>
                      <a:pt x="251" y="259"/>
                    </a:lnTo>
                    <a:lnTo>
                      <a:pt x="253" y="261"/>
                    </a:lnTo>
                    <a:lnTo>
                      <a:pt x="255" y="261"/>
                    </a:lnTo>
                    <a:lnTo>
                      <a:pt x="257" y="259"/>
                    </a:lnTo>
                    <a:lnTo>
                      <a:pt x="257" y="255"/>
                    </a:lnTo>
                    <a:lnTo>
                      <a:pt x="263" y="253"/>
                    </a:lnTo>
                    <a:lnTo>
                      <a:pt x="264" y="253"/>
                    </a:lnTo>
                    <a:lnTo>
                      <a:pt x="266" y="249"/>
                    </a:lnTo>
                    <a:lnTo>
                      <a:pt x="268" y="246"/>
                    </a:lnTo>
                    <a:lnTo>
                      <a:pt x="272" y="244"/>
                    </a:lnTo>
                    <a:lnTo>
                      <a:pt x="276" y="242"/>
                    </a:lnTo>
                    <a:lnTo>
                      <a:pt x="278" y="240"/>
                    </a:lnTo>
                    <a:lnTo>
                      <a:pt x="284" y="240"/>
                    </a:lnTo>
                    <a:lnTo>
                      <a:pt x="287" y="238"/>
                    </a:lnTo>
                    <a:lnTo>
                      <a:pt x="289" y="238"/>
                    </a:lnTo>
                    <a:lnTo>
                      <a:pt x="293" y="232"/>
                    </a:lnTo>
                    <a:lnTo>
                      <a:pt x="301" y="228"/>
                    </a:lnTo>
                    <a:lnTo>
                      <a:pt x="311" y="228"/>
                    </a:lnTo>
                    <a:lnTo>
                      <a:pt x="318" y="232"/>
                    </a:lnTo>
                    <a:lnTo>
                      <a:pt x="324" y="236"/>
                    </a:lnTo>
                    <a:lnTo>
                      <a:pt x="326" y="232"/>
                    </a:lnTo>
                    <a:lnTo>
                      <a:pt x="328" y="232"/>
                    </a:lnTo>
                    <a:lnTo>
                      <a:pt x="330" y="228"/>
                    </a:lnTo>
                    <a:lnTo>
                      <a:pt x="332" y="226"/>
                    </a:lnTo>
                    <a:lnTo>
                      <a:pt x="334" y="226"/>
                    </a:lnTo>
                    <a:lnTo>
                      <a:pt x="339" y="225"/>
                    </a:lnTo>
                    <a:lnTo>
                      <a:pt x="341" y="225"/>
                    </a:lnTo>
                    <a:lnTo>
                      <a:pt x="345" y="228"/>
                    </a:lnTo>
                    <a:lnTo>
                      <a:pt x="347" y="230"/>
                    </a:lnTo>
                    <a:lnTo>
                      <a:pt x="351" y="230"/>
                    </a:lnTo>
                    <a:lnTo>
                      <a:pt x="357" y="226"/>
                    </a:lnTo>
                    <a:lnTo>
                      <a:pt x="364" y="225"/>
                    </a:lnTo>
                    <a:lnTo>
                      <a:pt x="370" y="223"/>
                    </a:lnTo>
                    <a:lnTo>
                      <a:pt x="378" y="223"/>
                    </a:lnTo>
                    <a:lnTo>
                      <a:pt x="385" y="223"/>
                    </a:lnTo>
                    <a:lnTo>
                      <a:pt x="389" y="225"/>
                    </a:lnTo>
                    <a:lnTo>
                      <a:pt x="395" y="225"/>
                    </a:lnTo>
                    <a:lnTo>
                      <a:pt x="397" y="228"/>
                    </a:lnTo>
                    <a:lnTo>
                      <a:pt x="401" y="230"/>
                    </a:lnTo>
                    <a:lnTo>
                      <a:pt x="405" y="230"/>
                    </a:lnTo>
                    <a:lnTo>
                      <a:pt x="410" y="234"/>
                    </a:lnTo>
                    <a:lnTo>
                      <a:pt x="410" y="225"/>
                    </a:lnTo>
                    <a:lnTo>
                      <a:pt x="416" y="213"/>
                    </a:lnTo>
                    <a:lnTo>
                      <a:pt x="414" y="207"/>
                    </a:lnTo>
                    <a:lnTo>
                      <a:pt x="406" y="202"/>
                    </a:lnTo>
                    <a:lnTo>
                      <a:pt x="405" y="198"/>
                    </a:lnTo>
                    <a:lnTo>
                      <a:pt x="408" y="194"/>
                    </a:lnTo>
                    <a:lnTo>
                      <a:pt x="418" y="192"/>
                    </a:lnTo>
                    <a:lnTo>
                      <a:pt x="428" y="188"/>
                    </a:lnTo>
                    <a:lnTo>
                      <a:pt x="439" y="188"/>
                    </a:lnTo>
                    <a:lnTo>
                      <a:pt x="443" y="184"/>
                    </a:lnTo>
                    <a:lnTo>
                      <a:pt x="439" y="180"/>
                    </a:lnTo>
                    <a:lnTo>
                      <a:pt x="437" y="171"/>
                    </a:lnTo>
                    <a:lnTo>
                      <a:pt x="439" y="161"/>
                    </a:lnTo>
                    <a:lnTo>
                      <a:pt x="445" y="157"/>
                    </a:lnTo>
                    <a:lnTo>
                      <a:pt x="449" y="150"/>
                    </a:lnTo>
                    <a:lnTo>
                      <a:pt x="453" y="148"/>
                    </a:lnTo>
                    <a:lnTo>
                      <a:pt x="460" y="148"/>
                    </a:lnTo>
                    <a:lnTo>
                      <a:pt x="470" y="142"/>
                    </a:lnTo>
                    <a:lnTo>
                      <a:pt x="472" y="136"/>
                    </a:lnTo>
                    <a:lnTo>
                      <a:pt x="474" y="132"/>
                    </a:lnTo>
                    <a:lnTo>
                      <a:pt x="481" y="129"/>
                    </a:lnTo>
                    <a:lnTo>
                      <a:pt x="485" y="125"/>
                    </a:lnTo>
                    <a:lnTo>
                      <a:pt x="491" y="119"/>
                    </a:lnTo>
                    <a:lnTo>
                      <a:pt x="512" y="115"/>
                    </a:lnTo>
                    <a:lnTo>
                      <a:pt x="501" y="113"/>
                    </a:lnTo>
                    <a:lnTo>
                      <a:pt x="497" y="109"/>
                    </a:lnTo>
                    <a:lnTo>
                      <a:pt x="493" y="106"/>
                    </a:lnTo>
                    <a:lnTo>
                      <a:pt x="489" y="100"/>
                    </a:lnTo>
                    <a:lnTo>
                      <a:pt x="483" y="98"/>
                    </a:lnTo>
                    <a:lnTo>
                      <a:pt x="474" y="100"/>
                    </a:lnTo>
                    <a:lnTo>
                      <a:pt x="458" y="107"/>
                    </a:lnTo>
                    <a:lnTo>
                      <a:pt x="451" y="109"/>
                    </a:lnTo>
                    <a:lnTo>
                      <a:pt x="443" y="106"/>
                    </a:lnTo>
                    <a:lnTo>
                      <a:pt x="441" y="102"/>
                    </a:lnTo>
                    <a:lnTo>
                      <a:pt x="437" y="92"/>
                    </a:lnTo>
                    <a:lnTo>
                      <a:pt x="435" y="84"/>
                    </a:lnTo>
                    <a:lnTo>
                      <a:pt x="431" y="81"/>
                    </a:lnTo>
                    <a:lnTo>
                      <a:pt x="424" y="75"/>
                    </a:lnTo>
                    <a:lnTo>
                      <a:pt x="410" y="75"/>
                    </a:lnTo>
                    <a:lnTo>
                      <a:pt x="406" y="77"/>
                    </a:lnTo>
                    <a:lnTo>
                      <a:pt x="399" y="77"/>
                    </a:lnTo>
                    <a:lnTo>
                      <a:pt x="393" y="73"/>
                    </a:lnTo>
                    <a:lnTo>
                      <a:pt x="391" y="69"/>
                    </a:lnTo>
                    <a:lnTo>
                      <a:pt x="383" y="54"/>
                    </a:lnTo>
                    <a:lnTo>
                      <a:pt x="374" y="33"/>
                    </a:lnTo>
                    <a:lnTo>
                      <a:pt x="366" y="19"/>
                    </a:lnTo>
                    <a:lnTo>
                      <a:pt x="366" y="13"/>
                    </a:lnTo>
                    <a:lnTo>
                      <a:pt x="364" y="10"/>
                    </a:lnTo>
                    <a:lnTo>
                      <a:pt x="355" y="13"/>
                    </a:lnTo>
                    <a:lnTo>
                      <a:pt x="345" y="15"/>
                    </a:lnTo>
                    <a:lnTo>
                      <a:pt x="334" y="21"/>
                    </a:lnTo>
                    <a:lnTo>
                      <a:pt x="322" y="27"/>
                    </a:lnTo>
                    <a:lnTo>
                      <a:pt x="311" y="25"/>
                    </a:lnTo>
                    <a:lnTo>
                      <a:pt x="312" y="25"/>
                    </a:lnTo>
                    <a:lnTo>
                      <a:pt x="311" y="21"/>
                    </a:lnTo>
                    <a:lnTo>
                      <a:pt x="309" y="17"/>
                    </a:lnTo>
                    <a:lnTo>
                      <a:pt x="307" y="17"/>
                    </a:lnTo>
                    <a:lnTo>
                      <a:pt x="303" y="21"/>
                    </a:lnTo>
                    <a:lnTo>
                      <a:pt x="301" y="19"/>
                    </a:lnTo>
                    <a:lnTo>
                      <a:pt x="291" y="13"/>
                    </a:lnTo>
                    <a:lnTo>
                      <a:pt x="287" y="19"/>
                    </a:lnTo>
                    <a:lnTo>
                      <a:pt x="282" y="21"/>
                    </a:lnTo>
                    <a:lnTo>
                      <a:pt x="276" y="15"/>
                    </a:lnTo>
                    <a:lnTo>
                      <a:pt x="272" y="15"/>
                    </a:lnTo>
                    <a:lnTo>
                      <a:pt x="274" y="8"/>
                    </a:lnTo>
                    <a:lnTo>
                      <a:pt x="274" y="6"/>
                    </a:lnTo>
                    <a:lnTo>
                      <a:pt x="268" y="4"/>
                    </a:lnTo>
                    <a:lnTo>
                      <a:pt x="266" y="0"/>
                    </a:lnTo>
                    <a:lnTo>
                      <a:pt x="261" y="2"/>
                    </a:lnTo>
                    <a:lnTo>
                      <a:pt x="253" y="4"/>
                    </a:lnTo>
                    <a:lnTo>
                      <a:pt x="241" y="10"/>
                    </a:lnTo>
                    <a:lnTo>
                      <a:pt x="236" y="10"/>
                    </a:lnTo>
                    <a:lnTo>
                      <a:pt x="224" y="13"/>
                    </a:lnTo>
                    <a:lnTo>
                      <a:pt x="213" y="13"/>
                    </a:lnTo>
                    <a:lnTo>
                      <a:pt x="203" y="17"/>
                    </a:lnTo>
                    <a:lnTo>
                      <a:pt x="192" y="17"/>
                    </a:lnTo>
                    <a:lnTo>
                      <a:pt x="186" y="15"/>
                    </a:lnTo>
                    <a:lnTo>
                      <a:pt x="180" y="15"/>
                    </a:lnTo>
                    <a:lnTo>
                      <a:pt x="172" y="12"/>
                    </a:lnTo>
                    <a:lnTo>
                      <a:pt x="167" y="15"/>
                    </a:lnTo>
                    <a:lnTo>
                      <a:pt x="169" y="19"/>
                    </a:lnTo>
                    <a:lnTo>
                      <a:pt x="169" y="25"/>
                    </a:lnTo>
                    <a:lnTo>
                      <a:pt x="161" y="31"/>
                    </a:lnTo>
                    <a:lnTo>
                      <a:pt x="161" y="38"/>
                    </a:lnTo>
                    <a:lnTo>
                      <a:pt x="159" y="44"/>
                    </a:lnTo>
                    <a:lnTo>
                      <a:pt x="159" y="50"/>
                    </a:lnTo>
                    <a:lnTo>
                      <a:pt x="165" y="58"/>
                    </a:lnTo>
                    <a:lnTo>
                      <a:pt x="167" y="61"/>
                    </a:lnTo>
                    <a:lnTo>
                      <a:pt x="161" y="69"/>
                    </a:lnTo>
                    <a:lnTo>
                      <a:pt x="167" y="75"/>
                    </a:lnTo>
                    <a:lnTo>
                      <a:pt x="169" y="75"/>
                    </a:lnTo>
                    <a:lnTo>
                      <a:pt x="174" y="79"/>
                    </a:lnTo>
                    <a:lnTo>
                      <a:pt x="170" y="84"/>
                    </a:lnTo>
                    <a:lnTo>
                      <a:pt x="169" y="86"/>
                    </a:lnTo>
                    <a:lnTo>
                      <a:pt x="163" y="86"/>
                    </a:lnTo>
                    <a:lnTo>
                      <a:pt x="155" y="84"/>
                    </a:lnTo>
                    <a:lnTo>
                      <a:pt x="153" y="81"/>
                    </a:lnTo>
                    <a:lnTo>
                      <a:pt x="149" y="75"/>
                    </a:lnTo>
                    <a:lnTo>
                      <a:pt x="145" y="75"/>
                    </a:lnTo>
                    <a:lnTo>
                      <a:pt x="144" y="77"/>
                    </a:lnTo>
                    <a:lnTo>
                      <a:pt x="142" y="75"/>
                    </a:lnTo>
                    <a:lnTo>
                      <a:pt x="136" y="73"/>
                    </a:lnTo>
                    <a:lnTo>
                      <a:pt x="130" y="77"/>
                    </a:lnTo>
                    <a:lnTo>
                      <a:pt x="126" y="79"/>
                    </a:lnTo>
                    <a:lnTo>
                      <a:pt x="122" y="79"/>
                    </a:lnTo>
                    <a:lnTo>
                      <a:pt x="115" y="77"/>
                    </a:lnTo>
                    <a:lnTo>
                      <a:pt x="111" y="77"/>
                    </a:lnTo>
                    <a:lnTo>
                      <a:pt x="109" y="77"/>
                    </a:lnTo>
                    <a:lnTo>
                      <a:pt x="107" y="81"/>
                    </a:lnTo>
                    <a:lnTo>
                      <a:pt x="107" y="86"/>
                    </a:lnTo>
                    <a:lnTo>
                      <a:pt x="101" y="84"/>
                    </a:lnTo>
                    <a:lnTo>
                      <a:pt x="103" y="81"/>
                    </a:lnTo>
                    <a:lnTo>
                      <a:pt x="103" y="77"/>
                    </a:lnTo>
                    <a:lnTo>
                      <a:pt x="99" y="75"/>
                    </a:lnTo>
                    <a:lnTo>
                      <a:pt x="96" y="75"/>
                    </a:lnTo>
                    <a:lnTo>
                      <a:pt x="94" y="73"/>
                    </a:lnTo>
                    <a:lnTo>
                      <a:pt x="92" y="69"/>
                    </a:lnTo>
                    <a:lnTo>
                      <a:pt x="88" y="67"/>
                    </a:lnTo>
                    <a:lnTo>
                      <a:pt x="84" y="65"/>
                    </a:lnTo>
                    <a:lnTo>
                      <a:pt x="80" y="63"/>
                    </a:lnTo>
                    <a:lnTo>
                      <a:pt x="76" y="63"/>
                    </a:lnTo>
                    <a:lnTo>
                      <a:pt x="76" y="61"/>
                    </a:lnTo>
                    <a:lnTo>
                      <a:pt x="76" y="58"/>
                    </a:lnTo>
                    <a:lnTo>
                      <a:pt x="73" y="54"/>
                    </a:lnTo>
                    <a:lnTo>
                      <a:pt x="69" y="54"/>
                    </a:lnTo>
                    <a:lnTo>
                      <a:pt x="69" y="56"/>
                    </a:lnTo>
                    <a:lnTo>
                      <a:pt x="69" y="56"/>
                    </a:lnTo>
                    <a:lnTo>
                      <a:pt x="63" y="58"/>
                    </a:lnTo>
                    <a:lnTo>
                      <a:pt x="63" y="54"/>
                    </a:lnTo>
                    <a:lnTo>
                      <a:pt x="51" y="56"/>
                    </a:lnTo>
                    <a:lnTo>
                      <a:pt x="53" y="58"/>
                    </a:lnTo>
                    <a:lnTo>
                      <a:pt x="55" y="60"/>
                    </a:lnTo>
                    <a:lnTo>
                      <a:pt x="50" y="65"/>
                    </a:lnTo>
                    <a:lnTo>
                      <a:pt x="44" y="69"/>
                    </a:lnTo>
                    <a:lnTo>
                      <a:pt x="42" y="71"/>
                    </a:lnTo>
                    <a:lnTo>
                      <a:pt x="36" y="69"/>
                    </a:lnTo>
                    <a:lnTo>
                      <a:pt x="32" y="71"/>
                    </a:lnTo>
                    <a:lnTo>
                      <a:pt x="30" y="75"/>
                    </a:lnTo>
                    <a:lnTo>
                      <a:pt x="26" y="77"/>
                    </a:lnTo>
                    <a:lnTo>
                      <a:pt x="26" y="83"/>
                    </a:lnTo>
                    <a:lnTo>
                      <a:pt x="28" y="88"/>
                    </a:lnTo>
                    <a:lnTo>
                      <a:pt x="32" y="90"/>
                    </a:lnTo>
                    <a:lnTo>
                      <a:pt x="25" y="96"/>
                    </a:lnTo>
                    <a:lnTo>
                      <a:pt x="23" y="92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3" y="90"/>
                    </a:lnTo>
                    <a:lnTo>
                      <a:pt x="9" y="92"/>
                    </a:lnTo>
                    <a:lnTo>
                      <a:pt x="7" y="94"/>
                    </a:lnTo>
                    <a:lnTo>
                      <a:pt x="7" y="102"/>
                    </a:lnTo>
                    <a:lnTo>
                      <a:pt x="3" y="106"/>
                    </a:lnTo>
                    <a:lnTo>
                      <a:pt x="5" y="106"/>
                    </a:lnTo>
                    <a:lnTo>
                      <a:pt x="7" y="109"/>
                    </a:lnTo>
                    <a:lnTo>
                      <a:pt x="7" y="111"/>
                    </a:lnTo>
                    <a:lnTo>
                      <a:pt x="5" y="113"/>
                    </a:lnTo>
                    <a:lnTo>
                      <a:pt x="3" y="115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5"/>
                    </a:lnTo>
                    <a:lnTo>
                      <a:pt x="2" y="127"/>
                    </a:lnTo>
                    <a:lnTo>
                      <a:pt x="3" y="127"/>
                    </a:lnTo>
                    <a:lnTo>
                      <a:pt x="7" y="132"/>
                    </a:lnTo>
                    <a:lnTo>
                      <a:pt x="5" y="138"/>
                    </a:lnTo>
                    <a:lnTo>
                      <a:pt x="9" y="138"/>
                    </a:lnTo>
                    <a:lnTo>
                      <a:pt x="13" y="136"/>
                    </a:lnTo>
                    <a:lnTo>
                      <a:pt x="19" y="150"/>
                    </a:lnTo>
                    <a:lnTo>
                      <a:pt x="19" y="152"/>
                    </a:lnTo>
                    <a:lnTo>
                      <a:pt x="19" y="155"/>
                    </a:lnTo>
                    <a:lnTo>
                      <a:pt x="19" y="159"/>
                    </a:lnTo>
                    <a:lnTo>
                      <a:pt x="21" y="163"/>
                    </a:lnTo>
                    <a:lnTo>
                      <a:pt x="23" y="163"/>
                    </a:lnTo>
                    <a:lnTo>
                      <a:pt x="26" y="165"/>
                    </a:lnTo>
                    <a:lnTo>
                      <a:pt x="28" y="161"/>
                    </a:lnTo>
                    <a:lnTo>
                      <a:pt x="32" y="159"/>
                    </a:lnTo>
                    <a:lnTo>
                      <a:pt x="34" y="159"/>
                    </a:lnTo>
                    <a:lnTo>
                      <a:pt x="38" y="161"/>
                    </a:lnTo>
                    <a:lnTo>
                      <a:pt x="44" y="155"/>
                    </a:lnTo>
                    <a:lnTo>
                      <a:pt x="50" y="148"/>
                    </a:lnTo>
                    <a:lnTo>
                      <a:pt x="53" y="150"/>
                    </a:lnTo>
                    <a:lnTo>
                      <a:pt x="57" y="152"/>
                    </a:lnTo>
                    <a:lnTo>
                      <a:pt x="57" y="155"/>
                    </a:lnTo>
                    <a:lnTo>
                      <a:pt x="67" y="157"/>
                    </a:lnTo>
                    <a:lnTo>
                      <a:pt x="76" y="161"/>
                    </a:lnTo>
                    <a:lnTo>
                      <a:pt x="76" y="165"/>
                    </a:lnTo>
                    <a:lnTo>
                      <a:pt x="78" y="167"/>
                    </a:lnTo>
                    <a:lnTo>
                      <a:pt x="82" y="167"/>
                    </a:lnTo>
                    <a:lnTo>
                      <a:pt x="84" y="167"/>
                    </a:lnTo>
                    <a:lnTo>
                      <a:pt x="84" y="173"/>
                    </a:lnTo>
                    <a:lnTo>
                      <a:pt x="86" y="178"/>
                    </a:lnTo>
                    <a:lnTo>
                      <a:pt x="88" y="182"/>
                    </a:lnTo>
                    <a:lnTo>
                      <a:pt x="92" y="184"/>
                    </a:lnTo>
                    <a:lnTo>
                      <a:pt x="94" y="186"/>
                    </a:lnTo>
                    <a:lnTo>
                      <a:pt x="94" y="188"/>
                    </a:lnTo>
                    <a:lnTo>
                      <a:pt x="92" y="190"/>
                    </a:lnTo>
                    <a:lnTo>
                      <a:pt x="90" y="192"/>
                    </a:lnTo>
                    <a:lnTo>
                      <a:pt x="88" y="194"/>
                    </a:lnTo>
                    <a:lnTo>
                      <a:pt x="84" y="194"/>
                    </a:lnTo>
                    <a:lnTo>
                      <a:pt x="84" y="196"/>
                    </a:lnTo>
                    <a:lnTo>
                      <a:pt x="80" y="196"/>
                    </a:lnTo>
                    <a:lnTo>
                      <a:pt x="80" y="194"/>
                    </a:lnTo>
                    <a:lnTo>
                      <a:pt x="78" y="192"/>
                    </a:lnTo>
                    <a:lnTo>
                      <a:pt x="78" y="190"/>
                    </a:lnTo>
                    <a:lnTo>
                      <a:pt x="74" y="190"/>
                    </a:lnTo>
                    <a:lnTo>
                      <a:pt x="71" y="190"/>
                    </a:lnTo>
                    <a:lnTo>
                      <a:pt x="69" y="188"/>
                    </a:lnTo>
                    <a:lnTo>
                      <a:pt x="63" y="186"/>
                    </a:lnTo>
                    <a:lnTo>
                      <a:pt x="61" y="188"/>
                    </a:lnTo>
                    <a:lnTo>
                      <a:pt x="63" y="194"/>
                    </a:lnTo>
                    <a:lnTo>
                      <a:pt x="55" y="194"/>
                    </a:lnTo>
                    <a:lnTo>
                      <a:pt x="50" y="194"/>
                    </a:lnTo>
                    <a:lnTo>
                      <a:pt x="51" y="198"/>
                    </a:lnTo>
                    <a:lnTo>
                      <a:pt x="51" y="202"/>
                    </a:lnTo>
                    <a:lnTo>
                      <a:pt x="55" y="203"/>
                    </a:lnTo>
                    <a:lnTo>
                      <a:pt x="57" y="205"/>
                    </a:lnTo>
                    <a:lnTo>
                      <a:pt x="50" y="203"/>
                    </a:lnTo>
                    <a:lnTo>
                      <a:pt x="42" y="203"/>
                    </a:lnTo>
                    <a:lnTo>
                      <a:pt x="42" y="207"/>
                    </a:lnTo>
                    <a:lnTo>
                      <a:pt x="48" y="211"/>
                    </a:lnTo>
                    <a:lnTo>
                      <a:pt x="51" y="217"/>
                    </a:lnTo>
                    <a:lnTo>
                      <a:pt x="53" y="221"/>
                    </a:lnTo>
                    <a:lnTo>
                      <a:pt x="53" y="223"/>
                    </a:lnTo>
                    <a:lnTo>
                      <a:pt x="59" y="226"/>
                    </a:lnTo>
                    <a:lnTo>
                      <a:pt x="63" y="230"/>
                    </a:lnTo>
                    <a:lnTo>
                      <a:pt x="67" y="230"/>
                    </a:lnTo>
                    <a:lnTo>
                      <a:pt x="71" y="230"/>
                    </a:lnTo>
                    <a:lnTo>
                      <a:pt x="69" y="234"/>
                    </a:lnTo>
                    <a:lnTo>
                      <a:pt x="69" y="238"/>
                    </a:lnTo>
                    <a:lnTo>
                      <a:pt x="69" y="240"/>
                    </a:lnTo>
                    <a:lnTo>
                      <a:pt x="69" y="244"/>
                    </a:lnTo>
                    <a:lnTo>
                      <a:pt x="69" y="244"/>
                    </a:lnTo>
                    <a:lnTo>
                      <a:pt x="71" y="242"/>
                    </a:lnTo>
                    <a:lnTo>
                      <a:pt x="73" y="238"/>
                    </a:lnTo>
                    <a:lnTo>
                      <a:pt x="76" y="236"/>
                    </a:lnTo>
                    <a:lnTo>
                      <a:pt x="78" y="234"/>
                    </a:lnTo>
                    <a:lnTo>
                      <a:pt x="82" y="234"/>
                    </a:lnTo>
                    <a:lnTo>
                      <a:pt x="86" y="234"/>
                    </a:lnTo>
                    <a:lnTo>
                      <a:pt x="90" y="236"/>
                    </a:lnTo>
                    <a:lnTo>
                      <a:pt x="92" y="238"/>
                    </a:lnTo>
                    <a:lnTo>
                      <a:pt x="94" y="240"/>
                    </a:lnTo>
                    <a:lnTo>
                      <a:pt x="97" y="246"/>
                    </a:lnTo>
                    <a:lnTo>
                      <a:pt x="99" y="248"/>
                    </a:lnTo>
                    <a:lnTo>
                      <a:pt x="105" y="248"/>
                    </a:lnTo>
                    <a:lnTo>
                      <a:pt x="111" y="248"/>
                    </a:lnTo>
                    <a:lnTo>
                      <a:pt x="113" y="188"/>
                    </a:lnTo>
                    <a:lnTo>
                      <a:pt x="119" y="186"/>
                    </a:lnTo>
                    <a:lnTo>
                      <a:pt x="126" y="182"/>
                    </a:lnTo>
                    <a:lnTo>
                      <a:pt x="130" y="182"/>
                    </a:lnTo>
                    <a:lnTo>
                      <a:pt x="136" y="180"/>
                    </a:lnTo>
                    <a:lnTo>
                      <a:pt x="140" y="182"/>
                    </a:lnTo>
                    <a:lnTo>
                      <a:pt x="142" y="182"/>
                    </a:lnTo>
                    <a:close/>
                    <a:moveTo>
                      <a:pt x="74" y="200"/>
                    </a:moveTo>
                    <a:lnTo>
                      <a:pt x="74" y="202"/>
                    </a:lnTo>
                    <a:lnTo>
                      <a:pt x="73" y="207"/>
                    </a:lnTo>
                    <a:lnTo>
                      <a:pt x="69" y="205"/>
                    </a:lnTo>
                    <a:lnTo>
                      <a:pt x="67" y="203"/>
                    </a:lnTo>
                    <a:lnTo>
                      <a:pt x="67" y="203"/>
                    </a:lnTo>
                    <a:lnTo>
                      <a:pt x="73" y="203"/>
                    </a:lnTo>
                    <a:lnTo>
                      <a:pt x="73" y="200"/>
                    </a:lnTo>
                    <a:lnTo>
                      <a:pt x="74" y="200"/>
                    </a:lnTo>
                    <a:close/>
                    <a:moveTo>
                      <a:pt x="403" y="144"/>
                    </a:moveTo>
                    <a:lnTo>
                      <a:pt x="406" y="144"/>
                    </a:lnTo>
                    <a:lnTo>
                      <a:pt x="408" y="148"/>
                    </a:lnTo>
                    <a:lnTo>
                      <a:pt x="406" y="150"/>
                    </a:lnTo>
                    <a:lnTo>
                      <a:pt x="406" y="152"/>
                    </a:lnTo>
                    <a:lnTo>
                      <a:pt x="405" y="154"/>
                    </a:lnTo>
                    <a:lnTo>
                      <a:pt x="405" y="155"/>
                    </a:lnTo>
                    <a:lnTo>
                      <a:pt x="401" y="155"/>
                    </a:lnTo>
                    <a:lnTo>
                      <a:pt x="397" y="155"/>
                    </a:lnTo>
                    <a:lnTo>
                      <a:pt x="397" y="159"/>
                    </a:lnTo>
                    <a:lnTo>
                      <a:pt x="387" y="159"/>
                    </a:lnTo>
                    <a:lnTo>
                      <a:pt x="376" y="159"/>
                    </a:lnTo>
                    <a:lnTo>
                      <a:pt x="370" y="157"/>
                    </a:lnTo>
                    <a:lnTo>
                      <a:pt x="362" y="155"/>
                    </a:lnTo>
                    <a:lnTo>
                      <a:pt x="362" y="157"/>
                    </a:lnTo>
                    <a:lnTo>
                      <a:pt x="362" y="161"/>
                    </a:lnTo>
                    <a:lnTo>
                      <a:pt x="355" y="163"/>
                    </a:lnTo>
                    <a:lnTo>
                      <a:pt x="349" y="165"/>
                    </a:lnTo>
                    <a:lnTo>
                      <a:pt x="347" y="167"/>
                    </a:lnTo>
                    <a:lnTo>
                      <a:pt x="347" y="171"/>
                    </a:lnTo>
                    <a:lnTo>
                      <a:pt x="343" y="173"/>
                    </a:lnTo>
                    <a:lnTo>
                      <a:pt x="337" y="173"/>
                    </a:lnTo>
                    <a:lnTo>
                      <a:pt x="337" y="177"/>
                    </a:lnTo>
                    <a:lnTo>
                      <a:pt x="332" y="180"/>
                    </a:lnTo>
                    <a:lnTo>
                      <a:pt x="330" y="186"/>
                    </a:lnTo>
                    <a:lnTo>
                      <a:pt x="330" y="188"/>
                    </a:lnTo>
                    <a:lnTo>
                      <a:pt x="334" y="190"/>
                    </a:lnTo>
                    <a:lnTo>
                      <a:pt x="332" y="192"/>
                    </a:lnTo>
                    <a:lnTo>
                      <a:pt x="332" y="194"/>
                    </a:lnTo>
                    <a:lnTo>
                      <a:pt x="328" y="192"/>
                    </a:lnTo>
                    <a:lnTo>
                      <a:pt x="326" y="190"/>
                    </a:lnTo>
                    <a:lnTo>
                      <a:pt x="326" y="184"/>
                    </a:lnTo>
                    <a:lnTo>
                      <a:pt x="326" y="180"/>
                    </a:lnTo>
                    <a:lnTo>
                      <a:pt x="322" y="180"/>
                    </a:lnTo>
                    <a:lnTo>
                      <a:pt x="320" y="180"/>
                    </a:lnTo>
                    <a:lnTo>
                      <a:pt x="324" y="173"/>
                    </a:lnTo>
                    <a:lnTo>
                      <a:pt x="330" y="165"/>
                    </a:lnTo>
                    <a:lnTo>
                      <a:pt x="334" y="165"/>
                    </a:lnTo>
                    <a:lnTo>
                      <a:pt x="335" y="165"/>
                    </a:lnTo>
                    <a:lnTo>
                      <a:pt x="339" y="159"/>
                    </a:lnTo>
                    <a:lnTo>
                      <a:pt x="345" y="154"/>
                    </a:lnTo>
                    <a:lnTo>
                      <a:pt x="357" y="152"/>
                    </a:lnTo>
                    <a:lnTo>
                      <a:pt x="366" y="152"/>
                    </a:lnTo>
                    <a:lnTo>
                      <a:pt x="374" y="154"/>
                    </a:lnTo>
                    <a:lnTo>
                      <a:pt x="383" y="155"/>
                    </a:lnTo>
                    <a:lnTo>
                      <a:pt x="385" y="152"/>
                    </a:lnTo>
                    <a:lnTo>
                      <a:pt x="389" y="154"/>
                    </a:lnTo>
                    <a:lnTo>
                      <a:pt x="393" y="154"/>
                    </a:lnTo>
                    <a:lnTo>
                      <a:pt x="397" y="148"/>
                    </a:lnTo>
                    <a:lnTo>
                      <a:pt x="403" y="14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5" name="Freeform 153"/>
              <p:cNvSpPr>
                <a:spLocks/>
              </p:cNvSpPr>
              <p:nvPr/>
            </p:nvSpPr>
            <p:spPr bwMode="gray">
              <a:xfrm>
                <a:off x="5017932" y="3622676"/>
                <a:ext cx="95239" cy="104775"/>
              </a:xfrm>
              <a:custGeom>
                <a:avLst/>
                <a:gdLst>
                  <a:gd name="T0" fmla="*/ 14 w 60"/>
                  <a:gd name="T1" fmla="*/ 21 h 66"/>
                  <a:gd name="T2" fmla="*/ 15 w 60"/>
                  <a:gd name="T3" fmla="*/ 18 h 66"/>
                  <a:gd name="T4" fmla="*/ 15 w 60"/>
                  <a:gd name="T5" fmla="*/ 14 h 66"/>
                  <a:gd name="T6" fmla="*/ 15 w 60"/>
                  <a:gd name="T7" fmla="*/ 14 h 66"/>
                  <a:gd name="T8" fmla="*/ 19 w 60"/>
                  <a:gd name="T9" fmla="*/ 12 h 66"/>
                  <a:gd name="T10" fmla="*/ 23 w 60"/>
                  <a:gd name="T11" fmla="*/ 12 h 66"/>
                  <a:gd name="T12" fmla="*/ 29 w 60"/>
                  <a:gd name="T13" fmla="*/ 14 h 66"/>
                  <a:gd name="T14" fmla="*/ 33 w 60"/>
                  <a:gd name="T15" fmla="*/ 14 h 66"/>
                  <a:gd name="T16" fmla="*/ 52 w 60"/>
                  <a:gd name="T17" fmla="*/ 0 h 66"/>
                  <a:gd name="T18" fmla="*/ 60 w 60"/>
                  <a:gd name="T19" fmla="*/ 21 h 66"/>
                  <a:gd name="T20" fmla="*/ 60 w 60"/>
                  <a:gd name="T21" fmla="*/ 25 h 66"/>
                  <a:gd name="T22" fmla="*/ 35 w 60"/>
                  <a:gd name="T23" fmla="*/ 31 h 66"/>
                  <a:gd name="T24" fmla="*/ 42 w 60"/>
                  <a:gd name="T25" fmla="*/ 44 h 66"/>
                  <a:gd name="T26" fmla="*/ 38 w 60"/>
                  <a:gd name="T27" fmla="*/ 46 h 66"/>
                  <a:gd name="T28" fmla="*/ 35 w 60"/>
                  <a:gd name="T29" fmla="*/ 50 h 66"/>
                  <a:gd name="T30" fmla="*/ 33 w 60"/>
                  <a:gd name="T31" fmla="*/ 52 h 66"/>
                  <a:gd name="T32" fmla="*/ 31 w 60"/>
                  <a:gd name="T33" fmla="*/ 56 h 66"/>
                  <a:gd name="T34" fmla="*/ 27 w 60"/>
                  <a:gd name="T35" fmla="*/ 58 h 66"/>
                  <a:gd name="T36" fmla="*/ 25 w 60"/>
                  <a:gd name="T37" fmla="*/ 60 h 66"/>
                  <a:gd name="T38" fmla="*/ 14 w 60"/>
                  <a:gd name="T39" fmla="*/ 66 h 66"/>
                  <a:gd name="T40" fmla="*/ 0 w 60"/>
                  <a:gd name="T41" fmla="*/ 64 h 66"/>
                  <a:gd name="T42" fmla="*/ 0 w 60"/>
                  <a:gd name="T43" fmla="*/ 60 h 66"/>
                  <a:gd name="T44" fmla="*/ 4 w 60"/>
                  <a:gd name="T45" fmla="*/ 58 h 66"/>
                  <a:gd name="T46" fmla="*/ 8 w 60"/>
                  <a:gd name="T47" fmla="*/ 52 h 66"/>
                  <a:gd name="T48" fmla="*/ 12 w 60"/>
                  <a:gd name="T49" fmla="*/ 44 h 66"/>
                  <a:gd name="T50" fmla="*/ 12 w 60"/>
                  <a:gd name="T51" fmla="*/ 35 h 66"/>
                  <a:gd name="T52" fmla="*/ 14 w 60"/>
                  <a:gd name="T53" fmla="*/ 31 h 66"/>
                  <a:gd name="T54" fmla="*/ 14 w 60"/>
                  <a:gd name="T55" fmla="*/ 27 h 66"/>
                  <a:gd name="T56" fmla="*/ 14 w 60"/>
                  <a:gd name="T57" fmla="*/ 23 h 66"/>
                  <a:gd name="T58" fmla="*/ 14 w 60"/>
                  <a:gd name="T59" fmla="*/ 23 h 66"/>
                  <a:gd name="T60" fmla="*/ 14 w 60"/>
                  <a:gd name="T61" fmla="*/ 2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0" h="66">
                    <a:moveTo>
                      <a:pt x="14" y="21"/>
                    </a:moveTo>
                    <a:lnTo>
                      <a:pt x="15" y="18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19" y="12"/>
                    </a:lnTo>
                    <a:lnTo>
                      <a:pt x="23" y="12"/>
                    </a:lnTo>
                    <a:lnTo>
                      <a:pt x="29" y="14"/>
                    </a:lnTo>
                    <a:lnTo>
                      <a:pt x="33" y="14"/>
                    </a:lnTo>
                    <a:lnTo>
                      <a:pt x="52" y="0"/>
                    </a:lnTo>
                    <a:lnTo>
                      <a:pt x="60" y="21"/>
                    </a:lnTo>
                    <a:lnTo>
                      <a:pt x="60" y="25"/>
                    </a:lnTo>
                    <a:lnTo>
                      <a:pt x="35" y="31"/>
                    </a:lnTo>
                    <a:lnTo>
                      <a:pt x="42" y="44"/>
                    </a:lnTo>
                    <a:lnTo>
                      <a:pt x="38" y="46"/>
                    </a:lnTo>
                    <a:lnTo>
                      <a:pt x="35" y="50"/>
                    </a:lnTo>
                    <a:lnTo>
                      <a:pt x="33" y="52"/>
                    </a:lnTo>
                    <a:lnTo>
                      <a:pt x="31" y="56"/>
                    </a:lnTo>
                    <a:lnTo>
                      <a:pt x="27" y="58"/>
                    </a:lnTo>
                    <a:lnTo>
                      <a:pt x="25" y="60"/>
                    </a:lnTo>
                    <a:lnTo>
                      <a:pt x="14" y="66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8"/>
                    </a:lnTo>
                    <a:lnTo>
                      <a:pt x="8" y="52"/>
                    </a:lnTo>
                    <a:lnTo>
                      <a:pt x="12" y="44"/>
                    </a:lnTo>
                    <a:lnTo>
                      <a:pt x="12" y="35"/>
                    </a:lnTo>
                    <a:lnTo>
                      <a:pt x="14" y="31"/>
                    </a:lnTo>
                    <a:lnTo>
                      <a:pt x="14" y="27"/>
                    </a:lnTo>
                    <a:lnTo>
                      <a:pt x="14" y="23"/>
                    </a:lnTo>
                    <a:lnTo>
                      <a:pt x="14" y="23"/>
                    </a:lnTo>
                    <a:lnTo>
                      <a:pt x="14" y="2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6" name="Freeform 154"/>
              <p:cNvSpPr>
                <a:spLocks noEditPoints="1"/>
              </p:cNvSpPr>
              <p:nvPr/>
            </p:nvSpPr>
            <p:spPr bwMode="gray">
              <a:xfrm>
                <a:off x="6840179" y="3278189"/>
                <a:ext cx="361910" cy="522288"/>
              </a:xfrm>
              <a:custGeom>
                <a:avLst/>
                <a:gdLst>
                  <a:gd name="T0" fmla="*/ 13 w 228"/>
                  <a:gd name="T1" fmla="*/ 325 h 329"/>
                  <a:gd name="T2" fmla="*/ 0 w 228"/>
                  <a:gd name="T3" fmla="*/ 319 h 329"/>
                  <a:gd name="T4" fmla="*/ 46 w 228"/>
                  <a:gd name="T5" fmla="*/ 265 h 329"/>
                  <a:gd name="T6" fmla="*/ 38 w 228"/>
                  <a:gd name="T7" fmla="*/ 214 h 329"/>
                  <a:gd name="T8" fmla="*/ 34 w 228"/>
                  <a:gd name="T9" fmla="*/ 221 h 329"/>
                  <a:gd name="T10" fmla="*/ 36 w 228"/>
                  <a:gd name="T11" fmla="*/ 233 h 329"/>
                  <a:gd name="T12" fmla="*/ 40 w 228"/>
                  <a:gd name="T13" fmla="*/ 225 h 329"/>
                  <a:gd name="T14" fmla="*/ 46 w 228"/>
                  <a:gd name="T15" fmla="*/ 229 h 329"/>
                  <a:gd name="T16" fmla="*/ 40 w 228"/>
                  <a:gd name="T17" fmla="*/ 250 h 329"/>
                  <a:gd name="T18" fmla="*/ 46 w 228"/>
                  <a:gd name="T19" fmla="*/ 256 h 329"/>
                  <a:gd name="T20" fmla="*/ 57 w 228"/>
                  <a:gd name="T21" fmla="*/ 227 h 329"/>
                  <a:gd name="T22" fmla="*/ 55 w 228"/>
                  <a:gd name="T23" fmla="*/ 215 h 329"/>
                  <a:gd name="T24" fmla="*/ 42 w 228"/>
                  <a:gd name="T25" fmla="*/ 206 h 329"/>
                  <a:gd name="T26" fmla="*/ 75 w 228"/>
                  <a:gd name="T27" fmla="*/ 204 h 329"/>
                  <a:gd name="T28" fmla="*/ 65 w 228"/>
                  <a:gd name="T29" fmla="*/ 214 h 329"/>
                  <a:gd name="T30" fmla="*/ 76 w 228"/>
                  <a:gd name="T31" fmla="*/ 219 h 329"/>
                  <a:gd name="T32" fmla="*/ 90 w 228"/>
                  <a:gd name="T33" fmla="*/ 214 h 329"/>
                  <a:gd name="T34" fmla="*/ 78 w 228"/>
                  <a:gd name="T35" fmla="*/ 190 h 329"/>
                  <a:gd name="T36" fmla="*/ 76 w 228"/>
                  <a:gd name="T37" fmla="*/ 189 h 329"/>
                  <a:gd name="T38" fmla="*/ 159 w 228"/>
                  <a:gd name="T39" fmla="*/ 91 h 329"/>
                  <a:gd name="T40" fmla="*/ 159 w 228"/>
                  <a:gd name="T41" fmla="*/ 108 h 329"/>
                  <a:gd name="T42" fmla="*/ 157 w 228"/>
                  <a:gd name="T43" fmla="*/ 116 h 329"/>
                  <a:gd name="T44" fmla="*/ 140 w 228"/>
                  <a:gd name="T45" fmla="*/ 142 h 329"/>
                  <a:gd name="T46" fmla="*/ 126 w 228"/>
                  <a:gd name="T47" fmla="*/ 156 h 329"/>
                  <a:gd name="T48" fmla="*/ 119 w 228"/>
                  <a:gd name="T49" fmla="*/ 152 h 329"/>
                  <a:gd name="T50" fmla="*/ 115 w 228"/>
                  <a:gd name="T51" fmla="*/ 156 h 329"/>
                  <a:gd name="T52" fmla="*/ 109 w 228"/>
                  <a:gd name="T53" fmla="*/ 179 h 329"/>
                  <a:gd name="T54" fmla="*/ 88 w 228"/>
                  <a:gd name="T55" fmla="*/ 181 h 329"/>
                  <a:gd name="T56" fmla="*/ 55 w 228"/>
                  <a:gd name="T57" fmla="*/ 200 h 329"/>
                  <a:gd name="T58" fmla="*/ 55 w 228"/>
                  <a:gd name="T59" fmla="*/ 206 h 329"/>
                  <a:gd name="T60" fmla="*/ 88 w 228"/>
                  <a:gd name="T61" fmla="*/ 198 h 329"/>
                  <a:gd name="T62" fmla="*/ 96 w 228"/>
                  <a:gd name="T63" fmla="*/ 206 h 329"/>
                  <a:gd name="T64" fmla="*/ 107 w 228"/>
                  <a:gd name="T65" fmla="*/ 215 h 329"/>
                  <a:gd name="T66" fmla="*/ 117 w 228"/>
                  <a:gd name="T67" fmla="*/ 200 h 329"/>
                  <a:gd name="T68" fmla="*/ 126 w 228"/>
                  <a:gd name="T69" fmla="*/ 198 h 329"/>
                  <a:gd name="T70" fmla="*/ 132 w 228"/>
                  <a:gd name="T71" fmla="*/ 198 h 329"/>
                  <a:gd name="T72" fmla="*/ 146 w 228"/>
                  <a:gd name="T73" fmla="*/ 200 h 329"/>
                  <a:gd name="T74" fmla="*/ 157 w 228"/>
                  <a:gd name="T75" fmla="*/ 190 h 329"/>
                  <a:gd name="T76" fmla="*/ 161 w 228"/>
                  <a:gd name="T77" fmla="*/ 183 h 329"/>
                  <a:gd name="T78" fmla="*/ 161 w 228"/>
                  <a:gd name="T79" fmla="*/ 194 h 329"/>
                  <a:gd name="T80" fmla="*/ 165 w 228"/>
                  <a:gd name="T81" fmla="*/ 175 h 329"/>
                  <a:gd name="T82" fmla="*/ 171 w 228"/>
                  <a:gd name="T83" fmla="*/ 133 h 329"/>
                  <a:gd name="T84" fmla="*/ 180 w 228"/>
                  <a:gd name="T85" fmla="*/ 123 h 329"/>
                  <a:gd name="T86" fmla="*/ 178 w 228"/>
                  <a:gd name="T87" fmla="*/ 89 h 329"/>
                  <a:gd name="T88" fmla="*/ 176 w 228"/>
                  <a:gd name="T89" fmla="*/ 6 h 329"/>
                  <a:gd name="T90" fmla="*/ 178 w 228"/>
                  <a:gd name="T91" fmla="*/ 31 h 329"/>
                  <a:gd name="T92" fmla="*/ 172 w 228"/>
                  <a:gd name="T93" fmla="*/ 47 h 329"/>
                  <a:gd name="T94" fmla="*/ 163 w 228"/>
                  <a:gd name="T95" fmla="*/ 45 h 329"/>
                  <a:gd name="T96" fmla="*/ 161 w 228"/>
                  <a:gd name="T97" fmla="*/ 62 h 329"/>
                  <a:gd name="T98" fmla="*/ 169 w 228"/>
                  <a:gd name="T99" fmla="*/ 70 h 329"/>
                  <a:gd name="T100" fmla="*/ 172 w 228"/>
                  <a:gd name="T101" fmla="*/ 64 h 329"/>
                  <a:gd name="T102" fmla="*/ 172 w 228"/>
                  <a:gd name="T103" fmla="*/ 54 h 329"/>
                  <a:gd name="T104" fmla="*/ 201 w 228"/>
                  <a:gd name="T105" fmla="*/ 54 h 329"/>
                  <a:gd name="T106" fmla="*/ 222 w 228"/>
                  <a:gd name="T107" fmla="*/ 39 h 329"/>
                  <a:gd name="T108" fmla="*/ 213 w 228"/>
                  <a:gd name="T109" fmla="*/ 31 h 329"/>
                  <a:gd name="T110" fmla="*/ 192 w 228"/>
                  <a:gd name="T111" fmla="*/ 12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8" h="329">
                    <a:moveTo>
                      <a:pt x="9" y="323"/>
                    </a:moveTo>
                    <a:lnTo>
                      <a:pt x="7" y="327"/>
                    </a:lnTo>
                    <a:lnTo>
                      <a:pt x="9" y="329"/>
                    </a:lnTo>
                    <a:lnTo>
                      <a:pt x="11" y="327"/>
                    </a:lnTo>
                    <a:lnTo>
                      <a:pt x="13" y="325"/>
                    </a:lnTo>
                    <a:lnTo>
                      <a:pt x="13" y="323"/>
                    </a:lnTo>
                    <a:lnTo>
                      <a:pt x="13" y="323"/>
                    </a:lnTo>
                    <a:lnTo>
                      <a:pt x="11" y="323"/>
                    </a:lnTo>
                    <a:lnTo>
                      <a:pt x="9" y="323"/>
                    </a:lnTo>
                    <a:close/>
                    <a:moveTo>
                      <a:pt x="0" y="319"/>
                    </a:moveTo>
                    <a:lnTo>
                      <a:pt x="2" y="323"/>
                    </a:lnTo>
                    <a:lnTo>
                      <a:pt x="2" y="319"/>
                    </a:lnTo>
                    <a:lnTo>
                      <a:pt x="0" y="319"/>
                    </a:lnTo>
                    <a:close/>
                    <a:moveTo>
                      <a:pt x="48" y="261"/>
                    </a:moveTo>
                    <a:lnTo>
                      <a:pt x="46" y="265"/>
                    </a:lnTo>
                    <a:lnTo>
                      <a:pt x="48" y="267"/>
                    </a:lnTo>
                    <a:lnTo>
                      <a:pt x="50" y="263"/>
                    </a:lnTo>
                    <a:lnTo>
                      <a:pt x="48" y="261"/>
                    </a:lnTo>
                    <a:close/>
                    <a:moveTo>
                      <a:pt x="42" y="206"/>
                    </a:moveTo>
                    <a:lnTo>
                      <a:pt x="38" y="214"/>
                    </a:lnTo>
                    <a:lnTo>
                      <a:pt x="34" y="214"/>
                    </a:lnTo>
                    <a:lnTo>
                      <a:pt x="32" y="212"/>
                    </a:lnTo>
                    <a:lnTo>
                      <a:pt x="32" y="215"/>
                    </a:lnTo>
                    <a:lnTo>
                      <a:pt x="30" y="217"/>
                    </a:lnTo>
                    <a:lnTo>
                      <a:pt x="34" y="221"/>
                    </a:lnTo>
                    <a:lnTo>
                      <a:pt x="36" y="227"/>
                    </a:lnTo>
                    <a:lnTo>
                      <a:pt x="34" y="225"/>
                    </a:lnTo>
                    <a:lnTo>
                      <a:pt x="32" y="227"/>
                    </a:lnTo>
                    <a:lnTo>
                      <a:pt x="34" y="231"/>
                    </a:lnTo>
                    <a:lnTo>
                      <a:pt x="36" y="233"/>
                    </a:lnTo>
                    <a:lnTo>
                      <a:pt x="38" y="233"/>
                    </a:lnTo>
                    <a:lnTo>
                      <a:pt x="42" y="233"/>
                    </a:lnTo>
                    <a:lnTo>
                      <a:pt x="42" y="229"/>
                    </a:lnTo>
                    <a:lnTo>
                      <a:pt x="42" y="225"/>
                    </a:lnTo>
                    <a:lnTo>
                      <a:pt x="40" y="225"/>
                    </a:lnTo>
                    <a:lnTo>
                      <a:pt x="40" y="223"/>
                    </a:lnTo>
                    <a:lnTo>
                      <a:pt x="42" y="223"/>
                    </a:lnTo>
                    <a:lnTo>
                      <a:pt x="44" y="223"/>
                    </a:lnTo>
                    <a:lnTo>
                      <a:pt x="44" y="227"/>
                    </a:lnTo>
                    <a:lnTo>
                      <a:pt x="46" y="229"/>
                    </a:lnTo>
                    <a:lnTo>
                      <a:pt x="42" y="235"/>
                    </a:lnTo>
                    <a:lnTo>
                      <a:pt x="40" y="238"/>
                    </a:lnTo>
                    <a:lnTo>
                      <a:pt x="38" y="244"/>
                    </a:lnTo>
                    <a:lnTo>
                      <a:pt x="38" y="252"/>
                    </a:lnTo>
                    <a:lnTo>
                      <a:pt x="40" y="250"/>
                    </a:lnTo>
                    <a:lnTo>
                      <a:pt x="44" y="250"/>
                    </a:lnTo>
                    <a:lnTo>
                      <a:pt x="44" y="250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6" y="256"/>
                    </a:lnTo>
                    <a:lnTo>
                      <a:pt x="50" y="250"/>
                    </a:lnTo>
                    <a:lnTo>
                      <a:pt x="53" y="244"/>
                    </a:lnTo>
                    <a:lnTo>
                      <a:pt x="55" y="237"/>
                    </a:lnTo>
                    <a:lnTo>
                      <a:pt x="55" y="229"/>
                    </a:lnTo>
                    <a:lnTo>
                      <a:pt x="57" y="227"/>
                    </a:lnTo>
                    <a:lnTo>
                      <a:pt x="59" y="227"/>
                    </a:lnTo>
                    <a:lnTo>
                      <a:pt x="59" y="223"/>
                    </a:lnTo>
                    <a:lnTo>
                      <a:pt x="57" y="219"/>
                    </a:lnTo>
                    <a:lnTo>
                      <a:pt x="53" y="219"/>
                    </a:lnTo>
                    <a:lnTo>
                      <a:pt x="55" y="215"/>
                    </a:lnTo>
                    <a:lnTo>
                      <a:pt x="55" y="212"/>
                    </a:lnTo>
                    <a:lnTo>
                      <a:pt x="53" y="212"/>
                    </a:lnTo>
                    <a:lnTo>
                      <a:pt x="50" y="212"/>
                    </a:lnTo>
                    <a:lnTo>
                      <a:pt x="48" y="208"/>
                    </a:lnTo>
                    <a:lnTo>
                      <a:pt x="42" y="206"/>
                    </a:lnTo>
                    <a:close/>
                    <a:moveTo>
                      <a:pt x="84" y="200"/>
                    </a:moveTo>
                    <a:lnTo>
                      <a:pt x="80" y="204"/>
                    </a:lnTo>
                    <a:lnTo>
                      <a:pt x="78" y="206"/>
                    </a:lnTo>
                    <a:lnTo>
                      <a:pt x="76" y="206"/>
                    </a:lnTo>
                    <a:lnTo>
                      <a:pt x="75" y="204"/>
                    </a:lnTo>
                    <a:lnTo>
                      <a:pt x="73" y="204"/>
                    </a:lnTo>
                    <a:lnTo>
                      <a:pt x="69" y="206"/>
                    </a:lnTo>
                    <a:lnTo>
                      <a:pt x="67" y="210"/>
                    </a:lnTo>
                    <a:lnTo>
                      <a:pt x="67" y="214"/>
                    </a:lnTo>
                    <a:lnTo>
                      <a:pt x="65" y="214"/>
                    </a:lnTo>
                    <a:lnTo>
                      <a:pt x="63" y="215"/>
                    </a:lnTo>
                    <a:lnTo>
                      <a:pt x="69" y="223"/>
                    </a:lnTo>
                    <a:lnTo>
                      <a:pt x="75" y="231"/>
                    </a:lnTo>
                    <a:lnTo>
                      <a:pt x="76" y="225"/>
                    </a:lnTo>
                    <a:lnTo>
                      <a:pt x="76" y="219"/>
                    </a:lnTo>
                    <a:lnTo>
                      <a:pt x="80" y="217"/>
                    </a:lnTo>
                    <a:lnTo>
                      <a:pt x="82" y="215"/>
                    </a:lnTo>
                    <a:lnTo>
                      <a:pt x="84" y="217"/>
                    </a:lnTo>
                    <a:lnTo>
                      <a:pt x="86" y="219"/>
                    </a:lnTo>
                    <a:lnTo>
                      <a:pt x="90" y="214"/>
                    </a:lnTo>
                    <a:lnTo>
                      <a:pt x="94" y="208"/>
                    </a:lnTo>
                    <a:lnTo>
                      <a:pt x="88" y="204"/>
                    </a:lnTo>
                    <a:lnTo>
                      <a:pt x="84" y="200"/>
                    </a:lnTo>
                    <a:close/>
                    <a:moveTo>
                      <a:pt x="76" y="189"/>
                    </a:moveTo>
                    <a:lnTo>
                      <a:pt x="78" y="190"/>
                    </a:lnTo>
                    <a:lnTo>
                      <a:pt x="78" y="192"/>
                    </a:lnTo>
                    <a:lnTo>
                      <a:pt x="78" y="194"/>
                    </a:lnTo>
                    <a:lnTo>
                      <a:pt x="76" y="194"/>
                    </a:lnTo>
                    <a:lnTo>
                      <a:pt x="75" y="190"/>
                    </a:lnTo>
                    <a:lnTo>
                      <a:pt x="76" y="189"/>
                    </a:lnTo>
                    <a:close/>
                    <a:moveTo>
                      <a:pt x="165" y="81"/>
                    </a:moveTo>
                    <a:lnTo>
                      <a:pt x="165" y="83"/>
                    </a:lnTo>
                    <a:lnTo>
                      <a:pt x="165" y="87"/>
                    </a:lnTo>
                    <a:lnTo>
                      <a:pt x="163" y="89"/>
                    </a:lnTo>
                    <a:lnTo>
                      <a:pt x="159" y="91"/>
                    </a:lnTo>
                    <a:lnTo>
                      <a:pt x="161" y="96"/>
                    </a:lnTo>
                    <a:lnTo>
                      <a:pt x="161" y="102"/>
                    </a:lnTo>
                    <a:lnTo>
                      <a:pt x="157" y="104"/>
                    </a:lnTo>
                    <a:lnTo>
                      <a:pt x="155" y="106"/>
                    </a:lnTo>
                    <a:lnTo>
                      <a:pt x="159" y="108"/>
                    </a:lnTo>
                    <a:lnTo>
                      <a:pt x="161" y="108"/>
                    </a:lnTo>
                    <a:lnTo>
                      <a:pt x="161" y="110"/>
                    </a:lnTo>
                    <a:lnTo>
                      <a:pt x="161" y="112"/>
                    </a:lnTo>
                    <a:lnTo>
                      <a:pt x="159" y="114"/>
                    </a:lnTo>
                    <a:lnTo>
                      <a:pt x="157" y="116"/>
                    </a:lnTo>
                    <a:lnTo>
                      <a:pt x="157" y="119"/>
                    </a:lnTo>
                    <a:lnTo>
                      <a:pt x="157" y="123"/>
                    </a:lnTo>
                    <a:lnTo>
                      <a:pt x="149" y="133"/>
                    </a:lnTo>
                    <a:lnTo>
                      <a:pt x="144" y="142"/>
                    </a:lnTo>
                    <a:lnTo>
                      <a:pt x="140" y="142"/>
                    </a:lnTo>
                    <a:lnTo>
                      <a:pt x="138" y="148"/>
                    </a:lnTo>
                    <a:lnTo>
                      <a:pt x="136" y="152"/>
                    </a:lnTo>
                    <a:lnTo>
                      <a:pt x="136" y="154"/>
                    </a:lnTo>
                    <a:lnTo>
                      <a:pt x="132" y="156"/>
                    </a:lnTo>
                    <a:lnTo>
                      <a:pt x="126" y="156"/>
                    </a:lnTo>
                    <a:lnTo>
                      <a:pt x="126" y="160"/>
                    </a:lnTo>
                    <a:lnTo>
                      <a:pt x="123" y="160"/>
                    </a:lnTo>
                    <a:lnTo>
                      <a:pt x="119" y="160"/>
                    </a:lnTo>
                    <a:lnTo>
                      <a:pt x="119" y="156"/>
                    </a:lnTo>
                    <a:lnTo>
                      <a:pt x="119" y="152"/>
                    </a:lnTo>
                    <a:lnTo>
                      <a:pt x="121" y="150"/>
                    </a:lnTo>
                    <a:lnTo>
                      <a:pt x="124" y="146"/>
                    </a:lnTo>
                    <a:lnTo>
                      <a:pt x="119" y="148"/>
                    </a:lnTo>
                    <a:lnTo>
                      <a:pt x="115" y="152"/>
                    </a:lnTo>
                    <a:lnTo>
                      <a:pt x="115" y="156"/>
                    </a:lnTo>
                    <a:lnTo>
                      <a:pt x="115" y="162"/>
                    </a:lnTo>
                    <a:lnTo>
                      <a:pt x="111" y="167"/>
                    </a:lnTo>
                    <a:lnTo>
                      <a:pt x="107" y="171"/>
                    </a:lnTo>
                    <a:lnTo>
                      <a:pt x="107" y="175"/>
                    </a:lnTo>
                    <a:lnTo>
                      <a:pt x="109" y="179"/>
                    </a:lnTo>
                    <a:lnTo>
                      <a:pt x="107" y="181"/>
                    </a:lnTo>
                    <a:lnTo>
                      <a:pt x="105" y="185"/>
                    </a:lnTo>
                    <a:lnTo>
                      <a:pt x="100" y="181"/>
                    </a:lnTo>
                    <a:lnTo>
                      <a:pt x="94" y="181"/>
                    </a:lnTo>
                    <a:lnTo>
                      <a:pt x="88" y="181"/>
                    </a:lnTo>
                    <a:lnTo>
                      <a:pt x="80" y="185"/>
                    </a:lnTo>
                    <a:lnTo>
                      <a:pt x="80" y="181"/>
                    </a:lnTo>
                    <a:lnTo>
                      <a:pt x="78" y="181"/>
                    </a:lnTo>
                    <a:lnTo>
                      <a:pt x="67" y="190"/>
                    </a:lnTo>
                    <a:lnTo>
                      <a:pt x="55" y="200"/>
                    </a:lnTo>
                    <a:lnTo>
                      <a:pt x="52" y="200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5" y="206"/>
                    </a:lnTo>
                    <a:lnTo>
                      <a:pt x="65" y="206"/>
                    </a:lnTo>
                    <a:lnTo>
                      <a:pt x="65" y="202"/>
                    </a:lnTo>
                    <a:lnTo>
                      <a:pt x="67" y="200"/>
                    </a:lnTo>
                    <a:lnTo>
                      <a:pt x="76" y="200"/>
                    </a:lnTo>
                    <a:lnTo>
                      <a:pt x="88" y="198"/>
                    </a:lnTo>
                    <a:lnTo>
                      <a:pt x="94" y="198"/>
                    </a:lnTo>
                    <a:lnTo>
                      <a:pt x="100" y="198"/>
                    </a:lnTo>
                    <a:lnTo>
                      <a:pt x="98" y="200"/>
                    </a:lnTo>
                    <a:lnTo>
                      <a:pt x="96" y="202"/>
                    </a:lnTo>
                    <a:lnTo>
                      <a:pt x="96" y="206"/>
                    </a:lnTo>
                    <a:lnTo>
                      <a:pt x="96" y="210"/>
                    </a:lnTo>
                    <a:lnTo>
                      <a:pt x="100" y="212"/>
                    </a:lnTo>
                    <a:lnTo>
                      <a:pt x="100" y="215"/>
                    </a:lnTo>
                    <a:lnTo>
                      <a:pt x="103" y="215"/>
                    </a:lnTo>
                    <a:lnTo>
                      <a:pt x="107" y="215"/>
                    </a:lnTo>
                    <a:lnTo>
                      <a:pt x="109" y="212"/>
                    </a:lnTo>
                    <a:lnTo>
                      <a:pt x="111" y="208"/>
                    </a:lnTo>
                    <a:lnTo>
                      <a:pt x="115" y="206"/>
                    </a:lnTo>
                    <a:lnTo>
                      <a:pt x="119" y="204"/>
                    </a:lnTo>
                    <a:lnTo>
                      <a:pt x="117" y="200"/>
                    </a:lnTo>
                    <a:lnTo>
                      <a:pt x="117" y="196"/>
                    </a:lnTo>
                    <a:lnTo>
                      <a:pt x="121" y="196"/>
                    </a:lnTo>
                    <a:lnTo>
                      <a:pt x="123" y="196"/>
                    </a:lnTo>
                    <a:lnTo>
                      <a:pt x="124" y="198"/>
                    </a:lnTo>
                    <a:lnTo>
                      <a:pt x="126" y="198"/>
                    </a:lnTo>
                    <a:lnTo>
                      <a:pt x="124" y="198"/>
                    </a:lnTo>
                    <a:lnTo>
                      <a:pt x="124" y="202"/>
                    </a:lnTo>
                    <a:lnTo>
                      <a:pt x="126" y="200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8" y="200"/>
                    </a:lnTo>
                    <a:lnTo>
                      <a:pt x="140" y="196"/>
                    </a:lnTo>
                    <a:lnTo>
                      <a:pt x="144" y="192"/>
                    </a:lnTo>
                    <a:lnTo>
                      <a:pt x="146" y="196"/>
                    </a:lnTo>
                    <a:lnTo>
                      <a:pt x="146" y="200"/>
                    </a:lnTo>
                    <a:lnTo>
                      <a:pt x="149" y="200"/>
                    </a:lnTo>
                    <a:lnTo>
                      <a:pt x="149" y="196"/>
                    </a:lnTo>
                    <a:lnTo>
                      <a:pt x="151" y="190"/>
                    </a:lnTo>
                    <a:lnTo>
                      <a:pt x="155" y="190"/>
                    </a:lnTo>
                    <a:lnTo>
                      <a:pt x="157" y="190"/>
                    </a:lnTo>
                    <a:lnTo>
                      <a:pt x="157" y="185"/>
                    </a:lnTo>
                    <a:lnTo>
                      <a:pt x="159" y="179"/>
                    </a:lnTo>
                    <a:lnTo>
                      <a:pt x="163" y="179"/>
                    </a:lnTo>
                    <a:lnTo>
                      <a:pt x="163" y="181"/>
                    </a:lnTo>
                    <a:lnTo>
                      <a:pt x="161" y="183"/>
                    </a:lnTo>
                    <a:lnTo>
                      <a:pt x="159" y="189"/>
                    </a:lnTo>
                    <a:lnTo>
                      <a:pt x="159" y="190"/>
                    </a:lnTo>
                    <a:lnTo>
                      <a:pt x="159" y="192"/>
                    </a:lnTo>
                    <a:lnTo>
                      <a:pt x="159" y="194"/>
                    </a:lnTo>
                    <a:lnTo>
                      <a:pt x="161" y="194"/>
                    </a:lnTo>
                    <a:lnTo>
                      <a:pt x="167" y="189"/>
                    </a:lnTo>
                    <a:lnTo>
                      <a:pt x="169" y="185"/>
                    </a:lnTo>
                    <a:lnTo>
                      <a:pt x="171" y="181"/>
                    </a:lnTo>
                    <a:lnTo>
                      <a:pt x="169" y="177"/>
                    </a:lnTo>
                    <a:lnTo>
                      <a:pt x="165" y="175"/>
                    </a:lnTo>
                    <a:lnTo>
                      <a:pt x="167" y="169"/>
                    </a:lnTo>
                    <a:lnTo>
                      <a:pt x="167" y="162"/>
                    </a:lnTo>
                    <a:lnTo>
                      <a:pt x="171" y="156"/>
                    </a:lnTo>
                    <a:lnTo>
                      <a:pt x="171" y="144"/>
                    </a:lnTo>
                    <a:lnTo>
                      <a:pt x="171" y="133"/>
                    </a:lnTo>
                    <a:lnTo>
                      <a:pt x="174" y="131"/>
                    </a:lnTo>
                    <a:lnTo>
                      <a:pt x="178" y="129"/>
                    </a:lnTo>
                    <a:lnTo>
                      <a:pt x="178" y="125"/>
                    </a:lnTo>
                    <a:lnTo>
                      <a:pt x="176" y="123"/>
                    </a:lnTo>
                    <a:lnTo>
                      <a:pt x="180" y="123"/>
                    </a:lnTo>
                    <a:lnTo>
                      <a:pt x="182" y="114"/>
                    </a:lnTo>
                    <a:lnTo>
                      <a:pt x="184" y="108"/>
                    </a:lnTo>
                    <a:lnTo>
                      <a:pt x="182" y="100"/>
                    </a:lnTo>
                    <a:lnTo>
                      <a:pt x="178" y="93"/>
                    </a:lnTo>
                    <a:lnTo>
                      <a:pt x="178" y="89"/>
                    </a:lnTo>
                    <a:lnTo>
                      <a:pt x="176" y="85"/>
                    </a:lnTo>
                    <a:lnTo>
                      <a:pt x="165" y="81"/>
                    </a:lnTo>
                    <a:close/>
                    <a:moveTo>
                      <a:pt x="180" y="0"/>
                    </a:moveTo>
                    <a:lnTo>
                      <a:pt x="178" y="2"/>
                    </a:lnTo>
                    <a:lnTo>
                      <a:pt x="176" y="6"/>
                    </a:lnTo>
                    <a:lnTo>
                      <a:pt x="178" y="10"/>
                    </a:lnTo>
                    <a:lnTo>
                      <a:pt x="180" y="12"/>
                    </a:lnTo>
                    <a:lnTo>
                      <a:pt x="180" y="18"/>
                    </a:lnTo>
                    <a:lnTo>
                      <a:pt x="180" y="25"/>
                    </a:lnTo>
                    <a:lnTo>
                      <a:pt x="178" y="31"/>
                    </a:lnTo>
                    <a:lnTo>
                      <a:pt x="174" y="35"/>
                    </a:lnTo>
                    <a:lnTo>
                      <a:pt x="176" y="39"/>
                    </a:lnTo>
                    <a:lnTo>
                      <a:pt x="176" y="43"/>
                    </a:lnTo>
                    <a:lnTo>
                      <a:pt x="174" y="45"/>
                    </a:lnTo>
                    <a:lnTo>
                      <a:pt x="172" y="47"/>
                    </a:lnTo>
                    <a:lnTo>
                      <a:pt x="171" y="45"/>
                    </a:lnTo>
                    <a:lnTo>
                      <a:pt x="169" y="43"/>
                    </a:lnTo>
                    <a:lnTo>
                      <a:pt x="163" y="43"/>
                    </a:lnTo>
                    <a:lnTo>
                      <a:pt x="161" y="43"/>
                    </a:lnTo>
                    <a:lnTo>
                      <a:pt x="163" y="45"/>
                    </a:lnTo>
                    <a:lnTo>
                      <a:pt x="163" y="48"/>
                    </a:lnTo>
                    <a:lnTo>
                      <a:pt x="159" y="50"/>
                    </a:lnTo>
                    <a:lnTo>
                      <a:pt x="155" y="52"/>
                    </a:lnTo>
                    <a:lnTo>
                      <a:pt x="159" y="58"/>
                    </a:lnTo>
                    <a:lnTo>
                      <a:pt x="161" y="62"/>
                    </a:lnTo>
                    <a:lnTo>
                      <a:pt x="161" y="66"/>
                    </a:lnTo>
                    <a:lnTo>
                      <a:pt x="159" y="70"/>
                    </a:lnTo>
                    <a:lnTo>
                      <a:pt x="159" y="71"/>
                    </a:lnTo>
                    <a:lnTo>
                      <a:pt x="167" y="70"/>
                    </a:lnTo>
                    <a:lnTo>
                      <a:pt x="169" y="70"/>
                    </a:lnTo>
                    <a:lnTo>
                      <a:pt x="172" y="68"/>
                    </a:lnTo>
                    <a:lnTo>
                      <a:pt x="174" y="68"/>
                    </a:lnTo>
                    <a:lnTo>
                      <a:pt x="174" y="66"/>
                    </a:lnTo>
                    <a:lnTo>
                      <a:pt x="174" y="66"/>
                    </a:lnTo>
                    <a:lnTo>
                      <a:pt x="172" y="64"/>
                    </a:lnTo>
                    <a:lnTo>
                      <a:pt x="169" y="64"/>
                    </a:lnTo>
                    <a:lnTo>
                      <a:pt x="165" y="62"/>
                    </a:lnTo>
                    <a:lnTo>
                      <a:pt x="165" y="58"/>
                    </a:lnTo>
                    <a:lnTo>
                      <a:pt x="165" y="56"/>
                    </a:lnTo>
                    <a:lnTo>
                      <a:pt x="172" y="54"/>
                    </a:lnTo>
                    <a:lnTo>
                      <a:pt x="182" y="54"/>
                    </a:lnTo>
                    <a:lnTo>
                      <a:pt x="186" y="62"/>
                    </a:lnTo>
                    <a:lnTo>
                      <a:pt x="194" y="62"/>
                    </a:lnTo>
                    <a:lnTo>
                      <a:pt x="199" y="62"/>
                    </a:lnTo>
                    <a:lnTo>
                      <a:pt x="201" y="54"/>
                    </a:lnTo>
                    <a:lnTo>
                      <a:pt x="205" y="50"/>
                    </a:lnTo>
                    <a:lnTo>
                      <a:pt x="215" y="47"/>
                    </a:lnTo>
                    <a:lnTo>
                      <a:pt x="228" y="45"/>
                    </a:lnTo>
                    <a:lnTo>
                      <a:pt x="226" y="41"/>
                    </a:lnTo>
                    <a:lnTo>
                      <a:pt x="222" y="39"/>
                    </a:lnTo>
                    <a:lnTo>
                      <a:pt x="224" y="35"/>
                    </a:lnTo>
                    <a:lnTo>
                      <a:pt x="224" y="31"/>
                    </a:lnTo>
                    <a:lnTo>
                      <a:pt x="220" y="33"/>
                    </a:lnTo>
                    <a:lnTo>
                      <a:pt x="215" y="33"/>
                    </a:lnTo>
                    <a:lnTo>
                      <a:pt x="213" y="31"/>
                    </a:lnTo>
                    <a:lnTo>
                      <a:pt x="213" y="27"/>
                    </a:lnTo>
                    <a:lnTo>
                      <a:pt x="205" y="27"/>
                    </a:lnTo>
                    <a:lnTo>
                      <a:pt x="197" y="25"/>
                    </a:lnTo>
                    <a:lnTo>
                      <a:pt x="194" y="20"/>
                    </a:lnTo>
                    <a:lnTo>
                      <a:pt x="192" y="12"/>
                    </a:lnTo>
                    <a:lnTo>
                      <a:pt x="186" y="6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7" name="Freeform 155"/>
              <p:cNvSpPr>
                <a:spLocks/>
              </p:cNvSpPr>
              <p:nvPr/>
            </p:nvSpPr>
            <p:spPr bwMode="gray">
              <a:xfrm>
                <a:off x="2773457" y="3994151"/>
                <a:ext cx="42858" cy="22225"/>
              </a:xfrm>
              <a:custGeom>
                <a:avLst/>
                <a:gdLst>
                  <a:gd name="T0" fmla="*/ 4 w 27"/>
                  <a:gd name="T1" fmla="*/ 0 h 14"/>
                  <a:gd name="T2" fmla="*/ 2 w 27"/>
                  <a:gd name="T3" fmla="*/ 2 h 14"/>
                  <a:gd name="T4" fmla="*/ 0 w 27"/>
                  <a:gd name="T5" fmla="*/ 6 h 14"/>
                  <a:gd name="T6" fmla="*/ 5 w 27"/>
                  <a:gd name="T7" fmla="*/ 10 h 14"/>
                  <a:gd name="T8" fmla="*/ 13 w 27"/>
                  <a:gd name="T9" fmla="*/ 12 h 14"/>
                  <a:gd name="T10" fmla="*/ 13 w 27"/>
                  <a:gd name="T11" fmla="*/ 14 h 14"/>
                  <a:gd name="T12" fmla="*/ 13 w 27"/>
                  <a:gd name="T13" fmla="*/ 14 h 14"/>
                  <a:gd name="T14" fmla="*/ 21 w 27"/>
                  <a:gd name="T15" fmla="*/ 14 h 14"/>
                  <a:gd name="T16" fmla="*/ 27 w 27"/>
                  <a:gd name="T17" fmla="*/ 10 h 14"/>
                  <a:gd name="T18" fmla="*/ 27 w 27"/>
                  <a:gd name="T19" fmla="*/ 8 h 14"/>
                  <a:gd name="T20" fmla="*/ 27 w 27"/>
                  <a:gd name="T21" fmla="*/ 8 h 14"/>
                  <a:gd name="T22" fmla="*/ 27 w 27"/>
                  <a:gd name="T23" fmla="*/ 6 h 14"/>
                  <a:gd name="T24" fmla="*/ 23 w 27"/>
                  <a:gd name="T25" fmla="*/ 6 h 14"/>
                  <a:gd name="T26" fmla="*/ 23 w 27"/>
                  <a:gd name="T27" fmla="*/ 2 h 14"/>
                  <a:gd name="T28" fmla="*/ 13 w 27"/>
                  <a:gd name="T29" fmla="*/ 0 h 14"/>
                  <a:gd name="T30" fmla="*/ 4 w 27"/>
                  <a:gd name="T3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14">
                    <a:moveTo>
                      <a:pt x="4" y="0"/>
                    </a:moveTo>
                    <a:lnTo>
                      <a:pt x="2" y="2"/>
                    </a:lnTo>
                    <a:lnTo>
                      <a:pt x="0" y="6"/>
                    </a:lnTo>
                    <a:lnTo>
                      <a:pt x="5" y="10"/>
                    </a:lnTo>
                    <a:lnTo>
                      <a:pt x="13" y="12"/>
                    </a:lnTo>
                    <a:lnTo>
                      <a:pt x="13" y="14"/>
                    </a:lnTo>
                    <a:lnTo>
                      <a:pt x="13" y="14"/>
                    </a:lnTo>
                    <a:lnTo>
                      <a:pt x="21" y="14"/>
                    </a:lnTo>
                    <a:lnTo>
                      <a:pt x="27" y="10"/>
                    </a:lnTo>
                    <a:lnTo>
                      <a:pt x="27" y="8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3" y="6"/>
                    </a:lnTo>
                    <a:lnTo>
                      <a:pt x="23" y="2"/>
                    </a:lnTo>
                    <a:lnTo>
                      <a:pt x="13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8" name="Freeform 156"/>
              <p:cNvSpPr>
                <a:spLocks/>
              </p:cNvSpPr>
              <p:nvPr/>
            </p:nvSpPr>
            <p:spPr bwMode="gray">
              <a:xfrm>
                <a:off x="4152841" y="4189414"/>
                <a:ext cx="128573" cy="165100"/>
              </a:xfrm>
              <a:custGeom>
                <a:avLst/>
                <a:gdLst>
                  <a:gd name="T0" fmla="*/ 17 w 81"/>
                  <a:gd name="T1" fmla="*/ 104 h 104"/>
                  <a:gd name="T2" fmla="*/ 27 w 81"/>
                  <a:gd name="T3" fmla="*/ 98 h 104"/>
                  <a:gd name="T4" fmla="*/ 42 w 81"/>
                  <a:gd name="T5" fmla="*/ 89 h 104"/>
                  <a:gd name="T6" fmla="*/ 56 w 81"/>
                  <a:gd name="T7" fmla="*/ 94 h 104"/>
                  <a:gd name="T8" fmla="*/ 65 w 81"/>
                  <a:gd name="T9" fmla="*/ 96 h 104"/>
                  <a:gd name="T10" fmla="*/ 67 w 81"/>
                  <a:gd name="T11" fmla="*/ 87 h 104"/>
                  <a:gd name="T12" fmla="*/ 67 w 81"/>
                  <a:gd name="T13" fmla="*/ 81 h 104"/>
                  <a:gd name="T14" fmla="*/ 67 w 81"/>
                  <a:gd name="T15" fmla="*/ 62 h 104"/>
                  <a:gd name="T16" fmla="*/ 73 w 81"/>
                  <a:gd name="T17" fmla="*/ 52 h 104"/>
                  <a:gd name="T18" fmla="*/ 75 w 81"/>
                  <a:gd name="T19" fmla="*/ 42 h 104"/>
                  <a:gd name="T20" fmla="*/ 79 w 81"/>
                  <a:gd name="T21" fmla="*/ 35 h 104"/>
                  <a:gd name="T22" fmla="*/ 81 w 81"/>
                  <a:gd name="T23" fmla="*/ 25 h 104"/>
                  <a:gd name="T24" fmla="*/ 77 w 81"/>
                  <a:gd name="T25" fmla="*/ 18 h 104"/>
                  <a:gd name="T26" fmla="*/ 77 w 81"/>
                  <a:gd name="T27" fmla="*/ 8 h 104"/>
                  <a:gd name="T28" fmla="*/ 67 w 81"/>
                  <a:gd name="T29" fmla="*/ 10 h 104"/>
                  <a:gd name="T30" fmla="*/ 65 w 81"/>
                  <a:gd name="T31" fmla="*/ 4 h 104"/>
                  <a:gd name="T32" fmla="*/ 56 w 81"/>
                  <a:gd name="T33" fmla="*/ 6 h 104"/>
                  <a:gd name="T34" fmla="*/ 50 w 81"/>
                  <a:gd name="T35" fmla="*/ 0 h 104"/>
                  <a:gd name="T36" fmla="*/ 38 w 81"/>
                  <a:gd name="T37" fmla="*/ 4 h 104"/>
                  <a:gd name="T38" fmla="*/ 35 w 81"/>
                  <a:gd name="T39" fmla="*/ 10 h 104"/>
                  <a:gd name="T40" fmla="*/ 29 w 81"/>
                  <a:gd name="T41" fmla="*/ 6 h 104"/>
                  <a:gd name="T42" fmla="*/ 23 w 81"/>
                  <a:gd name="T43" fmla="*/ 16 h 104"/>
                  <a:gd name="T44" fmla="*/ 21 w 81"/>
                  <a:gd name="T45" fmla="*/ 14 h 104"/>
                  <a:gd name="T46" fmla="*/ 15 w 81"/>
                  <a:gd name="T47" fmla="*/ 18 h 104"/>
                  <a:gd name="T48" fmla="*/ 12 w 81"/>
                  <a:gd name="T49" fmla="*/ 25 h 104"/>
                  <a:gd name="T50" fmla="*/ 15 w 81"/>
                  <a:gd name="T51" fmla="*/ 33 h 104"/>
                  <a:gd name="T52" fmla="*/ 8 w 81"/>
                  <a:gd name="T53" fmla="*/ 37 h 104"/>
                  <a:gd name="T54" fmla="*/ 8 w 81"/>
                  <a:gd name="T55" fmla="*/ 42 h 104"/>
                  <a:gd name="T56" fmla="*/ 6 w 81"/>
                  <a:gd name="T57" fmla="*/ 48 h 104"/>
                  <a:gd name="T58" fmla="*/ 2 w 81"/>
                  <a:gd name="T59" fmla="*/ 60 h 104"/>
                  <a:gd name="T60" fmla="*/ 2 w 81"/>
                  <a:gd name="T61" fmla="*/ 64 h 104"/>
                  <a:gd name="T62" fmla="*/ 10 w 81"/>
                  <a:gd name="T63" fmla="*/ 69 h 104"/>
                  <a:gd name="T64" fmla="*/ 13 w 81"/>
                  <a:gd name="T65" fmla="*/ 79 h 104"/>
                  <a:gd name="T66" fmla="*/ 19 w 81"/>
                  <a:gd name="T67" fmla="*/ 81 h 104"/>
                  <a:gd name="T68" fmla="*/ 17 w 81"/>
                  <a:gd name="T69" fmla="*/ 89 h 104"/>
                  <a:gd name="T70" fmla="*/ 13 w 81"/>
                  <a:gd name="T71" fmla="*/ 94 h 104"/>
                  <a:gd name="T72" fmla="*/ 15 w 81"/>
                  <a:gd name="T73" fmla="*/ 10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1" h="104">
                    <a:moveTo>
                      <a:pt x="15" y="104"/>
                    </a:moveTo>
                    <a:lnTo>
                      <a:pt x="17" y="104"/>
                    </a:lnTo>
                    <a:lnTo>
                      <a:pt x="17" y="104"/>
                    </a:lnTo>
                    <a:lnTo>
                      <a:pt x="27" y="98"/>
                    </a:lnTo>
                    <a:lnTo>
                      <a:pt x="35" y="90"/>
                    </a:lnTo>
                    <a:lnTo>
                      <a:pt x="42" y="89"/>
                    </a:lnTo>
                    <a:lnTo>
                      <a:pt x="50" y="90"/>
                    </a:lnTo>
                    <a:lnTo>
                      <a:pt x="56" y="94"/>
                    </a:lnTo>
                    <a:lnTo>
                      <a:pt x="63" y="96"/>
                    </a:lnTo>
                    <a:lnTo>
                      <a:pt x="65" y="96"/>
                    </a:lnTo>
                    <a:lnTo>
                      <a:pt x="65" y="92"/>
                    </a:lnTo>
                    <a:lnTo>
                      <a:pt x="67" y="87"/>
                    </a:lnTo>
                    <a:lnTo>
                      <a:pt x="67" y="83"/>
                    </a:lnTo>
                    <a:lnTo>
                      <a:pt x="67" y="81"/>
                    </a:lnTo>
                    <a:lnTo>
                      <a:pt x="65" y="71"/>
                    </a:lnTo>
                    <a:lnTo>
                      <a:pt x="67" y="62"/>
                    </a:lnTo>
                    <a:lnTo>
                      <a:pt x="69" y="60"/>
                    </a:lnTo>
                    <a:lnTo>
                      <a:pt x="73" y="52"/>
                    </a:lnTo>
                    <a:lnTo>
                      <a:pt x="73" y="48"/>
                    </a:lnTo>
                    <a:lnTo>
                      <a:pt x="75" y="42"/>
                    </a:lnTo>
                    <a:lnTo>
                      <a:pt x="77" y="37"/>
                    </a:lnTo>
                    <a:lnTo>
                      <a:pt x="79" y="35"/>
                    </a:lnTo>
                    <a:lnTo>
                      <a:pt x="79" y="33"/>
                    </a:lnTo>
                    <a:lnTo>
                      <a:pt x="81" y="25"/>
                    </a:lnTo>
                    <a:lnTo>
                      <a:pt x="79" y="19"/>
                    </a:lnTo>
                    <a:lnTo>
                      <a:pt x="77" y="18"/>
                    </a:lnTo>
                    <a:lnTo>
                      <a:pt x="77" y="12"/>
                    </a:lnTo>
                    <a:lnTo>
                      <a:pt x="77" y="8"/>
                    </a:lnTo>
                    <a:lnTo>
                      <a:pt x="73" y="10"/>
                    </a:lnTo>
                    <a:lnTo>
                      <a:pt x="67" y="10"/>
                    </a:lnTo>
                    <a:lnTo>
                      <a:pt x="65" y="6"/>
                    </a:lnTo>
                    <a:lnTo>
                      <a:pt x="65" y="4"/>
                    </a:lnTo>
                    <a:lnTo>
                      <a:pt x="61" y="2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8" y="4"/>
                    </a:lnTo>
                    <a:lnTo>
                      <a:pt x="37" y="6"/>
                    </a:lnTo>
                    <a:lnTo>
                      <a:pt x="35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7" y="8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1" y="14"/>
                    </a:lnTo>
                    <a:lnTo>
                      <a:pt x="17" y="16"/>
                    </a:lnTo>
                    <a:lnTo>
                      <a:pt x="15" y="18"/>
                    </a:lnTo>
                    <a:lnTo>
                      <a:pt x="13" y="19"/>
                    </a:lnTo>
                    <a:lnTo>
                      <a:pt x="12" y="25"/>
                    </a:lnTo>
                    <a:lnTo>
                      <a:pt x="15" y="29"/>
                    </a:lnTo>
                    <a:lnTo>
                      <a:pt x="15" y="33"/>
                    </a:lnTo>
                    <a:lnTo>
                      <a:pt x="10" y="37"/>
                    </a:lnTo>
                    <a:lnTo>
                      <a:pt x="8" y="37"/>
                    </a:lnTo>
                    <a:lnTo>
                      <a:pt x="8" y="41"/>
                    </a:lnTo>
                    <a:lnTo>
                      <a:pt x="8" y="42"/>
                    </a:lnTo>
                    <a:lnTo>
                      <a:pt x="4" y="44"/>
                    </a:lnTo>
                    <a:lnTo>
                      <a:pt x="6" y="48"/>
                    </a:lnTo>
                    <a:lnTo>
                      <a:pt x="6" y="54"/>
                    </a:lnTo>
                    <a:lnTo>
                      <a:pt x="2" y="60"/>
                    </a:lnTo>
                    <a:lnTo>
                      <a:pt x="0" y="64"/>
                    </a:lnTo>
                    <a:lnTo>
                      <a:pt x="2" y="64"/>
                    </a:lnTo>
                    <a:lnTo>
                      <a:pt x="8" y="66"/>
                    </a:lnTo>
                    <a:lnTo>
                      <a:pt x="10" y="69"/>
                    </a:lnTo>
                    <a:lnTo>
                      <a:pt x="12" y="73"/>
                    </a:lnTo>
                    <a:lnTo>
                      <a:pt x="13" y="79"/>
                    </a:lnTo>
                    <a:lnTo>
                      <a:pt x="17" y="81"/>
                    </a:lnTo>
                    <a:lnTo>
                      <a:pt x="19" y="81"/>
                    </a:lnTo>
                    <a:lnTo>
                      <a:pt x="17" y="85"/>
                    </a:lnTo>
                    <a:lnTo>
                      <a:pt x="17" y="89"/>
                    </a:lnTo>
                    <a:lnTo>
                      <a:pt x="15" y="92"/>
                    </a:lnTo>
                    <a:lnTo>
                      <a:pt x="13" y="94"/>
                    </a:lnTo>
                    <a:lnTo>
                      <a:pt x="15" y="98"/>
                    </a:lnTo>
                    <a:lnTo>
                      <a:pt x="15" y="102"/>
                    </a:lnTo>
                    <a:lnTo>
                      <a:pt x="15" y="10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59" name="Freeform 157"/>
              <p:cNvSpPr>
                <a:spLocks/>
              </p:cNvSpPr>
              <p:nvPr/>
            </p:nvSpPr>
            <p:spPr bwMode="gray">
              <a:xfrm>
                <a:off x="4494115" y="3406776"/>
                <a:ext cx="33334" cy="60325"/>
              </a:xfrm>
              <a:custGeom>
                <a:avLst/>
                <a:gdLst>
                  <a:gd name="T0" fmla="*/ 10 w 21"/>
                  <a:gd name="T1" fmla="*/ 0 h 38"/>
                  <a:gd name="T2" fmla="*/ 6 w 21"/>
                  <a:gd name="T3" fmla="*/ 2 h 38"/>
                  <a:gd name="T4" fmla="*/ 0 w 21"/>
                  <a:gd name="T5" fmla="*/ 6 h 38"/>
                  <a:gd name="T6" fmla="*/ 0 w 21"/>
                  <a:gd name="T7" fmla="*/ 19 h 38"/>
                  <a:gd name="T8" fmla="*/ 4 w 21"/>
                  <a:gd name="T9" fmla="*/ 35 h 38"/>
                  <a:gd name="T10" fmla="*/ 6 w 21"/>
                  <a:gd name="T11" fmla="*/ 37 h 38"/>
                  <a:gd name="T12" fmla="*/ 8 w 21"/>
                  <a:gd name="T13" fmla="*/ 38 h 38"/>
                  <a:gd name="T14" fmla="*/ 10 w 21"/>
                  <a:gd name="T15" fmla="*/ 38 h 38"/>
                  <a:gd name="T16" fmla="*/ 12 w 21"/>
                  <a:gd name="T17" fmla="*/ 37 h 38"/>
                  <a:gd name="T18" fmla="*/ 17 w 21"/>
                  <a:gd name="T19" fmla="*/ 35 h 38"/>
                  <a:gd name="T20" fmla="*/ 17 w 21"/>
                  <a:gd name="T21" fmla="*/ 27 h 38"/>
                  <a:gd name="T22" fmla="*/ 19 w 21"/>
                  <a:gd name="T23" fmla="*/ 19 h 38"/>
                  <a:gd name="T24" fmla="*/ 19 w 21"/>
                  <a:gd name="T25" fmla="*/ 15 h 38"/>
                  <a:gd name="T26" fmla="*/ 21 w 21"/>
                  <a:gd name="T27" fmla="*/ 10 h 38"/>
                  <a:gd name="T28" fmla="*/ 17 w 21"/>
                  <a:gd name="T29" fmla="*/ 6 h 38"/>
                  <a:gd name="T30" fmla="*/ 15 w 21"/>
                  <a:gd name="T31" fmla="*/ 0 h 38"/>
                  <a:gd name="T32" fmla="*/ 12 w 21"/>
                  <a:gd name="T33" fmla="*/ 0 h 38"/>
                  <a:gd name="T34" fmla="*/ 10 w 21"/>
                  <a:gd name="T3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" h="38">
                    <a:moveTo>
                      <a:pt x="10" y="0"/>
                    </a:moveTo>
                    <a:lnTo>
                      <a:pt x="6" y="2"/>
                    </a:lnTo>
                    <a:lnTo>
                      <a:pt x="0" y="6"/>
                    </a:lnTo>
                    <a:lnTo>
                      <a:pt x="0" y="19"/>
                    </a:lnTo>
                    <a:lnTo>
                      <a:pt x="4" y="35"/>
                    </a:lnTo>
                    <a:lnTo>
                      <a:pt x="6" y="37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2" y="37"/>
                    </a:lnTo>
                    <a:lnTo>
                      <a:pt x="17" y="35"/>
                    </a:lnTo>
                    <a:lnTo>
                      <a:pt x="17" y="27"/>
                    </a:lnTo>
                    <a:lnTo>
                      <a:pt x="19" y="19"/>
                    </a:lnTo>
                    <a:lnTo>
                      <a:pt x="19" y="15"/>
                    </a:lnTo>
                    <a:lnTo>
                      <a:pt x="21" y="10"/>
                    </a:lnTo>
                    <a:lnTo>
                      <a:pt x="17" y="6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0" name="Freeform 158"/>
              <p:cNvSpPr>
                <a:spLocks/>
              </p:cNvSpPr>
              <p:nvPr/>
            </p:nvSpPr>
            <p:spPr bwMode="gray">
              <a:xfrm>
                <a:off x="4460781" y="3240089"/>
                <a:ext cx="228575" cy="288925"/>
              </a:xfrm>
              <a:custGeom>
                <a:avLst/>
                <a:gdLst>
                  <a:gd name="T0" fmla="*/ 17 w 144"/>
                  <a:gd name="T1" fmla="*/ 59 h 182"/>
                  <a:gd name="T2" fmla="*/ 23 w 144"/>
                  <a:gd name="T3" fmla="*/ 48 h 182"/>
                  <a:gd name="T4" fmla="*/ 36 w 144"/>
                  <a:gd name="T5" fmla="*/ 51 h 182"/>
                  <a:gd name="T6" fmla="*/ 48 w 144"/>
                  <a:gd name="T7" fmla="*/ 69 h 182"/>
                  <a:gd name="T8" fmla="*/ 65 w 144"/>
                  <a:gd name="T9" fmla="*/ 92 h 182"/>
                  <a:gd name="T10" fmla="*/ 88 w 144"/>
                  <a:gd name="T11" fmla="*/ 109 h 182"/>
                  <a:gd name="T12" fmla="*/ 100 w 144"/>
                  <a:gd name="T13" fmla="*/ 117 h 182"/>
                  <a:gd name="T14" fmla="*/ 102 w 144"/>
                  <a:gd name="T15" fmla="*/ 124 h 182"/>
                  <a:gd name="T16" fmla="*/ 115 w 144"/>
                  <a:gd name="T17" fmla="*/ 134 h 182"/>
                  <a:gd name="T18" fmla="*/ 113 w 144"/>
                  <a:gd name="T19" fmla="*/ 149 h 182"/>
                  <a:gd name="T20" fmla="*/ 90 w 144"/>
                  <a:gd name="T21" fmla="*/ 161 h 182"/>
                  <a:gd name="T22" fmla="*/ 75 w 144"/>
                  <a:gd name="T23" fmla="*/ 166 h 182"/>
                  <a:gd name="T24" fmla="*/ 105 w 144"/>
                  <a:gd name="T25" fmla="*/ 170 h 182"/>
                  <a:gd name="T26" fmla="*/ 111 w 144"/>
                  <a:gd name="T27" fmla="*/ 163 h 182"/>
                  <a:gd name="T28" fmla="*/ 128 w 144"/>
                  <a:gd name="T29" fmla="*/ 138 h 182"/>
                  <a:gd name="T30" fmla="*/ 121 w 144"/>
                  <a:gd name="T31" fmla="*/ 128 h 182"/>
                  <a:gd name="T32" fmla="*/ 125 w 144"/>
                  <a:gd name="T33" fmla="*/ 120 h 182"/>
                  <a:gd name="T34" fmla="*/ 134 w 144"/>
                  <a:gd name="T35" fmla="*/ 120 h 182"/>
                  <a:gd name="T36" fmla="*/ 142 w 144"/>
                  <a:gd name="T37" fmla="*/ 128 h 182"/>
                  <a:gd name="T38" fmla="*/ 142 w 144"/>
                  <a:gd name="T39" fmla="*/ 122 h 182"/>
                  <a:gd name="T40" fmla="*/ 132 w 144"/>
                  <a:gd name="T41" fmla="*/ 111 h 182"/>
                  <a:gd name="T42" fmla="*/ 123 w 144"/>
                  <a:gd name="T43" fmla="*/ 107 h 182"/>
                  <a:gd name="T44" fmla="*/ 117 w 144"/>
                  <a:gd name="T45" fmla="*/ 97 h 182"/>
                  <a:gd name="T46" fmla="*/ 102 w 144"/>
                  <a:gd name="T47" fmla="*/ 90 h 182"/>
                  <a:gd name="T48" fmla="*/ 90 w 144"/>
                  <a:gd name="T49" fmla="*/ 76 h 182"/>
                  <a:gd name="T50" fmla="*/ 67 w 144"/>
                  <a:gd name="T51" fmla="*/ 53 h 182"/>
                  <a:gd name="T52" fmla="*/ 69 w 144"/>
                  <a:gd name="T53" fmla="*/ 42 h 182"/>
                  <a:gd name="T54" fmla="*/ 69 w 144"/>
                  <a:gd name="T55" fmla="*/ 34 h 182"/>
                  <a:gd name="T56" fmla="*/ 86 w 144"/>
                  <a:gd name="T57" fmla="*/ 26 h 182"/>
                  <a:gd name="T58" fmla="*/ 84 w 144"/>
                  <a:gd name="T59" fmla="*/ 23 h 182"/>
                  <a:gd name="T60" fmla="*/ 84 w 144"/>
                  <a:gd name="T61" fmla="*/ 15 h 182"/>
                  <a:gd name="T62" fmla="*/ 80 w 144"/>
                  <a:gd name="T63" fmla="*/ 9 h 182"/>
                  <a:gd name="T64" fmla="*/ 75 w 144"/>
                  <a:gd name="T65" fmla="*/ 5 h 182"/>
                  <a:gd name="T66" fmla="*/ 67 w 144"/>
                  <a:gd name="T67" fmla="*/ 3 h 182"/>
                  <a:gd name="T68" fmla="*/ 57 w 144"/>
                  <a:gd name="T69" fmla="*/ 1 h 182"/>
                  <a:gd name="T70" fmla="*/ 52 w 144"/>
                  <a:gd name="T71" fmla="*/ 1 h 182"/>
                  <a:gd name="T72" fmla="*/ 46 w 144"/>
                  <a:gd name="T73" fmla="*/ 5 h 182"/>
                  <a:gd name="T74" fmla="*/ 46 w 144"/>
                  <a:gd name="T75" fmla="*/ 11 h 182"/>
                  <a:gd name="T76" fmla="*/ 38 w 144"/>
                  <a:gd name="T77" fmla="*/ 13 h 182"/>
                  <a:gd name="T78" fmla="*/ 33 w 144"/>
                  <a:gd name="T79" fmla="*/ 21 h 182"/>
                  <a:gd name="T80" fmla="*/ 27 w 144"/>
                  <a:gd name="T81" fmla="*/ 19 h 182"/>
                  <a:gd name="T82" fmla="*/ 19 w 144"/>
                  <a:gd name="T83" fmla="*/ 15 h 182"/>
                  <a:gd name="T84" fmla="*/ 19 w 144"/>
                  <a:gd name="T85" fmla="*/ 19 h 182"/>
                  <a:gd name="T86" fmla="*/ 8 w 144"/>
                  <a:gd name="T87" fmla="*/ 30 h 182"/>
                  <a:gd name="T88" fmla="*/ 0 w 144"/>
                  <a:gd name="T89" fmla="*/ 36 h 182"/>
                  <a:gd name="T90" fmla="*/ 2 w 144"/>
                  <a:gd name="T91" fmla="*/ 42 h 182"/>
                  <a:gd name="T92" fmla="*/ 8 w 144"/>
                  <a:gd name="T93" fmla="*/ 51 h 182"/>
                  <a:gd name="T94" fmla="*/ 6 w 144"/>
                  <a:gd name="T95" fmla="*/ 57 h 182"/>
                  <a:gd name="T96" fmla="*/ 8 w 144"/>
                  <a:gd name="T97" fmla="*/ 61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4" h="182">
                    <a:moveTo>
                      <a:pt x="8" y="61"/>
                    </a:moveTo>
                    <a:lnTo>
                      <a:pt x="13" y="61"/>
                    </a:lnTo>
                    <a:lnTo>
                      <a:pt x="17" y="59"/>
                    </a:lnTo>
                    <a:lnTo>
                      <a:pt x="19" y="53"/>
                    </a:lnTo>
                    <a:lnTo>
                      <a:pt x="23" y="49"/>
                    </a:lnTo>
                    <a:lnTo>
                      <a:pt x="23" y="48"/>
                    </a:lnTo>
                    <a:lnTo>
                      <a:pt x="27" y="48"/>
                    </a:lnTo>
                    <a:lnTo>
                      <a:pt x="31" y="48"/>
                    </a:lnTo>
                    <a:lnTo>
                      <a:pt x="36" y="51"/>
                    </a:lnTo>
                    <a:lnTo>
                      <a:pt x="42" y="57"/>
                    </a:lnTo>
                    <a:lnTo>
                      <a:pt x="44" y="63"/>
                    </a:lnTo>
                    <a:lnTo>
                      <a:pt x="48" y="69"/>
                    </a:lnTo>
                    <a:lnTo>
                      <a:pt x="54" y="80"/>
                    </a:lnTo>
                    <a:lnTo>
                      <a:pt x="61" y="92"/>
                    </a:lnTo>
                    <a:lnTo>
                      <a:pt x="65" y="92"/>
                    </a:lnTo>
                    <a:lnTo>
                      <a:pt x="71" y="99"/>
                    </a:lnTo>
                    <a:lnTo>
                      <a:pt x="80" y="107"/>
                    </a:lnTo>
                    <a:lnTo>
                      <a:pt x="88" y="109"/>
                    </a:lnTo>
                    <a:lnTo>
                      <a:pt x="96" y="113"/>
                    </a:lnTo>
                    <a:lnTo>
                      <a:pt x="96" y="117"/>
                    </a:lnTo>
                    <a:lnTo>
                      <a:pt x="100" y="117"/>
                    </a:lnTo>
                    <a:lnTo>
                      <a:pt x="102" y="119"/>
                    </a:lnTo>
                    <a:lnTo>
                      <a:pt x="102" y="122"/>
                    </a:lnTo>
                    <a:lnTo>
                      <a:pt x="102" y="124"/>
                    </a:lnTo>
                    <a:lnTo>
                      <a:pt x="107" y="126"/>
                    </a:lnTo>
                    <a:lnTo>
                      <a:pt x="113" y="130"/>
                    </a:lnTo>
                    <a:lnTo>
                      <a:pt x="115" y="134"/>
                    </a:lnTo>
                    <a:lnTo>
                      <a:pt x="115" y="142"/>
                    </a:lnTo>
                    <a:lnTo>
                      <a:pt x="115" y="147"/>
                    </a:lnTo>
                    <a:lnTo>
                      <a:pt x="113" y="149"/>
                    </a:lnTo>
                    <a:lnTo>
                      <a:pt x="111" y="155"/>
                    </a:lnTo>
                    <a:lnTo>
                      <a:pt x="111" y="161"/>
                    </a:lnTo>
                    <a:lnTo>
                      <a:pt x="90" y="161"/>
                    </a:lnTo>
                    <a:lnTo>
                      <a:pt x="73" y="161"/>
                    </a:lnTo>
                    <a:lnTo>
                      <a:pt x="73" y="163"/>
                    </a:lnTo>
                    <a:lnTo>
                      <a:pt x="75" y="166"/>
                    </a:lnTo>
                    <a:lnTo>
                      <a:pt x="88" y="174"/>
                    </a:lnTo>
                    <a:lnTo>
                      <a:pt x="104" y="182"/>
                    </a:lnTo>
                    <a:lnTo>
                      <a:pt x="105" y="170"/>
                    </a:lnTo>
                    <a:lnTo>
                      <a:pt x="105" y="166"/>
                    </a:lnTo>
                    <a:lnTo>
                      <a:pt x="105" y="163"/>
                    </a:lnTo>
                    <a:lnTo>
                      <a:pt x="111" y="163"/>
                    </a:lnTo>
                    <a:lnTo>
                      <a:pt x="117" y="165"/>
                    </a:lnTo>
                    <a:lnTo>
                      <a:pt x="125" y="151"/>
                    </a:lnTo>
                    <a:lnTo>
                      <a:pt x="128" y="138"/>
                    </a:lnTo>
                    <a:lnTo>
                      <a:pt x="125" y="136"/>
                    </a:lnTo>
                    <a:lnTo>
                      <a:pt x="123" y="132"/>
                    </a:lnTo>
                    <a:lnTo>
                      <a:pt x="121" y="128"/>
                    </a:lnTo>
                    <a:lnTo>
                      <a:pt x="123" y="126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7" y="119"/>
                    </a:lnTo>
                    <a:lnTo>
                      <a:pt x="128" y="119"/>
                    </a:lnTo>
                    <a:lnTo>
                      <a:pt x="134" y="120"/>
                    </a:lnTo>
                    <a:lnTo>
                      <a:pt x="140" y="124"/>
                    </a:lnTo>
                    <a:lnTo>
                      <a:pt x="140" y="128"/>
                    </a:lnTo>
                    <a:lnTo>
                      <a:pt x="142" y="128"/>
                    </a:lnTo>
                    <a:lnTo>
                      <a:pt x="144" y="126"/>
                    </a:lnTo>
                    <a:lnTo>
                      <a:pt x="144" y="124"/>
                    </a:lnTo>
                    <a:lnTo>
                      <a:pt x="142" y="122"/>
                    </a:lnTo>
                    <a:lnTo>
                      <a:pt x="140" y="117"/>
                    </a:lnTo>
                    <a:lnTo>
                      <a:pt x="138" y="115"/>
                    </a:lnTo>
                    <a:lnTo>
                      <a:pt x="132" y="111"/>
                    </a:lnTo>
                    <a:lnTo>
                      <a:pt x="128" y="107"/>
                    </a:lnTo>
                    <a:lnTo>
                      <a:pt x="125" y="107"/>
                    </a:lnTo>
                    <a:lnTo>
                      <a:pt x="123" y="107"/>
                    </a:lnTo>
                    <a:lnTo>
                      <a:pt x="121" y="103"/>
                    </a:lnTo>
                    <a:lnTo>
                      <a:pt x="117" y="101"/>
                    </a:lnTo>
                    <a:lnTo>
                      <a:pt x="117" y="97"/>
                    </a:lnTo>
                    <a:lnTo>
                      <a:pt x="117" y="94"/>
                    </a:lnTo>
                    <a:lnTo>
                      <a:pt x="107" y="92"/>
                    </a:lnTo>
                    <a:lnTo>
                      <a:pt x="102" y="90"/>
                    </a:lnTo>
                    <a:lnTo>
                      <a:pt x="96" y="88"/>
                    </a:lnTo>
                    <a:lnTo>
                      <a:pt x="92" y="82"/>
                    </a:lnTo>
                    <a:lnTo>
                      <a:pt x="90" y="76"/>
                    </a:lnTo>
                    <a:lnTo>
                      <a:pt x="88" y="69"/>
                    </a:lnTo>
                    <a:lnTo>
                      <a:pt x="79" y="59"/>
                    </a:lnTo>
                    <a:lnTo>
                      <a:pt x="67" y="53"/>
                    </a:lnTo>
                    <a:lnTo>
                      <a:pt x="67" y="49"/>
                    </a:lnTo>
                    <a:lnTo>
                      <a:pt x="67" y="46"/>
                    </a:lnTo>
                    <a:lnTo>
                      <a:pt x="69" y="42"/>
                    </a:lnTo>
                    <a:lnTo>
                      <a:pt x="73" y="36"/>
                    </a:lnTo>
                    <a:lnTo>
                      <a:pt x="71" y="34"/>
                    </a:lnTo>
                    <a:lnTo>
                      <a:pt x="69" y="34"/>
                    </a:lnTo>
                    <a:lnTo>
                      <a:pt x="69" y="30"/>
                    </a:lnTo>
                    <a:lnTo>
                      <a:pt x="77" y="28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4" y="26"/>
                    </a:lnTo>
                    <a:lnTo>
                      <a:pt x="84" y="23"/>
                    </a:lnTo>
                    <a:lnTo>
                      <a:pt x="84" y="17"/>
                    </a:lnTo>
                    <a:lnTo>
                      <a:pt x="84" y="15"/>
                    </a:lnTo>
                    <a:lnTo>
                      <a:pt x="84" y="15"/>
                    </a:lnTo>
                    <a:lnTo>
                      <a:pt x="84" y="13"/>
                    </a:lnTo>
                    <a:lnTo>
                      <a:pt x="82" y="13"/>
                    </a:lnTo>
                    <a:lnTo>
                      <a:pt x="80" y="9"/>
                    </a:lnTo>
                    <a:lnTo>
                      <a:pt x="82" y="5"/>
                    </a:lnTo>
                    <a:lnTo>
                      <a:pt x="80" y="5"/>
                    </a:lnTo>
                    <a:lnTo>
                      <a:pt x="75" y="5"/>
                    </a:lnTo>
                    <a:lnTo>
                      <a:pt x="71" y="5"/>
                    </a:lnTo>
                    <a:lnTo>
                      <a:pt x="69" y="5"/>
                    </a:lnTo>
                    <a:lnTo>
                      <a:pt x="67" y="3"/>
                    </a:lnTo>
                    <a:lnTo>
                      <a:pt x="63" y="3"/>
                    </a:lnTo>
                    <a:lnTo>
                      <a:pt x="61" y="3"/>
                    </a:lnTo>
                    <a:lnTo>
                      <a:pt x="57" y="1"/>
                    </a:lnTo>
                    <a:lnTo>
                      <a:pt x="56" y="0"/>
                    </a:lnTo>
                    <a:lnTo>
                      <a:pt x="56" y="1"/>
                    </a:lnTo>
                    <a:lnTo>
                      <a:pt x="52" y="1"/>
                    </a:lnTo>
                    <a:lnTo>
                      <a:pt x="48" y="0"/>
                    </a:lnTo>
                    <a:lnTo>
                      <a:pt x="48" y="1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8" y="9"/>
                    </a:lnTo>
                    <a:lnTo>
                      <a:pt x="46" y="11"/>
                    </a:lnTo>
                    <a:lnTo>
                      <a:pt x="44" y="9"/>
                    </a:lnTo>
                    <a:lnTo>
                      <a:pt x="40" y="9"/>
                    </a:lnTo>
                    <a:lnTo>
                      <a:pt x="38" y="13"/>
                    </a:lnTo>
                    <a:lnTo>
                      <a:pt x="34" y="15"/>
                    </a:lnTo>
                    <a:lnTo>
                      <a:pt x="33" y="17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1" y="21"/>
                    </a:lnTo>
                    <a:lnTo>
                      <a:pt x="27" y="19"/>
                    </a:lnTo>
                    <a:lnTo>
                      <a:pt x="23" y="19"/>
                    </a:lnTo>
                    <a:lnTo>
                      <a:pt x="21" y="15"/>
                    </a:lnTo>
                    <a:lnTo>
                      <a:pt x="19" y="15"/>
                    </a:lnTo>
                    <a:lnTo>
                      <a:pt x="19" y="15"/>
                    </a:lnTo>
                    <a:lnTo>
                      <a:pt x="19" y="17"/>
                    </a:lnTo>
                    <a:lnTo>
                      <a:pt x="19" y="19"/>
                    </a:lnTo>
                    <a:lnTo>
                      <a:pt x="15" y="23"/>
                    </a:lnTo>
                    <a:lnTo>
                      <a:pt x="9" y="24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2" y="34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4" y="46"/>
                    </a:lnTo>
                    <a:lnTo>
                      <a:pt x="4" y="51"/>
                    </a:lnTo>
                    <a:lnTo>
                      <a:pt x="8" y="51"/>
                    </a:lnTo>
                    <a:lnTo>
                      <a:pt x="9" y="53"/>
                    </a:lnTo>
                    <a:lnTo>
                      <a:pt x="8" y="55"/>
                    </a:lnTo>
                    <a:lnTo>
                      <a:pt x="6" y="57"/>
                    </a:lnTo>
                    <a:lnTo>
                      <a:pt x="6" y="59"/>
                    </a:lnTo>
                    <a:lnTo>
                      <a:pt x="8" y="59"/>
                    </a:lnTo>
                    <a:lnTo>
                      <a:pt x="8" y="6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1" name="Freeform 159"/>
              <p:cNvSpPr>
                <a:spLocks noEditPoints="1"/>
              </p:cNvSpPr>
              <p:nvPr/>
            </p:nvSpPr>
            <p:spPr bwMode="gray">
              <a:xfrm>
                <a:off x="5011583" y="3629026"/>
                <a:ext cx="28572" cy="92075"/>
              </a:xfrm>
              <a:custGeom>
                <a:avLst/>
                <a:gdLst>
                  <a:gd name="T0" fmla="*/ 4 w 18"/>
                  <a:gd name="T1" fmla="*/ 17 h 58"/>
                  <a:gd name="T2" fmla="*/ 2 w 18"/>
                  <a:gd name="T3" fmla="*/ 19 h 58"/>
                  <a:gd name="T4" fmla="*/ 0 w 18"/>
                  <a:gd name="T5" fmla="*/ 19 h 58"/>
                  <a:gd name="T6" fmla="*/ 2 w 18"/>
                  <a:gd name="T7" fmla="*/ 25 h 58"/>
                  <a:gd name="T8" fmla="*/ 6 w 18"/>
                  <a:gd name="T9" fmla="*/ 21 h 58"/>
                  <a:gd name="T10" fmla="*/ 4 w 18"/>
                  <a:gd name="T11" fmla="*/ 17 h 58"/>
                  <a:gd name="T12" fmla="*/ 18 w 18"/>
                  <a:gd name="T13" fmla="*/ 8 h 58"/>
                  <a:gd name="T14" fmla="*/ 18 w 18"/>
                  <a:gd name="T15" fmla="*/ 10 h 58"/>
                  <a:gd name="T16" fmla="*/ 18 w 18"/>
                  <a:gd name="T17" fmla="*/ 14 h 58"/>
                  <a:gd name="T18" fmla="*/ 18 w 18"/>
                  <a:gd name="T19" fmla="*/ 17 h 58"/>
                  <a:gd name="T20" fmla="*/ 18 w 18"/>
                  <a:gd name="T21" fmla="*/ 17 h 58"/>
                  <a:gd name="T22" fmla="*/ 18 w 18"/>
                  <a:gd name="T23" fmla="*/ 17 h 58"/>
                  <a:gd name="T24" fmla="*/ 18 w 18"/>
                  <a:gd name="T25" fmla="*/ 19 h 58"/>
                  <a:gd name="T26" fmla="*/ 18 w 18"/>
                  <a:gd name="T27" fmla="*/ 19 h 58"/>
                  <a:gd name="T28" fmla="*/ 18 w 18"/>
                  <a:gd name="T29" fmla="*/ 23 h 58"/>
                  <a:gd name="T30" fmla="*/ 18 w 18"/>
                  <a:gd name="T31" fmla="*/ 27 h 58"/>
                  <a:gd name="T32" fmla="*/ 18 w 18"/>
                  <a:gd name="T33" fmla="*/ 27 h 58"/>
                  <a:gd name="T34" fmla="*/ 18 w 18"/>
                  <a:gd name="T35" fmla="*/ 29 h 58"/>
                  <a:gd name="T36" fmla="*/ 14 w 18"/>
                  <a:gd name="T37" fmla="*/ 29 h 58"/>
                  <a:gd name="T38" fmla="*/ 12 w 18"/>
                  <a:gd name="T39" fmla="*/ 29 h 58"/>
                  <a:gd name="T40" fmla="*/ 12 w 18"/>
                  <a:gd name="T41" fmla="*/ 23 h 58"/>
                  <a:gd name="T42" fmla="*/ 14 w 18"/>
                  <a:gd name="T43" fmla="*/ 17 h 58"/>
                  <a:gd name="T44" fmla="*/ 12 w 18"/>
                  <a:gd name="T45" fmla="*/ 14 h 58"/>
                  <a:gd name="T46" fmla="*/ 14 w 18"/>
                  <a:gd name="T47" fmla="*/ 10 h 58"/>
                  <a:gd name="T48" fmla="*/ 16 w 18"/>
                  <a:gd name="T49" fmla="*/ 10 h 58"/>
                  <a:gd name="T50" fmla="*/ 18 w 18"/>
                  <a:gd name="T51" fmla="*/ 8 h 58"/>
                  <a:gd name="T52" fmla="*/ 18 w 18"/>
                  <a:gd name="T53" fmla="*/ 8 h 58"/>
                  <a:gd name="T54" fmla="*/ 18 w 18"/>
                  <a:gd name="T55" fmla="*/ 2 h 58"/>
                  <a:gd name="T56" fmla="*/ 18 w 18"/>
                  <a:gd name="T57" fmla="*/ 0 h 58"/>
                  <a:gd name="T58" fmla="*/ 14 w 18"/>
                  <a:gd name="T59" fmla="*/ 0 h 58"/>
                  <a:gd name="T60" fmla="*/ 12 w 18"/>
                  <a:gd name="T61" fmla="*/ 2 h 58"/>
                  <a:gd name="T62" fmla="*/ 12 w 18"/>
                  <a:gd name="T63" fmla="*/ 2 h 58"/>
                  <a:gd name="T64" fmla="*/ 8 w 18"/>
                  <a:gd name="T65" fmla="*/ 4 h 58"/>
                  <a:gd name="T66" fmla="*/ 6 w 18"/>
                  <a:gd name="T67" fmla="*/ 8 h 58"/>
                  <a:gd name="T68" fmla="*/ 6 w 18"/>
                  <a:gd name="T69" fmla="*/ 12 h 58"/>
                  <a:gd name="T70" fmla="*/ 6 w 18"/>
                  <a:gd name="T71" fmla="*/ 16 h 58"/>
                  <a:gd name="T72" fmla="*/ 4 w 18"/>
                  <a:gd name="T73" fmla="*/ 16 h 58"/>
                  <a:gd name="T74" fmla="*/ 4 w 18"/>
                  <a:gd name="T75" fmla="*/ 17 h 58"/>
                  <a:gd name="T76" fmla="*/ 6 w 18"/>
                  <a:gd name="T77" fmla="*/ 21 h 58"/>
                  <a:gd name="T78" fmla="*/ 2 w 18"/>
                  <a:gd name="T79" fmla="*/ 25 h 58"/>
                  <a:gd name="T80" fmla="*/ 2 w 18"/>
                  <a:gd name="T81" fmla="*/ 29 h 58"/>
                  <a:gd name="T82" fmla="*/ 4 w 18"/>
                  <a:gd name="T83" fmla="*/ 31 h 58"/>
                  <a:gd name="T84" fmla="*/ 6 w 18"/>
                  <a:gd name="T85" fmla="*/ 54 h 58"/>
                  <a:gd name="T86" fmla="*/ 4 w 18"/>
                  <a:gd name="T87" fmla="*/ 58 h 58"/>
                  <a:gd name="T88" fmla="*/ 10 w 18"/>
                  <a:gd name="T89" fmla="*/ 50 h 58"/>
                  <a:gd name="T90" fmla="*/ 16 w 18"/>
                  <a:gd name="T91" fmla="*/ 40 h 58"/>
                  <a:gd name="T92" fmla="*/ 16 w 18"/>
                  <a:gd name="T93" fmla="*/ 35 h 58"/>
                  <a:gd name="T94" fmla="*/ 18 w 18"/>
                  <a:gd name="T95" fmla="*/ 29 h 58"/>
                  <a:gd name="T96" fmla="*/ 14 w 18"/>
                  <a:gd name="T97" fmla="*/ 29 h 58"/>
                  <a:gd name="T98" fmla="*/ 12 w 18"/>
                  <a:gd name="T99" fmla="*/ 29 h 58"/>
                  <a:gd name="T100" fmla="*/ 12 w 18"/>
                  <a:gd name="T101" fmla="*/ 23 h 58"/>
                  <a:gd name="T102" fmla="*/ 14 w 18"/>
                  <a:gd name="T103" fmla="*/ 17 h 58"/>
                  <a:gd name="T104" fmla="*/ 12 w 18"/>
                  <a:gd name="T105" fmla="*/ 14 h 58"/>
                  <a:gd name="T106" fmla="*/ 14 w 18"/>
                  <a:gd name="T107" fmla="*/ 10 h 58"/>
                  <a:gd name="T108" fmla="*/ 18 w 18"/>
                  <a:gd name="T109" fmla="*/ 10 h 58"/>
                  <a:gd name="T110" fmla="*/ 18 w 18"/>
                  <a:gd name="T111" fmla="*/ 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8" h="58">
                    <a:moveTo>
                      <a:pt x="4" y="17"/>
                    </a:moveTo>
                    <a:lnTo>
                      <a:pt x="2" y="19"/>
                    </a:lnTo>
                    <a:lnTo>
                      <a:pt x="0" y="19"/>
                    </a:lnTo>
                    <a:lnTo>
                      <a:pt x="2" y="25"/>
                    </a:lnTo>
                    <a:lnTo>
                      <a:pt x="6" y="21"/>
                    </a:lnTo>
                    <a:lnTo>
                      <a:pt x="4" y="17"/>
                    </a:lnTo>
                    <a:close/>
                    <a:moveTo>
                      <a:pt x="18" y="8"/>
                    </a:moveTo>
                    <a:lnTo>
                      <a:pt x="18" y="10"/>
                    </a:lnTo>
                    <a:lnTo>
                      <a:pt x="18" y="14"/>
                    </a:lnTo>
                    <a:lnTo>
                      <a:pt x="18" y="17"/>
                    </a:lnTo>
                    <a:lnTo>
                      <a:pt x="18" y="17"/>
                    </a:lnTo>
                    <a:lnTo>
                      <a:pt x="18" y="17"/>
                    </a:lnTo>
                    <a:lnTo>
                      <a:pt x="18" y="19"/>
                    </a:lnTo>
                    <a:lnTo>
                      <a:pt x="18" y="19"/>
                    </a:lnTo>
                    <a:lnTo>
                      <a:pt x="18" y="23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9"/>
                    </a:lnTo>
                    <a:lnTo>
                      <a:pt x="14" y="29"/>
                    </a:lnTo>
                    <a:lnTo>
                      <a:pt x="12" y="29"/>
                    </a:lnTo>
                    <a:lnTo>
                      <a:pt x="12" y="23"/>
                    </a:lnTo>
                    <a:lnTo>
                      <a:pt x="14" y="17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6" y="10"/>
                    </a:lnTo>
                    <a:lnTo>
                      <a:pt x="18" y="8"/>
                    </a:lnTo>
                    <a:close/>
                    <a:moveTo>
                      <a:pt x="18" y="8"/>
                    </a:moveTo>
                    <a:lnTo>
                      <a:pt x="18" y="2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6" y="8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4" y="17"/>
                    </a:lnTo>
                    <a:lnTo>
                      <a:pt x="6" y="21"/>
                    </a:lnTo>
                    <a:lnTo>
                      <a:pt x="2" y="25"/>
                    </a:lnTo>
                    <a:lnTo>
                      <a:pt x="2" y="29"/>
                    </a:lnTo>
                    <a:lnTo>
                      <a:pt x="4" y="31"/>
                    </a:lnTo>
                    <a:lnTo>
                      <a:pt x="6" y="54"/>
                    </a:lnTo>
                    <a:lnTo>
                      <a:pt x="4" y="58"/>
                    </a:lnTo>
                    <a:lnTo>
                      <a:pt x="10" y="50"/>
                    </a:lnTo>
                    <a:lnTo>
                      <a:pt x="16" y="40"/>
                    </a:lnTo>
                    <a:lnTo>
                      <a:pt x="16" y="35"/>
                    </a:lnTo>
                    <a:lnTo>
                      <a:pt x="18" y="29"/>
                    </a:lnTo>
                    <a:lnTo>
                      <a:pt x="14" y="29"/>
                    </a:lnTo>
                    <a:lnTo>
                      <a:pt x="12" y="29"/>
                    </a:lnTo>
                    <a:lnTo>
                      <a:pt x="12" y="23"/>
                    </a:lnTo>
                    <a:lnTo>
                      <a:pt x="14" y="17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2" name="Freeform 160"/>
              <p:cNvSpPr>
                <a:spLocks noEditPoints="1"/>
              </p:cNvSpPr>
              <p:nvPr/>
            </p:nvSpPr>
            <p:spPr bwMode="gray">
              <a:xfrm>
                <a:off x="4129031" y="2982914"/>
                <a:ext cx="79366" cy="122238"/>
              </a:xfrm>
              <a:custGeom>
                <a:avLst/>
                <a:gdLst>
                  <a:gd name="T0" fmla="*/ 42 w 50"/>
                  <a:gd name="T1" fmla="*/ 4 h 77"/>
                  <a:gd name="T2" fmla="*/ 40 w 50"/>
                  <a:gd name="T3" fmla="*/ 0 h 77"/>
                  <a:gd name="T4" fmla="*/ 34 w 50"/>
                  <a:gd name="T5" fmla="*/ 6 h 77"/>
                  <a:gd name="T6" fmla="*/ 27 w 50"/>
                  <a:gd name="T7" fmla="*/ 4 h 77"/>
                  <a:gd name="T8" fmla="*/ 27 w 50"/>
                  <a:gd name="T9" fmla="*/ 10 h 77"/>
                  <a:gd name="T10" fmla="*/ 23 w 50"/>
                  <a:gd name="T11" fmla="*/ 12 h 77"/>
                  <a:gd name="T12" fmla="*/ 27 w 50"/>
                  <a:gd name="T13" fmla="*/ 12 h 77"/>
                  <a:gd name="T14" fmla="*/ 23 w 50"/>
                  <a:gd name="T15" fmla="*/ 16 h 77"/>
                  <a:gd name="T16" fmla="*/ 19 w 50"/>
                  <a:gd name="T17" fmla="*/ 20 h 77"/>
                  <a:gd name="T18" fmla="*/ 11 w 50"/>
                  <a:gd name="T19" fmla="*/ 23 h 77"/>
                  <a:gd name="T20" fmla="*/ 7 w 50"/>
                  <a:gd name="T21" fmla="*/ 20 h 77"/>
                  <a:gd name="T22" fmla="*/ 7 w 50"/>
                  <a:gd name="T23" fmla="*/ 27 h 77"/>
                  <a:gd name="T24" fmla="*/ 11 w 50"/>
                  <a:gd name="T25" fmla="*/ 29 h 77"/>
                  <a:gd name="T26" fmla="*/ 11 w 50"/>
                  <a:gd name="T27" fmla="*/ 33 h 77"/>
                  <a:gd name="T28" fmla="*/ 4 w 50"/>
                  <a:gd name="T29" fmla="*/ 33 h 77"/>
                  <a:gd name="T30" fmla="*/ 2 w 50"/>
                  <a:gd name="T31" fmla="*/ 37 h 77"/>
                  <a:gd name="T32" fmla="*/ 5 w 50"/>
                  <a:gd name="T33" fmla="*/ 43 h 77"/>
                  <a:gd name="T34" fmla="*/ 15 w 50"/>
                  <a:gd name="T35" fmla="*/ 43 h 77"/>
                  <a:gd name="T36" fmla="*/ 5 w 50"/>
                  <a:gd name="T37" fmla="*/ 66 h 77"/>
                  <a:gd name="T38" fmla="*/ 0 w 50"/>
                  <a:gd name="T39" fmla="*/ 66 h 77"/>
                  <a:gd name="T40" fmla="*/ 2 w 50"/>
                  <a:gd name="T41" fmla="*/ 69 h 77"/>
                  <a:gd name="T42" fmla="*/ 7 w 50"/>
                  <a:gd name="T43" fmla="*/ 73 h 77"/>
                  <a:gd name="T44" fmla="*/ 5 w 50"/>
                  <a:gd name="T45" fmla="*/ 77 h 77"/>
                  <a:gd name="T46" fmla="*/ 9 w 50"/>
                  <a:gd name="T47" fmla="*/ 75 h 77"/>
                  <a:gd name="T48" fmla="*/ 15 w 50"/>
                  <a:gd name="T49" fmla="*/ 73 h 77"/>
                  <a:gd name="T50" fmla="*/ 21 w 50"/>
                  <a:gd name="T51" fmla="*/ 77 h 77"/>
                  <a:gd name="T52" fmla="*/ 23 w 50"/>
                  <a:gd name="T53" fmla="*/ 71 h 77"/>
                  <a:gd name="T54" fmla="*/ 30 w 50"/>
                  <a:gd name="T55" fmla="*/ 69 h 77"/>
                  <a:gd name="T56" fmla="*/ 34 w 50"/>
                  <a:gd name="T57" fmla="*/ 66 h 77"/>
                  <a:gd name="T58" fmla="*/ 36 w 50"/>
                  <a:gd name="T59" fmla="*/ 64 h 77"/>
                  <a:gd name="T60" fmla="*/ 40 w 50"/>
                  <a:gd name="T61" fmla="*/ 60 h 77"/>
                  <a:gd name="T62" fmla="*/ 46 w 50"/>
                  <a:gd name="T63" fmla="*/ 62 h 77"/>
                  <a:gd name="T64" fmla="*/ 44 w 50"/>
                  <a:gd name="T65" fmla="*/ 58 h 77"/>
                  <a:gd name="T66" fmla="*/ 48 w 50"/>
                  <a:gd name="T67" fmla="*/ 48 h 77"/>
                  <a:gd name="T68" fmla="*/ 44 w 50"/>
                  <a:gd name="T69" fmla="*/ 41 h 77"/>
                  <a:gd name="T70" fmla="*/ 46 w 50"/>
                  <a:gd name="T71" fmla="*/ 29 h 77"/>
                  <a:gd name="T72" fmla="*/ 42 w 50"/>
                  <a:gd name="T73" fmla="*/ 27 h 77"/>
                  <a:gd name="T74" fmla="*/ 40 w 50"/>
                  <a:gd name="T75" fmla="*/ 23 h 77"/>
                  <a:gd name="T76" fmla="*/ 34 w 50"/>
                  <a:gd name="T77" fmla="*/ 25 h 77"/>
                  <a:gd name="T78" fmla="*/ 30 w 50"/>
                  <a:gd name="T79" fmla="*/ 21 h 77"/>
                  <a:gd name="T80" fmla="*/ 32 w 50"/>
                  <a:gd name="T81" fmla="*/ 16 h 77"/>
                  <a:gd name="T82" fmla="*/ 38 w 50"/>
                  <a:gd name="T83" fmla="*/ 8 h 77"/>
                  <a:gd name="T84" fmla="*/ 17 w 50"/>
                  <a:gd name="T85" fmla="*/ 39 h 77"/>
                  <a:gd name="T86" fmla="*/ 15 w 50"/>
                  <a:gd name="T87" fmla="*/ 43 h 77"/>
                  <a:gd name="T88" fmla="*/ 17 w 50"/>
                  <a:gd name="T89" fmla="*/ 39 h 77"/>
                  <a:gd name="T90" fmla="*/ 17 w 50"/>
                  <a:gd name="T91" fmla="*/ 56 h 77"/>
                  <a:gd name="T92" fmla="*/ 13 w 50"/>
                  <a:gd name="T93" fmla="*/ 54 h 77"/>
                  <a:gd name="T94" fmla="*/ 17 w 50"/>
                  <a:gd name="T95" fmla="*/ 5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0" h="77">
                    <a:moveTo>
                      <a:pt x="42" y="6"/>
                    </a:moveTo>
                    <a:lnTo>
                      <a:pt x="42" y="4"/>
                    </a:lnTo>
                    <a:lnTo>
                      <a:pt x="42" y="2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4" y="6"/>
                    </a:lnTo>
                    <a:lnTo>
                      <a:pt x="30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7" y="10"/>
                    </a:lnTo>
                    <a:lnTo>
                      <a:pt x="25" y="10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7" y="12"/>
                    </a:lnTo>
                    <a:lnTo>
                      <a:pt x="27" y="16"/>
                    </a:lnTo>
                    <a:lnTo>
                      <a:pt x="23" y="16"/>
                    </a:lnTo>
                    <a:lnTo>
                      <a:pt x="21" y="18"/>
                    </a:lnTo>
                    <a:lnTo>
                      <a:pt x="19" y="20"/>
                    </a:lnTo>
                    <a:lnTo>
                      <a:pt x="17" y="23"/>
                    </a:lnTo>
                    <a:lnTo>
                      <a:pt x="11" y="23"/>
                    </a:lnTo>
                    <a:lnTo>
                      <a:pt x="9" y="21"/>
                    </a:lnTo>
                    <a:lnTo>
                      <a:pt x="7" y="20"/>
                    </a:lnTo>
                    <a:lnTo>
                      <a:pt x="7" y="23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11" y="29"/>
                    </a:lnTo>
                    <a:lnTo>
                      <a:pt x="11" y="31"/>
                    </a:lnTo>
                    <a:lnTo>
                      <a:pt x="11" y="33"/>
                    </a:lnTo>
                    <a:lnTo>
                      <a:pt x="7" y="33"/>
                    </a:lnTo>
                    <a:lnTo>
                      <a:pt x="4" y="33"/>
                    </a:lnTo>
                    <a:lnTo>
                      <a:pt x="4" y="35"/>
                    </a:lnTo>
                    <a:lnTo>
                      <a:pt x="2" y="37"/>
                    </a:lnTo>
                    <a:lnTo>
                      <a:pt x="4" y="39"/>
                    </a:lnTo>
                    <a:lnTo>
                      <a:pt x="5" y="43"/>
                    </a:lnTo>
                    <a:lnTo>
                      <a:pt x="9" y="43"/>
                    </a:lnTo>
                    <a:lnTo>
                      <a:pt x="15" y="43"/>
                    </a:lnTo>
                    <a:lnTo>
                      <a:pt x="9" y="54"/>
                    </a:lnTo>
                    <a:lnTo>
                      <a:pt x="5" y="66"/>
                    </a:lnTo>
                    <a:lnTo>
                      <a:pt x="2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2" y="69"/>
                    </a:lnTo>
                    <a:lnTo>
                      <a:pt x="4" y="73"/>
                    </a:lnTo>
                    <a:lnTo>
                      <a:pt x="7" y="73"/>
                    </a:lnTo>
                    <a:lnTo>
                      <a:pt x="5" y="75"/>
                    </a:lnTo>
                    <a:lnTo>
                      <a:pt x="5" y="77"/>
                    </a:lnTo>
                    <a:lnTo>
                      <a:pt x="9" y="77"/>
                    </a:lnTo>
                    <a:lnTo>
                      <a:pt x="9" y="75"/>
                    </a:lnTo>
                    <a:lnTo>
                      <a:pt x="11" y="73"/>
                    </a:lnTo>
                    <a:lnTo>
                      <a:pt x="15" y="73"/>
                    </a:lnTo>
                    <a:lnTo>
                      <a:pt x="15" y="75"/>
                    </a:lnTo>
                    <a:lnTo>
                      <a:pt x="21" y="77"/>
                    </a:lnTo>
                    <a:lnTo>
                      <a:pt x="21" y="75"/>
                    </a:lnTo>
                    <a:lnTo>
                      <a:pt x="23" y="71"/>
                    </a:lnTo>
                    <a:lnTo>
                      <a:pt x="27" y="69"/>
                    </a:lnTo>
                    <a:lnTo>
                      <a:pt x="30" y="69"/>
                    </a:lnTo>
                    <a:lnTo>
                      <a:pt x="34" y="69"/>
                    </a:lnTo>
                    <a:lnTo>
                      <a:pt x="34" y="66"/>
                    </a:lnTo>
                    <a:lnTo>
                      <a:pt x="34" y="64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0" y="60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4" y="60"/>
                    </a:lnTo>
                    <a:lnTo>
                      <a:pt x="44" y="58"/>
                    </a:lnTo>
                    <a:lnTo>
                      <a:pt x="48" y="54"/>
                    </a:lnTo>
                    <a:lnTo>
                      <a:pt x="48" y="48"/>
                    </a:lnTo>
                    <a:lnTo>
                      <a:pt x="46" y="44"/>
                    </a:lnTo>
                    <a:lnTo>
                      <a:pt x="44" y="41"/>
                    </a:lnTo>
                    <a:lnTo>
                      <a:pt x="44" y="35"/>
                    </a:lnTo>
                    <a:lnTo>
                      <a:pt x="46" y="29"/>
                    </a:lnTo>
                    <a:lnTo>
                      <a:pt x="50" y="25"/>
                    </a:lnTo>
                    <a:lnTo>
                      <a:pt x="42" y="27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36" y="25"/>
                    </a:lnTo>
                    <a:lnTo>
                      <a:pt x="34" y="25"/>
                    </a:lnTo>
                    <a:lnTo>
                      <a:pt x="32" y="21"/>
                    </a:lnTo>
                    <a:lnTo>
                      <a:pt x="30" y="21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4" y="14"/>
                    </a:lnTo>
                    <a:lnTo>
                      <a:pt x="38" y="8"/>
                    </a:lnTo>
                    <a:lnTo>
                      <a:pt x="42" y="6"/>
                    </a:lnTo>
                    <a:close/>
                    <a:moveTo>
                      <a:pt x="17" y="39"/>
                    </a:moveTo>
                    <a:lnTo>
                      <a:pt x="17" y="41"/>
                    </a:lnTo>
                    <a:lnTo>
                      <a:pt x="15" y="43"/>
                    </a:lnTo>
                    <a:lnTo>
                      <a:pt x="15" y="39"/>
                    </a:lnTo>
                    <a:lnTo>
                      <a:pt x="17" y="39"/>
                    </a:lnTo>
                    <a:close/>
                    <a:moveTo>
                      <a:pt x="17" y="52"/>
                    </a:moveTo>
                    <a:lnTo>
                      <a:pt x="17" y="56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5" y="52"/>
                    </a:lnTo>
                    <a:lnTo>
                      <a:pt x="17" y="5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3" name="Freeform 161"/>
              <p:cNvSpPr>
                <a:spLocks/>
              </p:cNvSpPr>
              <p:nvPr/>
            </p:nvSpPr>
            <p:spPr bwMode="gray">
              <a:xfrm>
                <a:off x="5100473" y="3509964"/>
                <a:ext cx="195241" cy="211138"/>
              </a:xfrm>
              <a:custGeom>
                <a:avLst/>
                <a:gdLst>
                  <a:gd name="T0" fmla="*/ 121 w 123"/>
                  <a:gd name="T1" fmla="*/ 112 h 133"/>
                  <a:gd name="T2" fmla="*/ 117 w 123"/>
                  <a:gd name="T3" fmla="*/ 106 h 133"/>
                  <a:gd name="T4" fmla="*/ 117 w 123"/>
                  <a:gd name="T5" fmla="*/ 96 h 133"/>
                  <a:gd name="T6" fmla="*/ 113 w 123"/>
                  <a:gd name="T7" fmla="*/ 87 h 133"/>
                  <a:gd name="T8" fmla="*/ 107 w 123"/>
                  <a:gd name="T9" fmla="*/ 81 h 133"/>
                  <a:gd name="T10" fmla="*/ 102 w 123"/>
                  <a:gd name="T11" fmla="*/ 79 h 133"/>
                  <a:gd name="T12" fmla="*/ 102 w 123"/>
                  <a:gd name="T13" fmla="*/ 75 h 133"/>
                  <a:gd name="T14" fmla="*/ 92 w 123"/>
                  <a:gd name="T15" fmla="*/ 66 h 133"/>
                  <a:gd name="T16" fmla="*/ 86 w 123"/>
                  <a:gd name="T17" fmla="*/ 54 h 133"/>
                  <a:gd name="T18" fmla="*/ 82 w 123"/>
                  <a:gd name="T19" fmla="*/ 48 h 133"/>
                  <a:gd name="T20" fmla="*/ 84 w 123"/>
                  <a:gd name="T21" fmla="*/ 43 h 133"/>
                  <a:gd name="T22" fmla="*/ 88 w 123"/>
                  <a:gd name="T23" fmla="*/ 41 h 133"/>
                  <a:gd name="T24" fmla="*/ 88 w 123"/>
                  <a:gd name="T25" fmla="*/ 33 h 133"/>
                  <a:gd name="T26" fmla="*/ 94 w 123"/>
                  <a:gd name="T27" fmla="*/ 31 h 133"/>
                  <a:gd name="T28" fmla="*/ 92 w 123"/>
                  <a:gd name="T29" fmla="*/ 27 h 133"/>
                  <a:gd name="T30" fmla="*/ 86 w 123"/>
                  <a:gd name="T31" fmla="*/ 27 h 133"/>
                  <a:gd name="T32" fmla="*/ 82 w 123"/>
                  <a:gd name="T33" fmla="*/ 25 h 133"/>
                  <a:gd name="T34" fmla="*/ 77 w 123"/>
                  <a:gd name="T35" fmla="*/ 23 h 133"/>
                  <a:gd name="T36" fmla="*/ 75 w 123"/>
                  <a:gd name="T37" fmla="*/ 20 h 133"/>
                  <a:gd name="T38" fmla="*/ 73 w 123"/>
                  <a:gd name="T39" fmla="*/ 16 h 133"/>
                  <a:gd name="T40" fmla="*/ 73 w 123"/>
                  <a:gd name="T41" fmla="*/ 10 h 133"/>
                  <a:gd name="T42" fmla="*/ 69 w 123"/>
                  <a:gd name="T43" fmla="*/ 4 h 133"/>
                  <a:gd name="T44" fmla="*/ 61 w 123"/>
                  <a:gd name="T45" fmla="*/ 4 h 133"/>
                  <a:gd name="T46" fmla="*/ 57 w 123"/>
                  <a:gd name="T47" fmla="*/ 0 h 133"/>
                  <a:gd name="T48" fmla="*/ 54 w 123"/>
                  <a:gd name="T49" fmla="*/ 4 h 133"/>
                  <a:gd name="T50" fmla="*/ 46 w 123"/>
                  <a:gd name="T51" fmla="*/ 2 h 133"/>
                  <a:gd name="T52" fmla="*/ 42 w 123"/>
                  <a:gd name="T53" fmla="*/ 2 h 133"/>
                  <a:gd name="T54" fmla="*/ 40 w 123"/>
                  <a:gd name="T55" fmla="*/ 12 h 133"/>
                  <a:gd name="T56" fmla="*/ 33 w 123"/>
                  <a:gd name="T57" fmla="*/ 20 h 133"/>
                  <a:gd name="T58" fmla="*/ 34 w 123"/>
                  <a:gd name="T59" fmla="*/ 25 h 133"/>
                  <a:gd name="T60" fmla="*/ 33 w 123"/>
                  <a:gd name="T61" fmla="*/ 33 h 133"/>
                  <a:gd name="T62" fmla="*/ 33 w 123"/>
                  <a:gd name="T63" fmla="*/ 39 h 133"/>
                  <a:gd name="T64" fmla="*/ 29 w 123"/>
                  <a:gd name="T65" fmla="*/ 46 h 133"/>
                  <a:gd name="T66" fmla="*/ 27 w 123"/>
                  <a:gd name="T67" fmla="*/ 50 h 133"/>
                  <a:gd name="T68" fmla="*/ 8 w 123"/>
                  <a:gd name="T69" fmla="*/ 92 h 133"/>
                  <a:gd name="T70" fmla="*/ 44 w 123"/>
                  <a:gd name="T71" fmla="*/ 117 h 133"/>
                  <a:gd name="T72" fmla="*/ 54 w 123"/>
                  <a:gd name="T73" fmla="*/ 125 h 133"/>
                  <a:gd name="T74" fmla="*/ 86 w 123"/>
                  <a:gd name="T75" fmla="*/ 133 h 133"/>
                  <a:gd name="T76" fmla="*/ 98 w 123"/>
                  <a:gd name="T77" fmla="*/ 123 h 133"/>
                  <a:gd name="T78" fmla="*/ 105 w 123"/>
                  <a:gd name="T79" fmla="*/ 114 h 133"/>
                  <a:gd name="T80" fmla="*/ 115 w 123"/>
                  <a:gd name="T81" fmla="*/ 114 h 133"/>
                  <a:gd name="T82" fmla="*/ 123 w 123"/>
                  <a:gd name="T83" fmla="*/ 119 h 133"/>
                  <a:gd name="T84" fmla="*/ 123 w 123"/>
                  <a:gd name="T85" fmla="*/ 11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3" h="133">
                    <a:moveTo>
                      <a:pt x="123" y="115"/>
                    </a:moveTo>
                    <a:lnTo>
                      <a:pt x="121" y="112"/>
                    </a:lnTo>
                    <a:lnTo>
                      <a:pt x="121" y="106"/>
                    </a:lnTo>
                    <a:lnTo>
                      <a:pt x="117" y="106"/>
                    </a:lnTo>
                    <a:lnTo>
                      <a:pt x="115" y="100"/>
                    </a:lnTo>
                    <a:lnTo>
                      <a:pt x="117" y="96"/>
                    </a:lnTo>
                    <a:lnTo>
                      <a:pt x="115" y="92"/>
                    </a:lnTo>
                    <a:lnTo>
                      <a:pt x="113" y="87"/>
                    </a:lnTo>
                    <a:lnTo>
                      <a:pt x="109" y="83"/>
                    </a:lnTo>
                    <a:lnTo>
                      <a:pt x="107" y="81"/>
                    </a:lnTo>
                    <a:lnTo>
                      <a:pt x="105" y="79"/>
                    </a:lnTo>
                    <a:lnTo>
                      <a:pt x="102" y="79"/>
                    </a:lnTo>
                    <a:lnTo>
                      <a:pt x="102" y="77"/>
                    </a:lnTo>
                    <a:lnTo>
                      <a:pt x="102" y="75"/>
                    </a:lnTo>
                    <a:lnTo>
                      <a:pt x="98" y="69"/>
                    </a:lnTo>
                    <a:lnTo>
                      <a:pt x="92" y="66"/>
                    </a:lnTo>
                    <a:lnTo>
                      <a:pt x="88" y="60"/>
                    </a:lnTo>
                    <a:lnTo>
                      <a:pt x="86" y="54"/>
                    </a:lnTo>
                    <a:lnTo>
                      <a:pt x="84" y="52"/>
                    </a:lnTo>
                    <a:lnTo>
                      <a:pt x="82" y="48"/>
                    </a:lnTo>
                    <a:lnTo>
                      <a:pt x="84" y="46"/>
                    </a:lnTo>
                    <a:lnTo>
                      <a:pt x="84" y="43"/>
                    </a:lnTo>
                    <a:lnTo>
                      <a:pt x="86" y="41"/>
                    </a:lnTo>
                    <a:lnTo>
                      <a:pt x="88" y="41"/>
                    </a:lnTo>
                    <a:lnTo>
                      <a:pt x="90" y="39"/>
                    </a:lnTo>
                    <a:lnTo>
                      <a:pt x="88" y="33"/>
                    </a:lnTo>
                    <a:lnTo>
                      <a:pt x="90" y="31"/>
                    </a:lnTo>
                    <a:lnTo>
                      <a:pt x="94" y="31"/>
                    </a:lnTo>
                    <a:lnTo>
                      <a:pt x="94" y="29"/>
                    </a:lnTo>
                    <a:lnTo>
                      <a:pt x="92" y="27"/>
                    </a:lnTo>
                    <a:lnTo>
                      <a:pt x="90" y="27"/>
                    </a:lnTo>
                    <a:lnTo>
                      <a:pt x="86" y="27"/>
                    </a:lnTo>
                    <a:lnTo>
                      <a:pt x="84" y="27"/>
                    </a:lnTo>
                    <a:lnTo>
                      <a:pt x="82" y="25"/>
                    </a:lnTo>
                    <a:lnTo>
                      <a:pt x="79" y="25"/>
                    </a:lnTo>
                    <a:lnTo>
                      <a:pt x="77" y="23"/>
                    </a:lnTo>
                    <a:lnTo>
                      <a:pt x="75" y="21"/>
                    </a:lnTo>
                    <a:lnTo>
                      <a:pt x="75" y="20"/>
                    </a:lnTo>
                    <a:lnTo>
                      <a:pt x="73" y="18"/>
                    </a:lnTo>
                    <a:lnTo>
                      <a:pt x="73" y="16"/>
                    </a:lnTo>
                    <a:lnTo>
                      <a:pt x="71" y="14"/>
                    </a:lnTo>
                    <a:lnTo>
                      <a:pt x="73" y="10"/>
                    </a:lnTo>
                    <a:lnTo>
                      <a:pt x="71" y="6"/>
                    </a:lnTo>
                    <a:lnTo>
                      <a:pt x="69" y="4"/>
                    </a:lnTo>
                    <a:lnTo>
                      <a:pt x="65" y="2"/>
                    </a:lnTo>
                    <a:lnTo>
                      <a:pt x="61" y="4"/>
                    </a:lnTo>
                    <a:lnTo>
                      <a:pt x="59" y="0"/>
                    </a:lnTo>
                    <a:lnTo>
                      <a:pt x="57" y="0"/>
                    </a:lnTo>
                    <a:lnTo>
                      <a:pt x="56" y="0"/>
                    </a:lnTo>
                    <a:lnTo>
                      <a:pt x="54" y="4"/>
                    </a:lnTo>
                    <a:lnTo>
                      <a:pt x="50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2" y="2"/>
                    </a:lnTo>
                    <a:lnTo>
                      <a:pt x="42" y="6"/>
                    </a:lnTo>
                    <a:lnTo>
                      <a:pt x="40" y="12"/>
                    </a:lnTo>
                    <a:lnTo>
                      <a:pt x="36" y="14"/>
                    </a:lnTo>
                    <a:lnTo>
                      <a:pt x="33" y="20"/>
                    </a:lnTo>
                    <a:lnTo>
                      <a:pt x="34" y="21"/>
                    </a:lnTo>
                    <a:lnTo>
                      <a:pt x="34" y="25"/>
                    </a:lnTo>
                    <a:lnTo>
                      <a:pt x="33" y="29"/>
                    </a:lnTo>
                    <a:lnTo>
                      <a:pt x="33" y="33"/>
                    </a:lnTo>
                    <a:lnTo>
                      <a:pt x="33" y="37"/>
                    </a:lnTo>
                    <a:lnTo>
                      <a:pt x="33" y="39"/>
                    </a:lnTo>
                    <a:lnTo>
                      <a:pt x="31" y="43"/>
                    </a:lnTo>
                    <a:lnTo>
                      <a:pt x="29" y="46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0" y="71"/>
                    </a:lnTo>
                    <a:lnTo>
                      <a:pt x="8" y="92"/>
                    </a:lnTo>
                    <a:lnTo>
                      <a:pt x="42" y="114"/>
                    </a:lnTo>
                    <a:lnTo>
                      <a:pt x="44" y="117"/>
                    </a:lnTo>
                    <a:lnTo>
                      <a:pt x="52" y="117"/>
                    </a:lnTo>
                    <a:lnTo>
                      <a:pt x="54" y="125"/>
                    </a:lnTo>
                    <a:lnTo>
                      <a:pt x="63" y="131"/>
                    </a:lnTo>
                    <a:lnTo>
                      <a:pt x="86" y="133"/>
                    </a:lnTo>
                    <a:lnTo>
                      <a:pt x="90" y="129"/>
                    </a:lnTo>
                    <a:lnTo>
                      <a:pt x="98" y="123"/>
                    </a:lnTo>
                    <a:lnTo>
                      <a:pt x="102" y="117"/>
                    </a:lnTo>
                    <a:lnTo>
                      <a:pt x="105" y="114"/>
                    </a:lnTo>
                    <a:lnTo>
                      <a:pt x="111" y="115"/>
                    </a:lnTo>
                    <a:lnTo>
                      <a:pt x="115" y="114"/>
                    </a:lnTo>
                    <a:lnTo>
                      <a:pt x="119" y="117"/>
                    </a:lnTo>
                    <a:lnTo>
                      <a:pt x="123" y="119"/>
                    </a:lnTo>
                    <a:lnTo>
                      <a:pt x="123" y="117"/>
                    </a:lnTo>
                    <a:lnTo>
                      <a:pt x="123" y="11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4" name="Freeform 162"/>
              <p:cNvSpPr>
                <a:spLocks noEditPoints="1"/>
              </p:cNvSpPr>
              <p:nvPr/>
            </p:nvSpPr>
            <p:spPr bwMode="gray">
              <a:xfrm>
                <a:off x="5203649" y="3443289"/>
                <a:ext cx="384132" cy="390525"/>
              </a:xfrm>
              <a:custGeom>
                <a:avLst/>
                <a:gdLst>
                  <a:gd name="T0" fmla="*/ 230 w 242"/>
                  <a:gd name="T1" fmla="*/ 219 h 246"/>
                  <a:gd name="T2" fmla="*/ 236 w 242"/>
                  <a:gd name="T3" fmla="*/ 205 h 246"/>
                  <a:gd name="T4" fmla="*/ 221 w 242"/>
                  <a:gd name="T5" fmla="*/ 182 h 246"/>
                  <a:gd name="T6" fmla="*/ 230 w 242"/>
                  <a:gd name="T7" fmla="*/ 146 h 246"/>
                  <a:gd name="T8" fmla="*/ 215 w 242"/>
                  <a:gd name="T9" fmla="*/ 134 h 246"/>
                  <a:gd name="T10" fmla="*/ 206 w 242"/>
                  <a:gd name="T11" fmla="*/ 110 h 246"/>
                  <a:gd name="T12" fmla="*/ 207 w 242"/>
                  <a:gd name="T13" fmla="*/ 90 h 246"/>
                  <a:gd name="T14" fmla="*/ 219 w 242"/>
                  <a:gd name="T15" fmla="*/ 79 h 246"/>
                  <a:gd name="T16" fmla="*/ 223 w 242"/>
                  <a:gd name="T17" fmla="*/ 56 h 246"/>
                  <a:gd name="T18" fmla="*/ 207 w 242"/>
                  <a:gd name="T19" fmla="*/ 40 h 246"/>
                  <a:gd name="T20" fmla="*/ 179 w 242"/>
                  <a:gd name="T21" fmla="*/ 27 h 246"/>
                  <a:gd name="T22" fmla="*/ 146 w 242"/>
                  <a:gd name="T23" fmla="*/ 27 h 246"/>
                  <a:gd name="T24" fmla="*/ 133 w 242"/>
                  <a:gd name="T25" fmla="*/ 35 h 246"/>
                  <a:gd name="T26" fmla="*/ 121 w 242"/>
                  <a:gd name="T27" fmla="*/ 54 h 246"/>
                  <a:gd name="T28" fmla="*/ 102 w 242"/>
                  <a:gd name="T29" fmla="*/ 54 h 246"/>
                  <a:gd name="T30" fmla="*/ 77 w 242"/>
                  <a:gd name="T31" fmla="*/ 44 h 246"/>
                  <a:gd name="T32" fmla="*/ 67 w 242"/>
                  <a:gd name="T33" fmla="*/ 44 h 246"/>
                  <a:gd name="T34" fmla="*/ 58 w 242"/>
                  <a:gd name="T35" fmla="*/ 23 h 246"/>
                  <a:gd name="T36" fmla="*/ 52 w 242"/>
                  <a:gd name="T37" fmla="*/ 15 h 246"/>
                  <a:gd name="T38" fmla="*/ 52 w 242"/>
                  <a:gd name="T39" fmla="*/ 6 h 246"/>
                  <a:gd name="T40" fmla="*/ 48 w 242"/>
                  <a:gd name="T41" fmla="*/ 0 h 246"/>
                  <a:gd name="T42" fmla="*/ 37 w 242"/>
                  <a:gd name="T43" fmla="*/ 10 h 246"/>
                  <a:gd name="T44" fmla="*/ 27 w 242"/>
                  <a:gd name="T45" fmla="*/ 15 h 246"/>
                  <a:gd name="T46" fmla="*/ 17 w 242"/>
                  <a:gd name="T47" fmla="*/ 10 h 246"/>
                  <a:gd name="T48" fmla="*/ 10 w 242"/>
                  <a:gd name="T49" fmla="*/ 8 h 246"/>
                  <a:gd name="T50" fmla="*/ 2 w 242"/>
                  <a:gd name="T51" fmla="*/ 8 h 246"/>
                  <a:gd name="T52" fmla="*/ 2 w 242"/>
                  <a:gd name="T53" fmla="*/ 17 h 246"/>
                  <a:gd name="T54" fmla="*/ 2 w 242"/>
                  <a:gd name="T55" fmla="*/ 33 h 246"/>
                  <a:gd name="T56" fmla="*/ 4 w 242"/>
                  <a:gd name="T57" fmla="*/ 46 h 246"/>
                  <a:gd name="T58" fmla="*/ 8 w 242"/>
                  <a:gd name="T59" fmla="*/ 58 h 246"/>
                  <a:gd name="T60" fmla="*/ 12 w 242"/>
                  <a:gd name="T61" fmla="*/ 65 h 246"/>
                  <a:gd name="T62" fmla="*/ 21 w 242"/>
                  <a:gd name="T63" fmla="*/ 69 h 246"/>
                  <a:gd name="T64" fmla="*/ 29 w 242"/>
                  <a:gd name="T65" fmla="*/ 73 h 246"/>
                  <a:gd name="T66" fmla="*/ 23 w 242"/>
                  <a:gd name="T67" fmla="*/ 83 h 246"/>
                  <a:gd name="T68" fmla="*/ 17 w 242"/>
                  <a:gd name="T69" fmla="*/ 90 h 246"/>
                  <a:gd name="T70" fmla="*/ 27 w 242"/>
                  <a:gd name="T71" fmla="*/ 108 h 246"/>
                  <a:gd name="T72" fmla="*/ 37 w 242"/>
                  <a:gd name="T73" fmla="*/ 121 h 246"/>
                  <a:gd name="T74" fmla="*/ 48 w 242"/>
                  <a:gd name="T75" fmla="*/ 129 h 246"/>
                  <a:gd name="T76" fmla="*/ 52 w 242"/>
                  <a:gd name="T77" fmla="*/ 148 h 246"/>
                  <a:gd name="T78" fmla="*/ 63 w 242"/>
                  <a:gd name="T79" fmla="*/ 161 h 246"/>
                  <a:gd name="T80" fmla="*/ 79 w 242"/>
                  <a:gd name="T81" fmla="*/ 171 h 246"/>
                  <a:gd name="T82" fmla="*/ 88 w 242"/>
                  <a:gd name="T83" fmla="*/ 192 h 246"/>
                  <a:gd name="T84" fmla="*/ 94 w 242"/>
                  <a:gd name="T85" fmla="*/ 202 h 246"/>
                  <a:gd name="T86" fmla="*/ 102 w 242"/>
                  <a:gd name="T87" fmla="*/ 211 h 246"/>
                  <a:gd name="T88" fmla="*/ 142 w 242"/>
                  <a:gd name="T89" fmla="*/ 217 h 246"/>
                  <a:gd name="T90" fmla="*/ 158 w 242"/>
                  <a:gd name="T91" fmla="*/ 213 h 246"/>
                  <a:gd name="T92" fmla="*/ 169 w 242"/>
                  <a:gd name="T93" fmla="*/ 238 h 246"/>
                  <a:gd name="T94" fmla="*/ 196 w 242"/>
                  <a:gd name="T95" fmla="*/ 240 h 246"/>
                  <a:gd name="T96" fmla="*/ 209 w 242"/>
                  <a:gd name="T97" fmla="*/ 246 h 246"/>
                  <a:gd name="T98" fmla="*/ 21 w 242"/>
                  <a:gd name="T99" fmla="*/ 37 h 246"/>
                  <a:gd name="T100" fmla="*/ 19 w 242"/>
                  <a:gd name="T101" fmla="*/ 56 h 246"/>
                  <a:gd name="T102" fmla="*/ 12 w 242"/>
                  <a:gd name="T103" fmla="*/ 37 h 246"/>
                  <a:gd name="T104" fmla="*/ 8 w 242"/>
                  <a:gd name="T105" fmla="*/ 29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2" h="246">
                    <a:moveTo>
                      <a:pt x="213" y="246"/>
                    </a:moveTo>
                    <a:lnTo>
                      <a:pt x="215" y="232"/>
                    </a:lnTo>
                    <a:lnTo>
                      <a:pt x="223" y="221"/>
                    </a:lnTo>
                    <a:lnTo>
                      <a:pt x="230" y="219"/>
                    </a:lnTo>
                    <a:lnTo>
                      <a:pt x="238" y="217"/>
                    </a:lnTo>
                    <a:lnTo>
                      <a:pt x="242" y="213"/>
                    </a:lnTo>
                    <a:lnTo>
                      <a:pt x="242" y="209"/>
                    </a:lnTo>
                    <a:lnTo>
                      <a:pt x="236" y="205"/>
                    </a:lnTo>
                    <a:lnTo>
                      <a:pt x="236" y="198"/>
                    </a:lnTo>
                    <a:lnTo>
                      <a:pt x="232" y="192"/>
                    </a:lnTo>
                    <a:lnTo>
                      <a:pt x="227" y="190"/>
                    </a:lnTo>
                    <a:lnTo>
                      <a:pt x="221" y="182"/>
                    </a:lnTo>
                    <a:lnTo>
                      <a:pt x="219" y="179"/>
                    </a:lnTo>
                    <a:lnTo>
                      <a:pt x="221" y="175"/>
                    </a:lnTo>
                    <a:lnTo>
                      <a:pt x="217" y="161"/>
                    </a:lnTo>
                    <a:lnTo>
                      <a:pt x="230" y="146"/>
                    </a:lnTo>
                    <a:lnTo>
                      <a:pt x="230" y="142"/>
                    </a:lnTo>
                    <a:lnTo>
                      <a:pt x="227" y="138"/>
                    </a:lnTo>
                    <a:lnTo>
                      <a:pt x="215" y="138"/>
                    </a:lnTo>
                    <a:lnTo>
                      <a:pt x="215" y="134"/>
                    </a:lnTo>
                    <a:lnTo>
                      <a:pt x="215" y="127"/>
                    </a:lnTo>
                    <a:lnTo>
                      <a:pt x="211" y="121"/>
                    </a:lnTo>
                    <a:lnTo>
                      <a:pt x="207" y="115"/>
                    </a:lnTo>
                    <a:lnTo>
                      <a:pt x="206" y="110"/>
                    </a:lnTo>
                    <a:lnTo>
                      <a:pt x="211" y="106"/>
                    </a:lnTo>
                    <a:lnTo>
                      <a:pt x="207" y="102"/>
                    </a:lnTo>
                    <a:lnTo>
                      <a:pt x="206" y="100"/>
                    </a:lnTo>
                    <a:lnTo>
                      <a:pt x="207" y="90"/>
                    </a:lnTo>
                    <a:lnTo>
                      <a:pt x="209" y="85"/>
                    </a:lnTo>
                    <a:lnTo>
                      <a:pt x="213" y="83"/>
                    </a:lnTo>
                    <a:lnTo>
                      <a:pt x="219" y="83"/>
                    </a:lnTo>
                    <a:lnTo>
                      <a:pt x="219" y="79"/>
                    </a:lnTo>
                    <a:lnTo>
                      <a:pt x="223" y="73"/>
                    </a:lnTo>
                    <a:lnTo>
                      <a:pt x="225" y="67"/>
                    </a:lnTo>
                    <a:lnTo>
                      <a:pt x="223" y="62"/>
                    </a:lnTo>
                    <a:lnTo>
                      <a:pt x="223" y="56"/>
                    </a:lnTo>
                    <a:lnTo>
                      <a:pt x="215" y="54"/>
                    </a:lnTo>
                    <a:lnTo>
                      <a:pt x="213" y="48"/>
                    </a:lnTo>
                    <a:lnTo>
                      <a:pt x="211" y="44"/>
                    </a:lnTo>
                    <a:lnTo>
                      <a:pt x="207" y="40"/>
                    </a:lnTo>
                    <a:lnTo>
                      <a:pt x="200" y="37"/>
                    </a:lnTo>
                    <a:lnTo>
                      <a:pt x="192" y="33"/>
                    </a:lnTo>
                    <a:lnTo>
                      <a:pt x="182" y="29"/>
                    </a:lnTo>
                    <a:lnTo>
                      <a:pt x="179" y="27"/>
                    </a:lnTo>
                    <a:lnTo>
                      <a:pt x="171" y="27"/>
                    </a:lnTo>
                    <a:lnTo>
                      <a:pt x="158" y="23"/>
                    </a:lnTo>
                    <a:lnTo>
                      <a:pt x="150" y="25"/>
                    </a:lnTo>
                    <a:lnTo>
                      <a:pt x="146" y="27"/>
                    </a:lnTo>
                    <a:lnTo>
                      <a:pt x="138" y="27"/>
                    </a:lnTo>
                    <a:lnTo>
                      <a:pt x="134" y="29"/>
                    </a:lnTo>
                    <a:lnTo>
                      <a:pt x="133" y="33"/>
                    </a:lnTo>
                    <a:lnTo>
                      <a:pt x="133" y="35"/>
                    </a:lnTo>
                    <a:lnTo>
                      <a:pt x="129" y="40"/>
                    </a:lnTo>
                    <a:lnTo>
                      <a:pt x="121" y="40"/>
                    </a:lnTo>
                    <a:lnTo>
                      <a:pt x="121" y="46"/>
                    </a:lnTo>
                    <a:lnTo>
                      <a:pt x="121" y="54"/>
                    </a:lnTo>
                    <a:lnTo>
                      <a:pt x="117" y="52"/>
                    </a:lnTo>
                    <a:lnTo>
                      <a:pt x="117" y="50"/>
                    </a:lnTo>
                    <a:lnTo>
                      <a:pt x="110" y="50"/>
                    </a:lnTo>
                    <a:lnTo>
                      <a:pt x="102" y="54"/>
                    </a:lnTo>
                    <a:lnTo>
                      <a:pt x="98" y="54"/>
                    </a:lnTo>
                    <a:lnTo>
                      <a:pt x="92" y="54"/>
                    </a:lnTo>
                    <a:lnTo>
                      <a:pt x="85" y="50"/>
                    </a:lnTo>
                    <a:lnTo>
                      <a:pt x="77" y="44"/>
                    </a:lnTo>
                    <a:lnTo>
                      <a:pt x="77" y="42"/>
                    </a:lnTo>
                    <a:lnTo>
                      <a:pt x="73" y="42"/>
                    </a:lnTo>
                    <a:lnTo>
                      <a:pt x="71" y="42"/>
                    </a:lnTo>
                    <a:lnTo>
                      <a:pt x="67" y="44"/>
                    </a:lnTo>
                    <a:lnTo>
                      <a:pt x="65" y="42"/>
                    </a:lnTo>
                    <a:lnTo>
                      <a:pt x="63" y="40"/>
                    </a:lnTo>
                    <a:lnTo>
                      <a:pt x="62" y="31"/>
                    </a:lnTo>
                    <a:lnTo>
                      <a:pt x="58" y="23"/>
                    </a:lnTo>
                    <a:lnTo>
                      <a:pt x="56" y="23"/>
                    </a:lnTo>
                    <a:lnTo>
                      <a:pt x="56" y="21"/>
                    </a:lnTo>
                    <a:lnTo>
                      <a:pt x="54" y="19"/>
                    </a:lnTo>
                    <a:lnTo>
                      <a:pt x="52" y="15"/>
                    </a:lnTo>
                    <a:lnTo>
                      <a:pt x="50" y="14"/>
                    </a:lnTo>
                    <a:lnTo>
                      <a:pt x="48" y="12"/>
                    </a:lnTo>
                    <a:lnTo>
                      <a:pt x="48" y="10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2" y="4"/>
                    </a:lnTo>
                    <a:lnTo>
                      <a:pt x="52" y="2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4" y="4"/>
                    </a:lnTo>
                    <a:lnTo>
                      <a:pt x="40" y="6"/>
                    </a:lnTo>
                    <a:lnTo>
                      <a:pt x="37" y="10"/>
                    </a:lnTo>
                    <a:lnTo>
                      <a:pt x="37" y="10"/>
                    </a:lnTo>
                    <a:lnTo>
                      <a:pt x="35" y="12"/>
                    </a:lnTo>
                    <a:lnTo>
                      <a:pt x="29" y="15"/>
                    </a:lnTo>
                    <a:lnTo>
                      <a:pt x="27" y="15"/>
                    </a:lnTo>
                    <a:lnTo>
                      <a:pt x="25" y="15"/>
                    </a:lnTo>
                    <a:lnTo>
                      <a:pt x="23" y="14"/>
                    </a:lnTo>
                    <a:lnTo>
                      <a:pt x="19" y="14"/>
                    </a:lnTo>
                    <a:lnTo>
                      <a:pt x="17" y="10"/>
                    </a:lnTo>
                    <a:lnTo>
                      <a:pt x="16" y="8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2" y="17"/>
                    </a:lnTo>
                    <a:lnTo>
                      <a:pt x="2" y="21"/>
                    </a:lnTo>
                    <a:lnTo>
                      <a:pt x="0" y="23"/>
                    </a:lnTo>
                    <a:lnTo>
                      <a:pt x="0" y="29"/>
                    </a:lnTo>
                    <a:lnTo>
                      <a:pt x="2" y="33"/>
                    </a:lnTo>
                    <a:lnTo>
                      <a:pt x="4" y="37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4" y="46"/>
                    </a:lnTo>
                    <a:lnTo>
                      <a:pt x="6" y="48"/>
                    </a:lnTo>
                    <a:lnTo>
                      <a:pt x="8" y="52"/>
                    </a:lnTo>
                    <a:lnTo>
                      <a:pt x="6" y="56"/>
                    </a:lnTo>
                    <a:lnTo>
                      <a:pt x="8" y="58"/>
                    </a:lnTo>
                    <a:lnTo>
                      <a:pt x="8" y="60"/>
                    </a:lnTo>
                    <a:lnTo>
                      <a:pt x="10" y="62"/>
                    </a:lnTo>
                    <a:lnTo>
                      <a:pt x="10" y="63"/>
                    </a:lnTo>
                    <a:lnTo>
                      <a:pt x="12" y="65"/>
                    </a:lnTo>
                    <a:lnTo>
                      <a:pt x="14" y="67"/>
                    </a:lnTo>
                    <a:lnTo>
                      <a:pt x="17" y="67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5" y="69"/>
                    </a:lnTo>
                    <a:lnTo>
                      <a:pt x="27" y="69"/>
                    </a:lnTo>
                    <a:lnTo>
                      <a:pt x="29" y="71"/>
                    </a:lnTo>
                    <a:lnTo>
                      <a:pt x="29" y="73"/>
                    </a:lnTo>
                    <a:lnTo>
                      <a:pt x="25" y="73"/>
                    </a:lnTo>
                    <a:lnTo>
                      <a:pt x="23" y="75"/>
                    </a:lnTo>
                    <a:lnTo>
                      <a:pt x="25" y="81"/>
                    </a:lnTo>
                    <a:lnTo>
                      <a:pt x="23" y="83"/>
                    </a:lnTo>
                    <a:lnTo>
                      <a:pt x="21" y="83"/>
                    </a:lnTo>
                    <a:lnTo>
                      <a:pt x="19" y="85"/>
                    </a:lnTo>
                    <a:lnTo>
                      <a:pt x="19" y="88"/>
                    </a:lnTo>
                    <a:lnTo>
                      <a:pt x="17" y="90"/>
                    </a:lnTo>
                    <a:lnTo>
                      <a:pt x="19" y="94"/>
                    </a:lnTo>
                    <a:lnTo>
                      <a:pt x="21" y="96"/>
                    </a:lnTo>
                    <a:lnTo>
                      <a:pt x="23" y="102"/>
                    </a:lnTo>
                    <a:lnTo>
                      <a:pt x="27" y="108"/>
                    </a:lnTo>
                    <a:lnTo>
                      <a:pt x="33" y="111"/>
                    </a:lnTo>
                    <a:lnTo>
                      <a:pt x="37" y="117"/>
                    </a:lnTo>
                    <a:lnTo>
                      <a:pt x="37" y="119"/>
                    </a:lnTo>
                    <a:lnTo>
                      <a:pt x="37" y="121"/>
                    </a:lnTo>
                    <a:lnTo>
                      <a:pt x="40" y="121"/>
                    </a:lnTo>
                    <a:lnTo>
                      <a:pt x="42" y="123"/>
                    </a:lnTo>
                    <a:lnTo>
                      <a:pt x="44" y="125"/>
                    </a:lnTo>
                    <a:lnTo>
                      <a:pt x="48" y="129"/>
                    </a:lnTo>
                    <a:lnTo>
                      <a:pt x="50" y="134"/>
                    </a:lnTo>
                    <a:lnTo>
                      <a:pt x="52" y="138"/>
                    </a:lnTo>
                    <a:lnTo>
                      <a:pt x="50" y="142"/>
                    </a:lnTo>
                    <a:lnTo>
                      <a:pt x="52" y="148"/>
                    </a:lnTo>
                    <a:lnTo>
                      <a:pt x="56" y="148"/>
                    </a:lnTo>
                    <a:lnTo>
                      <a:pt x="56" y="154"/>
                    </a:lnTo>
                    <a:lnTo>
                      <a:pt x="58" y="157"/>
                    </a:lnTo>
                    <a:lnTo>
                      <a:pt x="63" y="161"/>
                    </a:lnTo>
                    <a:lnTo>
                      <a:pt x="69" y="163"/>
                    </a:lnTo>
                    <a:lnTo>
                      <a:pt x="71" y="161"/>
                    </a:lnTo>
                    <a:lnTo>
                      <a:pt x="75" y="159"/>
                    </a:lnTo>
                    <a:lnTo>
                      <a:pt x="79" y="171"/>
                    </a:lnTo>
                    <a:lnTo>
                      <a:pt x="85" y="184"/>
                    </a:lnTo>
                    <a:lnTo>
                      <a:pt x="88" y="186"/>
                    </a:lnTo>
                    <a:lnTo>
                      <a:pt x="88" y="190"/>
                    </a:lnTo>
                    <a:lnTo>
                      <a:pt x="88" y="192"/>
                    </a:lnTo>
                    <a:lnTo>
                      <a:pt x="92" y="192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4" y="202"/>
                    </a:lnTo>
                    <a:lnTo>
                      <a:pt x="98" y="204"/>
                    </a:lnTo>
                    <a:lnTo>
                      <a:pt x="102" y="205"/>
                    </a:lnTo>
                    <a:lnTo>
                      <a:pt x="102" y="207"/>
                    </a:lnTo>
                    <a:lnTo>
                      <a:pt x="102" y="211"/>
                    </a:lnTo>
                    <a:lnTo>
                      <a:pt x="111" y="219"/>
                    </a:lnTo>
                    <a:lnTo>
                      <a:pt x="125" y="223"/>
                    </a:lnTo>
                    <a:lnTo>
                      <a:pt x="133" y="223"/>
                    </a:lnTo>
                    <a:lnTo>
                      <a:pt x="142" y="217"/>
                    </a:lnTo>
                    <a:lnTo>
                      <a:pt x="152" y="213"/>
                    </a:lnTo>
                    <a:lnTo>
                      <a:pt x="152" y="211"/>
                    </a:lnTo>
                    <a:lnTo>
                      <a:pt x="154" y="211"/>
                    </a:lnTo>
                    <a:lnTo>
                      <a:pt x="158" y="213"/>
                    </a:lnTo>
                    <a:lnTo>
                      <a:pt x="161" y="217"/>
                    </a:lnTo>
                    <a:lnTo>
                      <a:pt x="163" y="227"/>
                    </a:lnTo>
                    <a:lnTo>
                      <a:pt x="165" y="234"/>
                    </a:lnTo>
                    <a:lnTo>
                      <a:pt x="169" y="238"/>
                    </a:lnTo>
                    <a:lnTo>
                      <a:pt x="175" y="240"/>
                    </a:lnTo>
                    <a:lnTo>
                      <a:pt x="179" y="240"/>
                    </a:lnTo>
                    <a:lnTo>
                      <a:pt x="184" y="240"/>
                    </a:lnTo>
                    <a:lnTo>
                      <a:pt x="196" y="240"/>
                    </a:lnTo>
                    <a:lnTo>
                      <a:pt x="204" y="240"/>
                    </a:lnTo>
                    <a:lnTo>
                      <a:pt x="207" y="244"/>
                    </a:lnTo>
                    <a:lnTo>
                      <a:pt x="209" y="246"/>
                    </a:lnTo>
                    <a:lnTo>
                      <a:pt x="209" y="246"/>
                    </a:lnTo>
                    <a:lnTo>
                      <a:pt x="213" y="246"/>
                    </a:lnTo>
                    <a:close/>
                    <a:moveTo>
                      <a:pt x="10" y="29"/>
                    </a:moveTo>
                    <a:lnTo>
                      <a:pt x="17" y="31"/>
                    </a:lnTo>
                    <a:lnTo>
                      <a:pt x="21" y="37"/>
                    </a:lnTo>
                    <a:lnTo>
                      <a:pt x="25" y="44"/>
                    </a:lnTo>
                    <a:lnTo>
                      <a:pt x="27" y="52"/>
                    </a:lnTo>
                    <a:lnTo>
                      <a:pt x="23" y="54"/>
                    </a:lnTo>
                    <a:lnTo>
                      <a:pt x="19" y="56"/>
                    </a:lnTo>
                    <a:lnTo>
                      <a:pt x="16" y="48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12" y="37"/>
                    </a:lnTo>
                    <a:lnTo>
                      <a:pt x="12" y="33"/>
                    </a:lnTo>
                    <a:lnTo>
                      <a:pt x="10" y="31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10" y="2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5" name="Freeform 163"/>
              <p:cNvSpPr>
                <a:spLocks noEditPoints="1"/>
              </p:cNvSpPr>
              <p:nvPr/>
            </p:nvSpPr>
            <p:spPr bwMode="gray">
              <a:xfrm>
                <a:off x="6206837" y="4311651"/>
                <a:ext cx="898425" cy="417513"/>
              </a:xfrm>
              <a:custGeom>
                <a:avLst/>
                <a:gdLst>
                  <a:gd name="T0" fmla="*/ 531 w 566"/>
                  <a:gd name="T1" fmla="*/ 123 h 263"/>
                  <a:gd name="T2" fmla="*/ 489 w 566"/>
                  <a:gd name="T3" fmla="*/ 136 h 263"/>
                  <a:gd name="T4" fmla="*/ 452 w 566"/>
                  <a:gd name="T5" fmla="*/ 109 h 263"/>
                  <a:gd name="T6" fmla="*/ 477 w 566"/>
                  <a:gd name="T7" fmla="*/ 134 h 263"/>
                  <a:gd name="T8" fmla="*/ 472 w 566"/>
                  <a:gd name="T9" fmla="*/ 154 h 263"/>
                  <a:gd name="T10" fmla="*/ 518 w 566"/>
                  <a:gd name="T11" fmla="*/ 175 h 263"/>
                  <a:gd name="T12" fmla="*/ 539 w 566"/>
                  <a:gd name="T13" fmla="*/ 225 h 263"/>
                  <a:gd name="T14" fmla="*/ 163 w 566"/>
                  <a:gd name="T15" fmla="*/ 29 h 263"/>
                  <a:gd name="T16" fmla="*/ 418 w 566"/>
                  <a:gd name="T17" fmla="*/ 61 h 263"/>
                  <a:gd name="T18" fmla="*/ 404 w 566"/>
                  <a:gd name="T19" fmla="*/ 88 h 263"/>
                  <a:gd name="T20" fmla="*/ 410 w 566"/>
                  <a:gd name="T21" fmla="*/ 77 h 263"/>
                  <a:gd name="T22" fmla="*/ 90 w 566"/>
                  <a:gd name="T23" fmla="*/ 65 h 263"/>
                  <a:gd name="T24" fmla="*/ 326 w 566"/>
                  <a:gd name="T25" fmla="*/ 79 h 263"/>
                  <a:gd name="T26" fmla="*/ 301 w 566"/>
                  <a:gd name="T27" fmla="*/ 108 h 263"/>
                  <a:gd name="T28" fmla="*/ 312 w 566"/>
                  <a:gd name="T29" fmla="*/ 175 h 263"/>
                  <a:gd name="T30" fmla="*/ 328 w 566"/>
                  <a:gd name="T31" fmla="*/ 157 h 263"/>
                  <a:gd name="T32" fmla="*/ 341 w 566"/>
                  <a:gd name="T33" fmla="*/ 146 h 263"/>
                  <a:gd name="T34" fmla="*/ 343 w 566"/>
                  <a:gd name="T35" fmla="*/ 121 h 263"/>
                  <a:gd name="T36" fmla="*/ 318 w 566"/>
                  <a:gd name="T37" fmla="*/ 106 h 263"/>
                  <a:gd name="T38" fmla="*/ 374 w 566"/>
                  <a:gd name="T39" fmla="*/ 69 h 263"/>
                  <a:gd name="T40" fmla="*/ 401 w 566"/>
                  <a:gd name="T41" fmla="*/ 104 h 263"/>
                  <a:gd name="T42" fmla="*/ 53 w 566"/>
                  <a:gd name="T43" fmla="*/ 115 h 263"/>
                  <a:gd name="T44" fmla="*/ 128 w 566"/>
                  <a:gd name="T45" fmla="*/ 127 h 263"/>
                  <a:gd name="T46" fmla="*/ 128 w 566"/>
                  <a:gd name="T47" fmla="*/ 119 h 263"/>
                  <a:gd name="T48" fmla="*/ 437 w 566"/>
                  <a:gd name="T49" fmla="*/ 123 h 263"/>
                  <a:gd name="T50" fmla="*/ 163 w 566"/>
                  <a:gd name="T51" fmla="*/ 138 h 263"/>
                  <a:gd name="T52" fmla="*/ 428 w 566"/>
                  <a:gd name="T53" fmla="*/ 142 h 263"/>
                  <a:gd name="T54" fmla="*/ 345 w 566"/>
                  <a:gd name="T55" fmla="*/ 167 h 263"/>
                  <a:gd name="T56" fmla="*/ 128 w 566"/>
                  <a:gd name="T57" fmla="*/ 196 h 263"/>
                  <a:gd name="T58" fmla="*/ 193 w 566"/>
                  <a:gd name="T59" fmla="*/ 211 h 263"/>
                  <a:gd name="T60" fmla="*/ 239 w 566"/>
                  <a:gd name="T61" fmla="*/ 205 h 263"/>
                  <a:gd name="T62" fmla="*/ 195 w 566"/>
                  <a:gd name="T63" fmla="*/ 188 h 263"/>
                  <a:gd name="T64" fmla="*/ 483 w 566"/>
                  <a:gd name="T65" fmla="*/ 196 h 263"/>
                  <a:gd name="T66" fmla="*/ 491 w 566"/>
                  <a:gd name="T67" fmla="*/ 190 h 263"/>
                  <a:gd name="T68" fmla="*/ 447 w 566"/>
                  <a:gd name="T69" fmla="*/ 219 h 263"/>
                  <a:gd name="T70" fmla="*/ 249 w 566"/>
                  <a:gd name="T71" fmla="*/ 219 h 263"/>
                  <a:gd name="T72" fmla="*/ 383 w 566"/>
                  <a:gd name="T73" fmla="*/ 217 h 263"/>
                  <a:gd name="T74" fmla="*/ 270 w 566"/>
                  <a:gd name="T75" fmla="*/ 221 h 263"/>
                  <a:gd name="T76" fmla="*/ 278 w 566"/>
                  <a:gd name="T77" fmla="*/ 226 h 263"/>
                  <a:gd name="T78" fmla="*/ 314 w 566"/>
                  <a:gd name="T79" fmla="*/ 221 h 263"/>
                  <a:gd name="T80" fmla="*/ 347 w 566"/>
                  <a:gd name="T81" fmla="*/ 223 h 263"/>
                  <a:gd name="T82" fmla="*/ 368 w 566"/>
                  <a:gd name="T83" fmla="*/ 236 h 263"/>
                  <a:gd name="T84" fmla="*/ 345 w 566"/>
                  <a:gd name="T85" fmla="*/ 261 h 263"/>
                  <a:gd name="T86" fmla="*/ 399 w 566"/>
                  <a:gd name="T87" fmla="*/ 225 h 263"/>
                  <a:gd name="T88" fmla="*/ 90 w 566"/>
                  <a:gd name="T89" fmla="*/ 75 h 263"/>
                  <a:gd name="T90" fmla="*/ 176 w 566"/>
                  <a:gd name="T91" fmla="*/ 111 h 263"/>
                  <a:gd name="T92" fmla="*/ 224 w 566"/>
                  <a:gd name="T93" fmla="*/ 140 h 263"/>
                  <a:gd name="T94" fmla="*/ 264 w 566"/>
                  <a:gd name="T95" fmla="*/ 132 h 263"/>
                  <a:gd name="T96" fmla="*/ 282 w 566"/>
                  <a:gd name="T97" fmla="*/ 83 h 263"/>
                  <a:gd name="T98" fmla="*/ 276 w 566"/>
                  <a:gd name="T99" fmla="*/ 42 h 263"/>
                  <a:gd name="T100" fmla="*/ 247 w 566"/>
                  <a:gd name="T101" fmla="*/ 56 h 263"/>
                  <a:gd name="T102" fmla="*/ 193 w 566"/>
                  <a:gd name="T103" fmla="*/ 79 h 263"/>
                  <a:gd name="T104" fmla="*/ 23 w 566"/>
                  <a:gd name="T105" fmla="*/ 35 h 263"/>
                  <a:gd name="T106" fmla="*/ 88 w 566"/>
                  <a:gd name="T107" fmla="*/ 142 h 263"/>
                  <a:gd name="T108" fmla="*/ 134 w 566"/>
                  <a:gd name="T109" fmla="*/ 169 h 263"/>
                  <a:gd name="T110" fmla="*/ 126 w 566"/>
                  <a:gd name="T111" fmla="*/ 129 h 263"/>
                  <a:gd name="T112" fmla="*/ 101 w 566"/>
                  <a:gd name="T113" fmla="*/ 84 h 263"/>
                  <a:gd name="T114" fmla="*/ 76 w 566"/>
                  <a:gd name="T115" fmla="*/ 56 h 263"/>
                  <a:gd name="T116" fmla="*/ 51 w 566"/>
                  <a:gd name="T117" fmla="*/ 35 h 263"/>
                  <a:gd name="T118" fmla="*/ 1 w 566"/>
                  <a:gd name="T119" fmla="*/ 0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66" h="263">
                    <a:moveTo>
                      <a:pt x="566" y="238"/>
                    </a:moveTo>
                    <a:lnTo>
                      <a:pt x="566" y="205"/>
                    </a:lnTo>
                    <a:lnTo>
                      <a:pt x="562" y="200"/>
                    </a:lnTo>
                    <a:lnTo>
                      <a:pt x="566" y="194"/>
                    </a:lnTo>
                    <a:lnTo>
                      <a:pt x="564" y="138"/>
                    </a:lnTo>
                    <a:lnTo>
                      <a:pt x="564" y="136"/>
                    </a:lnTo>
                    <a:lnTo>
                      <a:pt x="562" y="134"/>
                    </a:lnTo>
                    <a:lnTo>
                      <a:pt x="556" y="134"/>
                    </a:lnTo>
                    <a:lnTo>
                      <a:pt x="548" y="134"/>
                    </a:lnTo>
                    <a:lnTo>
                      <a:pt x="543" y="131"/>
                    </a:lnTo>
                    <a:lnTo>
                      <a:pt x="537" y="127"/>
                    </a:lnTo>
                    <a:lnTo>
                      <a:pt x="531" y="123"/>
                    </a:lnTo>
                    <a:lnTo>
                      <a:pt x="523" y="123"/>
                    </a:lnTo>
                    <a:lnTo>
                      <a:pt x="522" y="127"/>
                    </a:lnTo>
                    <a:lnTo>
                      <a:pt x="520" y="131"/>
                    </a:lnTo>
                    <a:lnTo>
                      <a:pt x="514" y="132"/>
                    </a:lnTo>
                    <a:lnTo>
                      <a:pt x="510" y="134"/>
                    </a:lnTo>
                    <a:lnTo>
                      <a:pt x="508" y="140"/>
                    </a:lnTo>
                    <a:lnTo>
                      <a:pt x="506" y="144"/>
                    </a:lnTo>
                    <a:lnTo>
                      <a:pt x="500" y="146"/>
                    </a:lnTo>
                    <a:lnTo>
                      <a:pt x="495" y="146"/>
                    </a:lnTo>
                    <a:lnTo>
                      <a:pt x="493" y="140"/>
                    </a:lnTo>
                    <a:lnTo>
                      <a:pt x="491" y="134"/>
                    </a:lnTo>
                    <a:lnTo>
                      <a:pt x="489" y="136"/>
                    </a:lnTo>
                    <a:lnTo>
                      <a:pt x="485" y="136"/>
                    </a:lnTo>
                    <a:lnTo>
                      <a:pt x="485" y="123"/>
                    </a:lnTo>
                    <a:lnTo>
                      <a:pt x="485" y="109"/>
                    </a:lnTo>
                    <a:lnTo>
                      <a:pt x="481" y="108"/>
                    </a:lnTo>
                    <a:lnTo>
                      <a:pt x="477" y="106"/>
                    </a:lnTo>
                    <a:lnTo>
                      <a:pt x="474" y="108"/>
                    </a:lnTo>
                    <a:lnTo>
                      <a:pt x="472" y="108"/>
                    </a:lnTo>
                    <a:lnTo>
                      <a:pt x="468" y="106"/>
                    </a:lnTo>
                    <a:lnTo>
                      <a:pt x="460" y="104"/>
                    </a:lnTo>
                    <a:lnTo>
                      <a:pt x="458" y="108"/>
                    </a:lnTo>
                    <a:lnTo>
                      <a:pt x="456" y="109"/>
                    </a:lnTo>
                    <a:lnTo>
                      <a:pt x="452" y="109"/>
                    </a:lnTo>
                    <a:lnTo>
                      <a:pt x="447" y="109"/>
                    </a:lnTo>
                    <a:lnTo>
                      <a:pt x="447" y="113"/>
                    </a:lnTo>
                    <a:lnTo>
                      <a:pt x="447" y="117"/>
                    </a:lnTo>
                    <a:lnTo>
                      <a:pt x="447" y="121"/>
                    </a:lnTo>
                    <a:lnTo>
                      <a:pt x="452" y="121"/>
                    </a:lnTo>
                    <a:lnTo>
                      <a:pt x="456" y="121"/>
                    </a:lnTo>
                    <a:lnTo>
                      <a:pt x="458" y="125"/>
                    </a:lnTo>
                    <a:lnTo>
                      <a:pt x="458" y="129"/>
                    </a:lnTo>
                    <a:lnTo>
                      <a:pt x="470" y="129"/>
                    </a:lnTo>
                    <a:lnTo>
                      <a:pt x="477" y="129"/>
                    </a:lnTo>
                    <a:lnTo>
                      <a:pt x="479" y="132"/>
                    </a:lnTo>
                    <a:lnTo>
                      <a:pt x="477" y="134"/>
                    </a:lnTo>
                    <a:lnTo>
                      <a:pt x="468" y="136"/>
                    </a:lnTo>
                    <a:lnTo>
                      <a:pt x="456" y="136"/>
                    </a:lnTo>
                    <a:lnTo>
                      <a:pt x="468" y="138"/>
                    </a:lnTo>
                    <a:lnTo>
                      <a:pt x="472" y="138"/>
                    </a:lnTo>
                    <a:lnTo>
                      <a:pt x="470" y="140"/>
                    </a:lnTo>
                    <a:lnTo>
                      <a:pt x="468" y="140"/>
                    </a:lnTo>
                    <a:lnTo>
                      <a:pt x="462" y="140"/>
                    </a:lnTo>
                    <a:lnTo>
                      <a:pt x="458" y="140"/>
                    </a:lnTo>
                    <a:lnTo>
                      <a:pt x="458" y="140"/>
                    </a:lnTo>
                    <a:lnTo>
                      <a:pt x="462" y="138"/>
                    </a:lnTo>
                    <a:lnTo>
                      <a:pt x="468" y="146"/>
                    </a:lnTo>
                    <a:lnTo>
                      <a:pt x="472" y="154"/>
                    </a:lnTo>
                    <a:lnTo>
                      <a:pt x="474" y="150"/>
                    </a:lnTo>
                    <a:lnTo>
                      <a:pt x="475" y="148"/>
                    </a:lnTo>
                    <a:lnTo>
                      <a:pt x="477" y="148"/>
                    </a:lnTo>
                    <a:lnTo>
                      <a:pt x="479" y="150"/>
                    </a:lnTo>
                    <a:lnTo>
                      <a:pt x="485" y="152"/>
                    </a:lnTo>
                    <a:lnTo>
                      <a:pt x="489" y="154"/>
                    </a:lnTo>
                    <a:lnTo>
                      <a:pt x="489" y="157"/>
                    </a:lnTo>
                    <a:lnTo>
                      <a:pt x="491" y="161"/>
                    </a:lnTo>
                    <a:lnTo>
                      <a:pt x="504" y="165"/>
                    </a:lnTo>
                    <a:lnTo>
                      <a:pt x="516" y="167"/>
                    </a:lnTo>
                    <a:lnTo>
                      <a:pt x="518" y="171"/>
                    </a:lnTo>
                    <a:lnTo>
                      <a:pt x="518" y="175"/>
                    </a:lnTo>
                    <a:lnTo>
                      <a:pt x="520" y="175"/>
                    </a:lnTo>
                    <a:lnTo>
                      <a:pt x="522" y="173"/>
                    </a:lnTo>
                    <a:lnTo>
                      <a:pt x="525" y="175"/>
                    </a:lnTo>
                    <a:lnTo>
                      <a:pt x="531" y="177"/>
                    </a:lnTo>
                    <a:lnTo>
                      <a:pt x="537" y="198"/>
                    </a:lnTo>
                    <a:lnTo>
                      <a:pt x="541" y="217"/>
                    </a:lnTo>
                    <a:lnTo>
                      <a:pt x="537" y="217"/>
                    </a:lnTo>
                    <a:lnTo>
                      <a:pt x="533" y="217"/>
                    </a:lnTo>
                    <a:lnTo>
                      <a:pt x="529" y="221"/>
                    </a:lnTo>
                    <a:lnTo>
                      <a:pt x="525" y="226"/>
                    </a:lnTo>
                    <a:lnTo>
                      <a:pt x="531" y="226"/>
                    </a:lnTo>
                    <a:lnTo>
                      <a:pt x="539" y="225"/>
                    </a:lnTo>
                    <a:lnTo>
                      <a:pt x="539" y="221"/>
                    </a:lnTo>
                    <a:lnTo>
                      <a:pt x="548" y="221"/>
                    </a:lnTo>
                    <a:lnTo>
                      <a:pt x="556" y="223"/>
                    </a:lnTo>
                    <a:lnTo>
                      <a:pt x="560" y="230"/>
                    </a:lnTo>
                    <a:lnTo>
                      <a:pt x="564" y="238"/>
                    </a:lnTo>
                    <a:lnTo>
                      <a:pt x="566" y="238"/>
                    </a:lnTo>
                    <a:close/>
                    <a:moveTo>
                      <a:pt x="159" y="29"/>
                    </a:moveTo>
                    <a:lnTo>
                      <a:pt x="159" y="33"/>
                    </a:lnTo>
                    <a:lnTo>
                      <a:pt x="161" y="35"/>
                    </a:lnTo>
                    <a:lnTo>
                      <a:pt x="161" y="33"/>
                    </a:lnTo>
                    <a:lnTo>
                      <a:pt x="163" y="31"/>
                    </a:lnTo>
                    <a:lnTo>
                      <a:pt x="163" y="29"/>
                    </a:lnTo>
                    <a:lnTo>
                      <a:pt x="159" y="29"/>
                    </a:lnTo>
                    <a:close/>
                    <a:moveTo>
                      <a:pt x="9" y="46"/>
                    </a:moveTo>
                    <a:lnTo>
                      <a:pt x="11" y="50"/>
                    </a:lnTo>
                    <a:lnTo>
                      <a:pt x="11" y="50"/>
                    </a:lnTo>
                    <a:lnTo>
                      <a:pt x="9" y="46"/>
                    </a:lnTo>
                    <a:close/>
                    <a:moveTo>
                      <a:pt x="412" y="56"/>
                    </a:moveTo>
                    <a:lnTo>
                      <a:pt x="412" y="61"/>
                    </a:lnTo>
                    <a:lnTo>
                      <a:pt x="414" y="65"/>
                    </a:lnTo>
                    <a:lnTo>
                      <a:pt x="416" y="65"/>
                    </a:lnTo>
                    <a:lnTo>
                      <a:pt x="418" y="65"/>
                    </a:lnTo>
                    <a:lnTo>
                      <a:pt x="418" y="63"/>
                    </a:lnTo>
                    <a:lnTo>
                      <a:pt x="418" y="61"/>
                    </a:lnTo>
                    <a:lnTo>
                      <a:pt x="416" y="58"/>
                    </a:lnTo>
                    <a:lnTo>
                      <a:pt x="416" y="56"/>
                    </a:lnTo>
                    <a:lnTo>
                      <a:pt x="412" y="56"/>
                    </a:lnTo>
                    <a:close/>
                    <a:moveTo>
                      <a:pt x="82" y="58"/>
                    </a:moveTo>
                    <a:lnTo>
                      <a:pt x="84" y="61"/>
                    </a:lnTo>
                    <a:lnTo>
                      <a:pt x="84" y="60"/>
                    </a:lnTo>
                    <a:lnTo>
                      <a:pt x="82" y="58"/>
                    </a:lnTo>
                    <a:close/>
                    <a:moveTo>
                      <a:pt x="404" y="61"/>
                    </a:moveTo>
                    <a:lnTo>
                      <a:pt x="401" y="69"/>
                    </a:lnTo>
                    <a:lnTo>
                      <a:pt x="399" y="79"/>
                    </a:lnTo>
                    <a:lnTo>
                      <a:pt x="403" y="83"/>
                    </a:lnTo>
                    <a:lnTo>
                      <a:pt x="404" y="88"/>
                    </a:lnTo>
                    <a:lnTo>
                      <a:pt x="404" y="90"/>
                    </a:lnTo>
                    <a:lnTo>
                      <a:pt x="408" y="90"/>
                    </a:lnTo>
                    <a:lnTo>
                      <a:pt x="410" y="90"/>
                    </a:lnTo>
                    <a:lnTo>
                      <a:pt x="414" y="88"/>
                    </a:lnTo>
                    <a:lnTo>
                      <a:pt x="416" y="86"/>
                    </a:lnTo>
                    <a:lnTo>
                      <a:pt x="412" y="88"/>
                    </a:lnTo>
                    <a:lnTo>
                      <a:pt x="412" y="86"/>
                    </a:lnTo>
                    <a:lnTo>
                      <a:pt x="414" y="83"/>
                    </a:lnTo>
                    <a:lnTo>
                      <a:pt x="418" y="81"/>
                    </a:lnTo>
                    <a:lnTo>
                      <a:pt x="418" y="77"/>
                    </a:lnTo>
                    <a:lnTo>
                      <a:pt x="412" y="75"/>
                    </a:lnTo>
                    <a:lnTo>
                      <a:pt x="410" y="77"/>
                    </a:lnTo>
                    <a:lnTo>
                      <a:pt x="410" y="81"/>
                    </a:lnTo>
                    <a:lnTo>
                      <a:pt x="406" y="81"/>
                    </a:lnTo>
                    <a:lnTo>
                      <a:pt x="408" y="73"/>
                    </a:lnTo>
                    <a:lnTo>
                      <a:pt x="408" y="65"/>
                    </a:lnTo>
                    <a:lnTo>
                      <a:pt x="408" y="61"/>
                    </a:lnTo>
                    <a:lnTo>
                      <a:pt x="404" y="61"/>
                    </a:lnTo>
                    <a:close/>
                    <a:moveTo>
                      <a:pt x="90" y="65"/>
                    </a:moveTo>
                    <a:lnTo>
                      <a:pt x="92" y="69"/>
                    </a:lnTo>
                    <a:lnTo>
                      <a:pt x="94" y="69"/>
                    </a:lnTo>
                    <a:lnTo>
                      <a:pt x="94" y="67"/>
                    </a:lnTo>
                    <a:lnTo>
                      <a:pt x="92" y="67"/>
                    </a:lnTo>
                    <a:lnTo>
                      <a:pt x="90" y="65"/>
                    </a:lnTo>
                    <a:close/>
                    <a:moveTo>
                      <a:pt x="24" y="67"/>
                    </a:moveTo>
                    <a:lnTo>
                      <a:pt x="28" y="73"/>
                    </a:lnTo>
                    <a:lnTo>
                      <a:pt x="34" y="77"/>
                    </a:lnTo>
                    <a:lnTo>
                      <a:pt x="34" y="75"/>
                    </a:lnTo>
                    <a:lnTo>
                      <a:pt x="30" y="67"/>
                    </a:lnTo>
                    <a:lnTo>
                      <a:pt x="26" y="67"/>
                    </a:lnTo>
                    <a:lnTo>
                      <a:pt x="24" y="67"/>
                    </a:lnTo>
                    <a:close/>
                    <a:moveTo>
                      <a:pt x="368" y="69"/>
                    </a:moveTo>
                    <a:lnTo>
                      <a:pt x="364" y="75"/>
                    </a:lnTo>
                    <a:lnTo>
                      <a:pt x="357" y="81"/>
                    </a:lnTo>
                    <a:lnTo>
                      <a:pt x="341" y="81"/>
                    </a:lnTo>
                    <a:lnTo>
                      <a:pt x="326" y="79"/>
                    </a:lnTo>
                    <a:lnTo>
                      <a:pt x="326" y="75"/>
                    </a:lnTo>
                    <a:lnTo>
                      <a:pt x="320" y="77"/>
                    </a:lnTo>
                    <a:lnTo>
                      <a:pt x="314" y="81"/>
                    </a:lnTo>
                    <a:lnTo>
                      <a:pt x="312" y="79"/>
                    </a:lnTo>
                    <a:lnTo>
                      <a:pt x="310" y="79"/>
                    </a:lnTo>
                    <a:lnTo>
                      <a:pt x="310" y="83"/>
                    </a:lnTo>
                    <a:lnTo>
                      <a:pt x="309" y="84"/>
                    </a:lnTo>
                    <a:lnTo>
                      <a:pt x="305" y="86"/>
                    </a:lnTo>
                    <a:lnTo>
                      <a:pt x="305" y="96"/>
                    </a:lnTo>
                    <a:lnTo>
                      <a:pt x="307" y="102"/>
                    </a:lnTo>
                    <a:lnTo>
                      <a:pt x="305" y="106"/>
                    </a:lnTo>
                    <a:lnTo>
                      <a:pt x="301" y="108"/>
                    </a:lnTo>
                    <a:lnTo>
                      <a:pt x="301" y="115"/>
                    </a:lnTo>
                    <a:lnTo>
                      <a:pt x="301" y="121"/>
                    </a:lnTo>
                    <a:lnTo>
                      <a:pt x="297" y="129"/>
                    </a:lnTo>
                    <a:lnTo>
                      <a:pt x="295" y="136"/>
                    </a:lnTo>
                    <a:lnTo>
                      <a:pt x="295" y="144"/>
                    </a:lnTo>
                    <a:lnTo>
                      <a:pt x="295" y="144"/>
                    </a:lnTo>
                    <a:lnTo>
                      <a:pt x="299" y="144"/>
                    </a:lnTo>
                    <a:lnTo>
                      <a:pt x="303" y="146"/>
                    </a:lnTo>
                    <a:lnTo>
                      <a:pt x="301" y="161"/>
                    </a:lnTo>
                    <a:lnTo>
                      <a:pt x="299" y="177"/>
                    </a:lnTo>
                    <a:lnTo>
                      <a:pt x="307" y="177"/>
                    </a:lnTo>
                    <a:lnTo>
                      <a:pt x="312" y="175"/>
                    </a:lnTo>
                    <a:lnTo>
                      <a:pt x="314" y="173"/>
                    </a:lnTo>
                    <a:lnTo>
                      <a:pt x="316" y="171"/>
                    </a:lnTo>
                    <a:lnTo>
                      <a:pt x="316" y="169"/>
                    </a:lnTo>
                    <a:lnTo>
                      <a:pt x="316" y="163"/>
                    </a:lnTo>
                    <a:lnTo>
                      <a:pt x="312" y="157"/>
                    </a:lnTo>
                    <a:lnTo>
                      <a:pt x="312" y="155"/>
                    </a:lnTo>
                    <a:lnTo>
                      <a:pt x="314" y="155"/>
                    </a:lnTo>
                    <a:lnTo>
                      <a:pt x="316" y="146"/>
                    </a:lnTo>
                    <a:lnTo>
                      <a:pt x="320" y="140"/>
                    </a:lnTo>
                    <a:lnTo>
                      <a:pt x="322" y="142"/>
                    </a:lnTo>
                    <a:lnTo>
                      <a:pt x="324" y="146"/>
                    </a:lnTo>
                    <a:lnTo>
                      <a:pt x="328" y="157"/>
                    </a:lnTo>
                    <a:lnTo>
                      <a:pt x="330" y="169"/>
                    </a:lnTo>
                    <a:lnTo>
                      <a:pt x="333" y="169"/>
                    </a:lnTo>
                    <a:lnTo>
                      <a:pt x="337" y="169"/>
                    </a:lnTo>
                    <a:lnTo>
                      <a:pt x="337" y="165"/>
                    </a:lnTo>
                    <a:lnTo>
                      <a:pt x="337" y="161"/>
                    </a:lnTo>
                    <a:lnTo>
                      <a:pt x="343" y="161"/>
                    </a:lnTo>
                    <a:lnTo>
                      <a:pt x="347" y="159"/>
                    </a:lnTo>
                    <a:lnTo>
                      <a:pt x="349" y="159"/>
                    </a:lnTo>
                    <a:lnTo>
                      <a:pt x="349" y="157"/>
                    </a:lnTo>
                    <a:lnTo>
                      <a:pt x="343" y="154"/>
                    </a:lnTo>
                    <a:lnTo>
                      <a:pt x="339" y="150"/>
                    </a:lnTo>
                    <a:lnTo>
                      <a:pt x="341" y="146"/>
                    </a:lnTo>
                    <a:lnTo>
                      <a:pt x="341" y="142"/>
                    </a:lnTo>
                    <a:lnTo>
                      <a:pt x="337" y="140"/>
                    </a:lnTo>
                    <a:lnTo>
                      <a:pt x="333" y="138"/>
                    </a:lnTo>
                    <a:lnTo>
                      <a:pt x="333" y="132"/>
                    </a:lnTo>
                    <a:lnTo>
                      <a:pt x="332" y="129"/>
                    </a:lnTo>
                    <a:lnTo>
                      <a:pt x="324" y="127"/>
                    </a:lnTo>
                    <a:lnTo>
                      <a:pt x="324" y="123"/>
                    </a:lnTo>
                    <a:lnTo>
                      <a:pt x="330" y="123"/>
                    </a:lnTo>
                    <a:lnTo>
                      <a:pt x="333" y="123"/>
                    </a:lnTo>
                    <a:lnTo>
                      <a:pt x="337" y="119"/>
                    </a:lnTo>
                    <a:lnTo>
                      <a:pt x="343" y="115"/>
                    </a:lnTo>
                    <a:lnTo>
                      <a:pt x="343" y="121"/>
                    </a:lnTo>
                    <a:lnTo>
                      <a:pt x="347" y="119"/>
                    </a:lnTo>
                    <a:lnTo>
                      <a:pt x="353" y="119"/>
                    </a:lnTo>
                    <a:lnTo>
                      <a:pt x="347" y="115"/>
                    </a:lnTo>
                    <a:lnTo>
                      <a:pt x="345" y="113"/>
                    </a:lnTo>
                    <a:lnTo>
                      <a:pt x="347" y="111"/>
                    </a:lnTo>
                    <a:lnTo>
                      <a:pt x="351" y="106"/>
                    </a:lnTo>
                    <a:lnTo>
                      <a:pt x="339" y="106"/>
                    </a:lnTo>
                    <a:lnTo>
                      <a:pt x="328" y="106"/>
                    </a:lnTo>
                    <a:lnTo>
                      <a:pt x="326" y="108"/>
                    </a:lnTo>
                    <a:lnTo>
                      <a:pt x="320" y="109"/>
                    </a:lnTo>
                    <a:lnTo>
                      <a:pt x="320" y="106"/>
                    </a:lnTo>
                    <a:lnTo>
                      <a:pt x="318" y="106"/>
                    </a:lnTo>
                    <a:lnTo>
                      <a:pt x="314" y="106"/>
                    </a:lnTo>
                    <a:lnTo>
                      <a:pt x="316" y="96"/>
                    </a:lnTo>
                    <a:lnTo>
                      <a:pt x="316" y="88"/>
                    </a:lnTo>
                    <a:lnTo>
                      <a:pt x="330" y="88"/>
                    </a:lnTo>
                    <a:lnTo>
                      <a:pt x="341" y="90"/>
                    </a:lnTo>
                    <a:lnTo>
                      <a:pt x="355" y="90"/>
                    </a:lnTo>
                    <a:lnTo>
                      <a:pt x="364" y="88"/>
                    </a:lnTo>
                    <a:lnTo>
                      <a:pt x="364" y="86"/>
                    </a:lnTo>
                    <a:lnTo>
                      <a:pt x="368" y="83"/>
                    </a:lnTo>
                    <a:lnTo>
                      <a:pt x="372" y="77"/>
                    </a:lnTo>
                    <a:lnTo>
                      <a:pt x="372" y="73"/>
                    </a:lnTo>
                    <a:lnTo>
                      <a:pt x="374" y="69"/>
                    </a:lnTo>
                    <a:lnTo>
                      <a:pt x="372" y="69"/>
                    </a:lnTo>
                    <a:lnTo>
                      <a:pt x="368" y="69"/>
                    </a:lnTo>
                    <a:close/>
                    <a:moveTo>
                      <a:pt x="437" y="96"/>
                    </a:moveTo>
                    <a:lnTo>
                      <a:pt x="435" y="98"/>
                    </a:lnTo>
                    <a:lnTo>
                      <a:pt x="433" y="100"/>
                    </a:lnTo>
                    <a:lnTo>
                      <a:pt x="441" y="100"/>
                    </a:lnTo>
                    <a:lnTo>
                      <a:pt x="447" y="100"/>
                    </a:lnTo>
                    <a:lnTo>
                      <a:pt x="449" y="100"/>
                    </a:lnTo>
                    <a:lnTo>
                      <a:pt x="443" y="98"/>
                    </a:lnTo>
                    <a:lnTo>
                      <a:pt x="441" y="98"/>
                    </a:lnTo>
                    <a:lnTo>
                      <a:pt x="437" y="96"/>
                    </a:lnTo>
                    <a:close/>
                    <a:moveTo>
                      <a:pt x="401" y="104"/>
                    </a:moveTo>
                    <a:lnTo>
                      <a:pt x="401" y="108"/>
                    </a:lnTo>
                    <a:lnTo>
                      <a:pt x="404" y="108"/>
                    </a:lnTo>
                    <a:lnTo>
                      <a:pt x="404" y="108"/>
                    </a:lnTo>
                    <a:lnTo>
                      <a:pt x="403" y="106"/>
                    </a:lnTo>
                    <a:lnTo>
                      <a:pt x="401" y="104"/>
                    </a:lnTo>
                    <a:close/>
                    <a:moveTo>
                      <a:pt x="46" y="109"/>
                    </a:moveTo>
                    <a:lnTo>
                      <a:pt x="48" y="115"/>
                    </a:lnTo>
                    <a:lnTo>
                      <a:pt x="48" y="121"/>
                    </a:lnTo>
                    <a:lnTo>
                      <a:pt x="49" y="121"/>
                    </a:lnTo>
                    <a:lnTo>
                      <a:pt x="53" y="119"/>
                    </a:lnTo>
                    <a:lnTo>
                      <a:pt x="55" y="117"/>
                    </a:lnTo>
                    <a:lnTo>
                      <a:pt x="53" y="115"/>
                    </a:lnTo>
                    <a:lnTo>
                      <a:pt x="51" y="111"/>
                    </a:lnTo>
                    <a:lnTo>
                      <a:pt x="48" y="109"/>
                    </a:lnTo>
                    <a:lnTo>
                      <a:pt x="46" y="109"/>
                    </a:lnTo>
                    <a:close/>
                    <a:moveTo>
                      <a:pt x="439" y="113"/>
                    </a:moveTo>
                    <a:lnTo>
                      <a:pt x="441" y="117"/>
                    </a:lnTo>
                    <a:lnTo>
                      <a:pt x="445" y="117"/>
                    </a:lnTo>
                    <a:lnTo>
                      <a:pt x="445" y="117"/>
                    </a:lnTo>
                    <a:lnTo>
                      <a:pt x="445" y="115"/>
                    </a:lnTo>
                    <a:lnTo>
                      <a:pt x="439" y="113"/>
                    </a:lnTo>
                    <a:close/>
                    <a:moveTo>
                      <a:pt x="128" y="119"/>
                    </a:moveTo>
                    <a:lnTo>
                      <a:pt x="130" y="123"/>
                    </a:lnTo>
                    <a:lnTo>
                      <a:pt x="128" y="127"/>
                    </a:lnTo>
                    <a:lnTo>
                      <a:pt x="130" y="127"/>
                    </a:lnTo>
                    <a:lnTo>
                      <a:pt x="134" y="127"/>
                    </a:lnTo>
                    <a:lnTo>
                      <a:pt x="136" y="134"/>
                    </a:lnTo>
                    <a:lnTo>
                      <a:pt x="140" y="138"/>
                    </a:lnTo>
                    <a:lnTo>
                      <a:pt x="142" y="138"/>
                    </a:lnTo>
                    <a:lnTo>
                      <a:pt x="143" y="136"/>
                    </a:lnTo>
                    <a:lnTo>
                      <a:pt x="143" y="134"/>
                    </a:lnTo>
                    <a:lnTo>
                      <a:pt x="143" y="132"/>
                    </a:lnTo>
                    <a:lnTo>
                      <a:pt x="142" y="125"/>
                    </a:lnTo>
                    <a:lnTo>
                      <a:pt x="138" y="121"/>
                    </a:lnTo>
                    <a:lnTo>
                      <a:pt x="134" y="121"/>
                    </a:lnTo>
                    <a:lnTo>
                      <a:pt x="128" y="119"/>
                    </a:lnTo>
                    <a:close/>
                    <a:moveTo>
                      <a:pt x="362" y="119"/>
                    </a:moveTo>
                    <a:lnTo>
                      <a:pt x="362" y="121"/>
                    </a:lnTo>
                    <a:lnTo>
                      <a:pt x="360" y="123"/>
                    </a:lnTo>
                    <a:lnTo>
                      <a:pt x="368" y="123"/>
                    </a:lnTo>
                    <a:lnTo>
                      <a:pt x="370" y="121"/>
                    </a:lnTo>
                    <a:lnTo>
                      <a:pt x="368" y="121"/>
                    </a:lnTo>
                    <a:lnTo>
                      <a:pt x="362" y="119"/>
                    </a:lnTo>
                    <a:close/>
                    <a:moveTo>
                      <a:pt x="433" y="119"/>
                    </a:moveTo>
                    <a:lnTo>
                      <a:pt x="433" y="123"/>
                    </a:lnTo>
                    <a:lnTo>
                      <a:pt x="435" y="125"/>
                    </a:lnTo>
                    <a:lnTo>
                      <a:pt x="437" y="125"/>
                    </a:lnTo>
                    <a:lnTo>
                      <a:pt x="437" y="123"/>
                    </a:lnTo>
                    <a:lnTo>
                      <a:pt x="435" y="121"/>
                    </a:lnTo>
                    <a:lnTo>
                      <a:pt x="433" y="119"/>
                    </a:lnTo>
                    <a:close/>
                    <a:moveTo>
                      <a:pt x="61" y="132"/>
                    </a:moveTo>
                    <a:lnTo>
                      <a:pt x="63" y="136"/>
                    </a:lnTo>
                    <a:lnTo>
                      <a:pt x="63" y="134"/>
                    </a:lnTo>
                    <a:lnTo>
                      <a:pt x="61" y="132"/>
                    </a:lnTo>
                    <a:close/>
                    <a:moveTo>
                      <a:pt x="155" y="132"/>
                    </a:moveTo>
                    <a:lnTo>
                      <a:pt x="155" y="138"/>
                    </a:lnTo>
                    <a:lnTo>
                      <a:pt x="155" y="142"/>
                    </a:lnTo>
                    <a:lnTo>
                      <a:pt x="159" y="142"/>
                    </a:lnTo>
                    <a:lnTo>
                      <a:pt x="161" y="142"/>
                    </a:lnTo>
                    <a:lnTo>
                      <a:pt x="163" y="138"/>
                    </a:lnTo>
                    <a:lnTo>
                      <a:pt x="165" y="134"/>
                    </a:lnTo>
                    <a:lnTo>
                      <a:pt x="159" y="134"/>
                    </a:lnTo>
                    <a:lnTo>
                      <a:pt x="155" y="132"/>
                    </a:lnTo>
                    <a:close/>
                    <a:moveTo>
                      <a:pt x="412" y="140"/>
                    </a:moveTo>
                    <a:lnTo>
                      <a:pt x="410" y="144"/>
                    </a:lnTo>
                    <a:lnTo>
                      <a:pt x="408" y="146"/>
                    </a:lnTo>
                    <a:lnTo>
                      <a:pt x="420" y="146"/>
                    </a:lnTo>
                    <a:lnTo>
                      <a:pt x="429" y="146"/>
                    </a:lnTo>
                    <a:lnTo>
                      <a:pt x="435" y="150"/>
                    </a:lnTo>
                    <a:lnTo>
                      <a:pt x="441" y="148"/>
                    </a:lnTo>
                    <a:lnTo>
                      <a:pt x="441" y="146"/>
                    </a:lnTo>
                    <a:lnTo>
                      <a:pt x="428" y="142"/>
                    </a:lnTo>
                    <a:lnTo>
                      <a:pt x="412" y="140"/>
                    </a:lnTo>
                    <a:close/>
                    <a:moveTo>
                      <a:pt x="381" y="142"/>
                    </a:moveTo>
                    <a:lnTo>
                      <a:pt x="389" y="152"/>
                    </a:lnTo>
                    <a:lnTo>
                      <a:pt x="397" y="148"/>
                    </a:lnTo>
                    <a:lnTo>
                      <a:pt x="399" y="146"/>
                    </a:lnTo>
                    <a:lnTo>
                      <a:pt x="399" y="142"/>
                    </a:lnTo>
                    <a:lnTo>
                      <a:pt x="391" y="142"/>
                    </a:lnTo>
                    <a:lnTo>
                      <a:pt x="381" y="142"/>
                    </a:lnTo>
                    <a:close/>
                    <a:moveTo>
                      <a:pt x="349" y="161"/>
                    </a:moveTo>
                    <a:lnTo>
                      <a:pt x="347" y="165"/>
                    </a:lnTo>
                    <a:lnTo>
                      <a:pt x="347" y="169"/>
                    </a:lnTo>
                    <a:lnTo>
                      <a:pt x="345" y="167"/>
                    </a:lnTo>
                    <a:lnTo>
                      <a:pt x="343" y="165"/>
                    </a:lnTo>
                    <a:lnTo>
                      <a:pt x="343" y="169"/>
                    </a:lnTo>
                    <a:lnTo>
                      <a:pt x="341" y="173"/>
                    </a:lnTo>
                    <a:lnTo>
                      <a:pt x="345" y="175"/>
                    </a:lnTo>
                    <a:lnTo>
                      <a:pt x="347" y="179"/>
                    </a:lnTo>
                    <a:lnTo>
                      <a:pt x="351" y="179"/>
                    </a:lnTo>
                    <a:lnTo>
                      <a:pt x="353" y="171"/>
                    </a:lnTo>
                    <a:lnTo>
                      <a:pt x="353" y="161"/>
                    </a:lnTo>
                    <a:lnTo>
                      <a:pt x="349" y="161"/>
                    </a:lnTo>
                    <a:close/>
                    <a:moveTo>
                      <a:pt x="136" y="179"/>
                    </a:moveTo>
                    <a:lnTo>
                      <a:pt x="132" y="188"/>
                    </a:lnTo>
                    <a:lnTo>
                      <a:pt x="128" y="196"/>
                    </a:lnTo>
                    <a:lnTo>
                      <a:pt x="134" y="198"/>
                    </a:lnTo>
                    <a:lnTo>
                      <a:pt x="142" y="198"/>
                    </a:lnTo>
                    <a:lnTo>
                      <a:pt x="140" y="200"/>
                    </a:lnTo>
                    <a:lnTo>
                      <a:pt x="140" y="203"/>
                    </a:lnTo>
                    <a:lnTo>
                      <a:pt x="149" y="203"/>
                    </a:lnTo>
                    <a:lnTo>
                      <a:pt x="157" y="203"/>
                    </a:lnTo>
                    <a:lnTo>
                      <a:pt x="157" y="207"/>
                    </a:lnTo>
                    <a:lnTo>
                      <a:pt x="161" y="209"/>
                    </a:lnTo>
                    <a:lnTo>
                      <a:pt x="163" y="209"/>
                    </a:lnTo>
                    <a:lnTo>
                      <a:pt x="172" y="209"/>
                    </a:lnTo>
                    <a:lnTo>
                      <a:pt x="184" y="207"/>
                    </a:lnTo>
                    <a:lnTo>
                      <a:pt x="193" y="211"/>
                    </a:lnTo>
                    <a:lnTo>
                      <a:pt x="201" y="215"/>
                    </a:lnTo>
                    <a:lnTo>
                      <a:pt x="216" y="215"/>
                    </a:lnTo>
                    <a:lnTo>
                      <a:pt x="228" y="215"/>
                    </a:lnTo>
                    <a:lnTo>
                      <a:pt x="232" y="219"/>
                    </a:lnTo>
                    <a:lnTo>
                      <a:pt x="236" y="223"/>
                    </a:lnTo>
                    <a:lnTo>
                      <a:pt x="241" y="225"/>
                    </a:lnTo>
                    <a:lnTo>
                      <a:pt x="247" y="225"/>
                    </a:lnTo>
                    <a:lnTo>
                      <a:pt x="243" y="221"/>
                    </a:lnTo>
                    <a:lnTo>
                      <a:pt x="241" y="217"/>
                    </a:lnTo>
                    <a:lnTo>
                      <a:pt x="241" y="213"/>
                    </a:lnTo>
                    <a:lnTo>
                      <a:pt x="243" y="207"/>
                    </a:lnTo>
                    <a:lnTo>
                      <a:pt x="239" y="205"/>
                    </a:lnTo>
                    <a:lnTo>
                      <a:pt x="238" y="203"/>
                    </a:lnTo>
                    <a:lnTo>
                      <a:pt x="230" y="203"/>
                    </a:lnTo>
                    <a:lnTo>
                      <a:pt x="222" y="203"/>
                    </a:lnTo>
                    <a:lnTo>
                      <a:pt x="224" y="200"/>
                    </a:lnTo>
                    <a:lnTo>
                      <a:pt x="224" y="196"/>
                    </a:lnTo>
                    <a:lnTo>
                      <a:pt x="222" y="194"/>
                    </a:lnTo>
                    <a:lnTo>
                      <a:pt x="222" y="190"/>
                    </a:lnTo>
                    <a:lnTo>
                      <a:pt x="211" y="188"/>
                    </a:lnTo>
                    <a:lnTo>
                      <a:pt x="201" y="188"/>
                    </a:lnTo>
                    <a:lnTo>
                      <a:pt x="199" y="186"/>
                    </a:lnTo>
                    <a:lnTo>
                      <a:pt x="197" y="184"/>
                    </a:lnTo>
                    <a:lnTo>
                      <a:pt x="195" y="188"/>
                    </a:lnTo>
                    <a:lnTo>
                      <a:pt x="193" y="190"/>
                    </a:lnTo>
                    <a:lnTo>
                      <a:pt x="188" y="190"/>
                    </a:lnTo>
                    <a:lnTo>
                      <a:pt x="182" y="190"/>
                    </a:lnTo>
                    <a:lnTo>
                      <a:pt x="172" y="184"/>
                    </a:lnTo>
                    <a:lnTo>
                      <a:pt x="163" y="179"/>
                    </a:lnTo>
                    <a:lnTo>
                      <a:pt x="155" y="180"/>
                    </a:lnTo>
                    <a:lnTo>
                      <a:pt x="147" y="182"/>
                    </a:lnTo>
                    <a:lnTo>
                      <a:pt x="142" y="180"/>
                    </a:lnTo>
                    <a:lnTo>
                      <a:pt x="136" y="179"/>
                    </a:lnTo>
                    <a:close/>
                    <a:moveTo>
                      <a:pt x="483" y="180"/>
                    </a:moveTo>
                    <a:lnTo>
                      <a:pt x="483" y="186"/>
                    </a:lnTo>
                    <a:lnTo>
                      <a:pt x="483" y="196"/>
                    </a:lnTo>
                    <a:lnTo>
                      <a:pt x="481" y="196"/>
                    </a:lnTo>
                    <a:lnTo>
                      <a:pt x="481" y="196"/>
                    </a:lnTo>
                    <a:lnTo>
                      <a:pt x="479" y="196"/>
                    </a:lnTo>
                    <a:lnTo>
                      <a:pt x="479" y="198"/>
                    </a:lnTo>
                    <a:lnTo>
                      <a:pt x="481" y="202"/>
                    </a:lnTo>
                    <a:lnTo>
                      <a:pt x="481" y="203"/>
                    </a:lnTo>
                    <a:lnTo>
                      <a:pt x="485" y="203"/>
                    </a:lnTo>
                    <a:lnTo>
                      <a:pt x="485" y="200"/>
                    </a:lnTo>
                    <a:lnTo>
                      <a:pt x="483" y="196"/>
                    </a:lnTo>
                    <a:lnTo>
                      <a:pt x="487" y="196"/>
                    </a:lnTo>
                    <a:lnTo>
                      <a:pt x="489" y="196"/>
                    </a:lnTo>
                    <a:lnTo>
                      <a:pt x="491" y="190"/>
                    </a:lnTo>
                    <a:lnTo>
                      <a:pt x="491" y="184"/>
                    </a:lnTo>
                    <a:lnTo>
                      <a:pt x="487" y="182"/>
                    </a:lnTo>
                    <a:lnTo>
                      <a:pt x="483" y="180"/>
                    </a:lnTo>
                    <a:close/>
                    <a:moveTo>
                      <a:pt x="226" y="192"/>
                    </a:moveTo>
                    <a:lnTo>
                      <a:pt x="236" y="196"/>
                    </a:lnTo>
                    <a:lnTo>
                      <a:pt x="236" y="194"/>
                    </a:lnTo>
                    <a:lnTo>
                      <a:pt x="238" y="192"/>
                    </a:lnTo>
                    <a:lnTo>
                      <a:pt x="232" y="192"/>
                    </a:lnTo>
                    <a:lnTo>
                      <a:pt x="226" y="192"/>
                    </a:lnTo>
                    <a:close/>
                    <a:moveTo>
                      <a:pt x="449" y="207"/>
                    </a:moveTo>
                    <a:lnTo>
                      <a:pt x="447" y="215"/>
                    </a:lnTo>
                    <a:lnTo>
                      <a:pt x="447" y="219"/>
                    </a:lnTo>
                    <a:lnTo>
                      <a:pt x="449" y="215"/>
                    </a:lnTo>
                    <a:lnTo>
                      <a:pt x="452" y="209"/>
                    </a:lnTo>
                    <a:lnTo>
                      <a:pt x="452" y="207"/>
                    </a:lnTo>
                    <a:lnTo>
                      <a:pt x="452" y="207"/>
                    </a:lnTo>
                    <a:lnTo>
                      <a:pt x="451" y="205"/>
                    </a:lnTo>
                    <a:lnTo>
                      <a:pt x="449" y="207"/>
                    </a:lnTo>
                    <a:close/>
                    <a:moveTo>
                      <a:pt x="535" y="207"/>
                    </a:moveTo>
                    <a:lnTo>
                      <a:pt x="537" y="211"/>
                    </a:lnTo>
                    <a:lnTo>
                      <a:pt x="537" y="209"/>
                    </a:lnTo>
                    <a:lnTo>
                      <a:pt x="535" y="207"/>
                    </a:lnTo>
                    <a:close/>
                    <a:moveTo>
                      <a:pt x="245" y="215"/>
                    </a:moveTo>
                    <a:lnTo>
                      <a:pt x="249" y="219"/>
                    </a:lnTo>
                    <a:lnTo>
                      <a:pt x="251" y="223"/>
                    </a:lnTo>
                    <a:lnTo>
                      <a:pt x="251" y="226"/>
                    </a:lnTo>
                    <a:lnTo>
                      <a:pt x="253" y="226"/>
                    </a:lnTo>
                    <a:lnTo>
                      <a:pt x="253" y="225"/>
                    </a:lnTo>
                    <a:lnTo>
                      <a:pt x="255" y="221"/>
                    </a:lnTo>
                    <a:lnTo>
                      <a:pt x="257" y="217"/>
                    </a:lnTo>
                    <a:lnTo>
                      <a:pt x="253" y="219"/>
                    </a:lnTo>
                    <a:lnTo>
                      <a:pt x="251" y="219"/>
                    </a:lnTo>
                    <a:lnTo>
                      <a:pt x="249" y="217"/>
                    </a:lnTo>
                    <a:lnTo>
                      <a:pt x="245" y="215"/>
                    </a:lnTo>
                    <a:close/>
                    <a:moveTo>
                      <a:pt x="383" y="215"/>
                    </a:moveTo>
                    <a:lnTo>
                      <a:pt x="383" y="217"/>
                    </a:lnTo>
                    <a:lnTo>
                      <a:pt x="381" y="219"/>
                    </a:lnTo>
                    <a:lnTo>
                      <a:pt x="389" y="219"/>
                    </a:lnTo>
                    <a:lnTo>
                      <a:pt x="395" y="217"/>
                    </a:lnTo>
                    <a:lnTo>
                      <a:pt x="393" y="217"/>
                    </a:lnTo>
                    <a:lnTo>
                      <a:pt x="383" y="215"/>
                    </a:lnTo>
                    <a:close/>
                    <a:moveTo>
                      <a:pt x="268" y="217"/>
                    </a:moveTo>
                    <a:lnTo>
                      <a:pt x="264" y="221"/>
                    </a:lnTo>
                    <a:lnTo>
                      <a:pt x="262" y="226"/>
                    </a:lnTo>
                    <a:lnTo>
                      <a:pt x="266" y="226"/>
                    </a:lnTo>
                    <a:lnTo>
                      <a:pt x="270" y="226"/>
                    </a:lnTo>
                    <a:lnTo>
                      <a:pt x="270" y="225"/>
                    </a:lnTo>
                    <a:lnTo>
                      <a:pt x="270" y="221"/>
                    </a:lnTo>
                    <a:lnTo>
                      <a:pt x="272" y="219"/>
                    </a:lnTo>
                    <a:lnTo>
                      <a:pt x="272" y="217"/>
                    </a:lnTo>
                    <a:lnTo>
                      <a:pt x="270" y="217"/>
                    </a:lnTo>
                    <a:lnTo>
                      <a:pt x="268" y="217"/>
                    </a:lnTo>
                    <a:close/>
                    <a:moveTo>
                      <a:pt x="284" y="219"/>
                    </a:moveTo>
                    <a:lnTo>
                      <a:pt x="284" y="221"/>
                    </a:lnTo>
                    <a:lnTo>
                      <a:pt x="282" y="223"/>
                    </a:lnTo>
                    <a:lnTo>
                      <a:pt x="286" y="225"/>
                    </a:lnTo>
                    <a:lnTo>
                      <a:pt x="287" y="226"/>
                    </a:lnTo>
                    <a:lnTo>
                      <a:pt x="286" y="228"/>
                    </a:lnTo>
                    <a:lnTo>
                      <a:pt x="282" y="228"/>
                    </a:lnTo>
                    <a:lnTo>
                      <a:pt x="278" y="226"/>
                    </a:lnTo>
                    <a:lnTo>
                      <a:pt x="274" y="225"/>
                    </a:lnTo>
                    <a:lnTo>
                      <a:pt x="272" y="234"/>
                    </a:lnTo>
                    <a:lnTo>
                      <a:pt x="286" y="232"/>
                    </a:lnTo>
                    <a:lnTo>
                      <a:pt x="301" y="230"/>
                    </a:lnTo>
                    <a:lnTo>
                      <a:pt x="299" y="228"/>
                    </a:lnTo>
                    <a:lnTo>
                      <a:pt x="299" y="225"/>
                    </a:lnTo>
                    <a:lnTo>
                      <a:pt x="293" y="225"/>
                    </a:lnTo>
                    <a:lnTo>
                      <a:pt x="289" y="225"/>
                    </a:lnTo>
                    <a:lnTo>
                      <a:pt x="289" y="221"/>
                    </a:lnTo>
                    <a:lnTo>
                      <a:pt x="286" y="221"/>
                    </a:lnTo>
                    <a:lnTo>
                      <a:pt x="284" y="219"/>
                    </a:lnTo>
                    <a:close/>
                    <a:moveTo>
                      <a:pt x="314" y="221"/>
                    </a:moveTo>
                    <a:lnTo>
                      <a:pt x="310" y="223"/>
                    </a:lnTo>
                    <a:lnTo>
                      <a:pt x="309" y="223"/>
                    </a:lnTo>
                    <a:lnTo>
                      <a:pt x="309" y="225"/>
                    </a:lnTo>
                    <a:lnTo>
                      <a:pt x="310" y="226"/>
                    </a:lnTo>
                    <a:lnTo>
                      <a:pt x="316" y="230"/>
                    </a:lnTo>
                    <a:lnTo>
                      <a:pt x="320" y="232"/>
                    </a:lnTo>
                    <a:lnTo>
                      <a:pt x="330" y="230"/>
                    </a:lnTo>
                    <a:lnTo>
                      <a:pt x="339" y="228"/>
                    </a:lnTo>
                    <a:lnTo>
                      <a:pt x="343" y="230"/>
                    </a:lnTo>
                    <a:lnTo>
                      <a:pt x="347" y="230"/>
                    </a:lnTo>
                    <a:lnTo>
                      <a:pt x="347" y="226"/>
                    </a:lnTo>
                    <a:lnTo>
                      <a:pt x="347" y="223"/>
                    </a:lnTo>
                    <a:lnTo>
                      <a:pt x="337" y="225"/>
                    </a:lnTo>
                    <a:lnTo>
                      <a:pt x="326" y="225"/>
                    </a:lnTo>
                    <a:lnTo>
                      <a:pt x="320" y="223"/>
                    </a:lnTo>
                    <a:lnTo>
                      <a:pt x="314" y="221"/>
                    </a:lnTo>
                    <a:close/>
                    <a:moveTo>
                      <a:pt x="393" y="225"/>
                    </a:moveTo>
                    <a:lnTo>
                      <a:pt x="387" y="228"/>
                    </a:lnTo>
                    <a:lnTo>
                      <a:pt x="383" y="230"/>
                    </a:lnTo>
                    <a:lnTo>
                      <a:pt x="378" y="230"/>
                    </a:lnTo>
                    <a:lnTo>
                      <a:pt x="370" y="230"/>
                    </a:lnTo>
                    <a:lnTo>
                      <a:pt x="370" y="234"/>
                    </a:lnTo>
                    <a:lnTo>
                      <a:pt x="370" y="236"/>
                    </a:lnTo>
                    <a:lnTo>
                      <a:pt x="368" y="236"/>
                    </a:lnTo>
                    <a:lnTo>
                      <a:pt x="364" y="236"/>
                    </a:lnTo>
                    <a:lnTo>
                      <a:pt x="364" y="240"/>
                    </a:lnTo>
                    <a:lnTo>
                      <a:pt x="362" y="242"/>
                    </a:lnTo>
                    <a:lnTo>
                      <a:pt x="360" y="244"/>
                    </a:lnTo>
                    <a:lnTo>
                      <a:pt x="357" y="244"/>
                    </a:lnTo>
                    <a:lnTo>
                      <a:pt x="355" y="250"/>
                    </a:lnTo>
                    <a:lnTo>
                      <a:pt x="351" y="253"/>
                    </a:lnTo>
                    <a:lnTo>
                      <a:pt x="347" y="255"/>
                    </a:lnTo>
                    <a:lnTo>
                      <a:pt x="343" y="255"/>
                    </a:lnTo>
                    <a:lnTo>
                      <a:pt x="343" y="259"/>
                    </a:lnTo>
                    <a:lnTo>
                      <a:pt x="341" y="261"/>
                    </a:lnTo>
                    <a:lnTo>
                      <a:pt x="345" y="261"/>
                    </a:lnTo>
                    <a:lnTo>
                      <a:pt x="345" y="263"/>
                    </a:lnTo>
                    <a:lnTo>
                      <a:pt x="355" y="255"/>
                    </a:lnTo>
                    <a:lnTo>
                      <a:pt x="364" y="250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6" y="242"/>
                    </a:lnTo>
                    <a:lnTo>
                      <a:pt x="381" y="240"/>
                    </a:lnTo>
                    <a:lnTo>
                      <a:pt x="393" y="232"/>
                    </a:lnTo>
                    <a:lnTo>
                      <a:pt x="397" y="228"/>
                    </a:lnTo>
                    <a:lnTo>
                      <a:pt x="399" y="226"/>
                    </a:lnTo>
                    <a:lnTo>
                      <a:pt x="399" y="225"/>
                    </a:lnTo>
                    <a:lnTo>
                      <a:pt x="393" y="225"/>
                    </a:lnTo>
                    <a:close/>
                    <a:moveTo>
                      <a:pt x="303" y="242"/>
                    </a:moveTo>
                    <a:lnTo>
                      <a:pt x="303" y="244"/>
                    </a:lnTo>
                    <a:lnTo>
                      <a:pt x="301" y="248"/>
                    </a:lnTo>
                    <a:lnTo>
                      <a:pt x="310" y="251"/>
                    </a:lnTo>
                    <a:lnTo>
                      <a:pt x="322" y="253"/>
                    </a:lnTo>
                    <a:lnTo>
                      <a:pt x="322" y="251"/>
                    </a:lnTo>
                    <a:lnTo>
                      <a:pt x="322" y="248"/>
                    </a:lnTo>
                    <a:lnTo>
                      <a:pt x="312" y="246"/>
                    </a:lnTo>
                    <a:lnTo>
                      <a:pt x="303" y="242"/>
                    </a:lnTo>
                    <a:close/>
                    <a:moveTo>
                      <a:pt x="90" y="71"/>
                    </a:moveTo>
                    <a:lnTo>
                      <a:pt x="90" y="75"/>
                    </a:lnTo>
                    <a:lnTo>
                      <a:pt x="92" y="77"/>
                    </a:lnTo>
                    <a:lnTo>
                      <a:pt x="94" y="75"/>
                    </a:lnTo>
                    <a:lnTo>
                      <a:pt x="90" y="71"/>
                    </a:lnTo>
                    <a:close/>
                    <a:moveTo>
                      <a:pt x="182" y="61"/>
                    </a:moveTo>
                    <a:lnTo>
                      <a:pt x="174" y="73"/>
                    </a:lnTo>
                    <a:lnTo>
                      <a:pt x="172" y="81"/>
                    </a:lnTo>
                    <a:lnTo>
                      <a:pt x="172" y="90"/>
                    </a:lnTo>
                    <a:lnTo>
                      <a:pt x="176" y="106"/>
                    </a:lnTo>
                    <a:lnTo>
                      <a:pt x="178" y="108"/>
                    </a:lnTo>
                    <a:lnTo>
                      <a:pt x="178" y="108"/>
                    </a:lnTo>
                    <a:lnTo>
                      <a:pt x="178" y="109"/>
                    </a:lnTo>
                    <a:lnTo>
                      <a:pt x="176" y="111"/>
                    </a:lnTo>
                    <a:lnTo>
                      <a:pt x="180" y="109"/>
                    </a:lnTo>
                    <a:lnTo>
                      <a:pt x="184" y="108"/>
                    </a:lnTo>
                    <a:lnTo>
                      <a:pt x="188" y="121"/>
                    </a:lnTo>
                    <a:lnTo>
                      <a:pt x="191" y="136"/>
                    </a:lnTo>
                    <a:lnTo>
                      <a:pt x="201" y="136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11" y="140"/>
                    </a:lnTo>
                    <a:lnTo>
                      <a:pt x="211" y="142"/>
                    </a:lnTo>
                    <a:lnTo>
                      <a:pt x="216" y="144"/>
                    </a:lnTo>
                    <a:lnTo>
                      <a:pt x="220" y="144"/>
                    </a:lnTo>
                    <a:lnTo>
                      <a:pt x="224" y="140"/>
                    </a:lnTo>
                    <a:lnTo>
                      <a:pt x="232" y="140"/>
                    </a:lnTo>
                    <a:lnTo>
                      <a:pt x="239" y="140"/>
                    </a:lnTo>
                    <a:lnTo>
                      <a:pt x="241" y="142"/>
                    </a:lnTo>
                    <a:lnTo>
                      <a:pt x="245" y="144"/>
                    </a:lnTo>
                    <a:lnTo>
                      <a:pt x="245" y="146"/>
                    </a:lnTo>
                    <a:lnTo>
                      <a:pt x="247" y="148"/>
                    </a:lnTo>
                    <a:lnTo>
                      <a:pt x="251" y="146"/>
                    </a:lnTo>
                    <a:lnTo>
                      <a:pt x="255" y="142"/>
                    </a:lnTo>
                    <a:lnTo>
                      <a:pt x="259" y="142"/>
                    </a:lnTo>
                    <a:lnTo>
                      <a:pt x="261" y="142"/>
                    </a:lnTo>
                    <a:lnTo>
                      <a:pt x="262" y="138"/>
                    </a:lnTo>
                    <a:lnTo>
                      <a:pt x="264" y="132"/>
                    </a:lnTo>
                    <a:lnTo>
                      <a:pt x="266" y="131"/>
                    </a:lnTo>
                    <a:lnTo>
                      <a:pt x="268" y="127"/>
                    </a:lnTo>
                    <a:lnTo>
                      <a:pt x="272" y="127"/>
                    </a:lnTo>
                    <a:lnTo>
                      <a:pt x="274" y="127"/>
                    </a:lnTo>
                    <a:lnTo>
                      <a:pt x="272" y="121"/>
                    </a:lnTo>
                    <a:lnTo>
                      <a:pt x="270" y="115"/>
                    </a:lnTo>
                    <a:lnTo>
                      <a:pt x="272" y="113"/>
                    </a:lnTo>
                    <a:lnTo>
                      <a:pt x="274" y="111"/>
                    </a:lnTo>
                    <a:lnTo>
                      <a:pt x="278" y="109"/>
                    </a:lnTo>
                    <a:lnTo>
                      <a:pt x="278" y="98"/>
                    </a:lnTo>
                    <a:lnTo>
                      <a:pt x="278" y="86"/>
                    </a:lnTo>
                    <a:lnTo>
                      <a:pt x="282" y="83"/>
                    </a:lnTo>
                    <a:lnTo>
                      <a:pt x="286" y="81"/>
                    </a:lnTo>
                    <a:lnTo>
                      <a:pt x="289" y="81"/>
                    </a:lnTo>
                    <a:lnTo>
                      <a:pt x="293" y="81"/>
                    </a:lnTo>
                    <a:lnTo>
                      <a:pt x="293" y="79"/>
                    </a:lnTo>
                    <a:lnTo>
                      <a:pt x="291" y="75"/>
                    </a:lnTo>
                    <a:lnTo>
                      <a:pt x="286" y="73"/>
                    </a:lnTo>
                    <a:lnTo>
                      <a:pt x="282" y="69"/>
                    </a:lnTo>
                    <a:lnTo>
                      <a:pt x="282" y="61"/>
                    </a:lnTo>
                    <a:lnTo>
                      <a:pt x="282" y="54"/>
                    </a:lnTo>
                    <a:lnTo>
                      <a:pt x="280" y="50"/>
                    </a:lnTo>
                    <a:lnTo>
                      <a:pt x="276" y="46"/>
                    </a:lnTo>
                    <a:lnTo>
                      <a:pt x="276" y="42"/>
                    </a:lnTo>
                    <a:lnTo>
                      <a:pt x="278" y="40"/>
                    </a:lnTo>
                    <a:lnTo>
                      <a:pt x="278" y="38"/>
                    </a:lnTo>
                    <a:lnTo>
                      <a:pt x="280" y="38"/>
                    </a:lnTo>
                    <a:lnTo>
                      <a:pt x="278" y="35"/>
                    </a:lnTo>
                    <a:lnTo>
                      <a:pt x="276" y="33"/>
                    </a:lnTo>
                    <a:lnTo>
                      <a:pt x="268" y="33"/>
                    </a:lnTo>
                    <a:lnTo>
                      <a:pt x="259" y="31"/>
                    </a:lnTo>
                    <a:lnTo>
                      <a:pt x="257" y="37"/>
                    </a:lnTo>
                    <a:lnTo>
                      <a:pt x="255" y="44"/>
                    </a:lnTo>
                    <a:lnTo>
                      <a:pt x="251" y="48"/>
                    </a:lnTo>
                    <a:lnTo>
                      <a:pt x="249" y="52"/>
                    </a:lnTo>
                    <a:lnTo>
                      <a:pt x="247" y="56"/>
                    </a:lnTo>
                    <a:lnTo>
                      <a:pt x="243" y="58"/>
                    </a:lnTo>
                    <a:lnTo>
                      <a:pt x="241" y="61"/>
                    </a:lnTo>
                    <a:lnTo>
                      <a:pt x="239" y="69"/>
                    </a:lnTo>
                    <a:lnTo>
                      <a:pt x="238" y="71"/>
                    </a:lnTo>
                    <a:lnTo>
                      <a:pt x="232" y="75"/>
                    </a:lnTo>
                    <a:lnTo>
                      <a:pt x="224" y="75"/>
                    </a:lnTo>
                    <a:lnTo>
                      <a:pt x="222" y="73"/>
                    </a:lnTo>
                    <a:lnTo>
                      <a:pt x="214" y="75"/>
                    </a:lnTo>
                    <a:lnTo>
                      <a:pt x="213" y="77"/>
                    </a:lnTo>
                    <a:lnTo>
                      <a:pt x="205" y="79"/>
                    </a:lnTo>
                    <a:lnTo>
                      <a:pt x="199" y="79"/>
                    </a:lnTo>
                    <a:lnTo>
                      <a:pt x="193" y="79"/>
                    </a:lnTo>
                    <a:lnTo>
                      <a:pt x="190" y="77"/>
                    </a:lnTo>
                    <a:lnTo>
                      <a:pt x="186" y="75"/>
                    </a:lnTo>
                    <a:lnTo>
                      <a:pt x="182" y="69"/>
                    </a:lnTo>
                    <a:lnTo>
                      <a:pt x="182" y="61"/>
                    </a:lnTo>
                    <a:lnTo>
                      <a:pt x="182" y="61"/>
                    </a:lnTo>
                    <a:close/>
                    <a:moveTo>
                      <a:pt x="1" y="0"/>
                    </a:moveTo>
                    <a:lnTo>
                      <a:pt x="0" y="4"/>
                    </a:lnTo>
                    <a:lnTo>
                      <a:pt x="0" y="10"/>
                    </a:lnTo>
                    <a:lnTo>
                      <a:pt x="3" y="17"/>
                    </a:lnTo>
                    <a:lnTo>
                      <a:pt x="9" y="23"/>
                    </a:lnTo>
                    <a:lnTo>
                      <a:pt x="17" y="29"/>
                    </a:lnTo>
                    <a:lnTo>
                      <a:pt x="23" y="35"/>
                    </a:lnTo>
                    <a:lnTo>
                      <a:pt x="28" y="44"/>
                    </a:lnTo>
                    <a:lnTo>
                      <a:pt x="34" y="56"/>
                    </a:lnTo>
                    <a:lnTo>
                      <a:pt x="42" y="60"/>
                    </a:lnTo>
                    <a:lnTo>
                      <a:pt x="48" y="63"/>
                    </a:lnTo>
                    <a:lnTo>
                      <a:pt x="49" y="75"/>
                    </a:lnTo>
                    <a:lnTo>
                      <a:pt x="51" y="86"/>
                    </a:lnTo>
                    <a:lnTo>
                      <a:pt x="59" y="94"/>
                    </a:lnTo>
                    <a:lnTo>
                      <a:pt x="67" y="102"/>
                    </a:lnTo>
                    <a:lnTo>
                      <a:pt x="74" y="117"/>
                    </a:lnTo>
                    <a:lnTo>
                      <a:pt x="80" y="134"/>
                    </a:lnTo>
                    <a:lnTo>
                      <a:pt x="84" y="138"/>
                    </a:lnTo>
                    <a:lnTo>
                      <a:pt x="88" y="142"/>
                    </a:lnTo>
                    <a:lnTo>
                      <a:pt x="92" y="155"/>
                    </a:lnTo>
                    <a:lnTo>
                      <a:pt x="97" y="165"/>
                    </a:lnTo>
                    <a:lnTo>
                      <a:pt x="103" y="167"/>
                    </a:lnTo>
                    <a:lnTo>
                      <a:pt x="109" y="169"/>
                    </a:lnTo>
                    <a:lnTo>
                      <a:pt x="109" y="173"/>
                    </a:lnTo>
                    <a:lnTo>
                      <a:pt x="115" y="177"/>
                    </a:lnTo>
                    <a:lnTo>
                      <a:pt x="120" y="179"/>
                    </a:lnTo>
                    <a:lnTo>
                      <a:pt x="119" y="177"/>
                    </a:lnTo>
                    <a:lnTo>
                      <a:pt x="122" y="173"/>
                    </a:lnTo>
                    <a:lnTo>
                      <a:pt x="126" y="175"/>
                    </a:lnTo>
                    <a:lnTo>
                      <a:pt x="134" y="175"/>
                    </a:lnTo>
                    <a:lnTo>
                      <a:pt x="134" y="169"/>
                    </a:lnTo>
                    <a:lnTo>
                      <a:pt x="134" y="165"/>
                    </a:lnTo>
                    <a:lnTo>
                      <a:pt x="134" y="161"/>
                    </a:lnTo>
                    <a:lnTo>
                      <a:pt x="130" y="157"/>
                    </a:lnTo>
                    <a:lnTo>
                      <a:pt x="130" y="155"/>
                    </a:lnTo>
                    <a:lnTo>
                      <a:pt x="136" y="154"/>
                    </a:lnTo>
                    <a:lnTo>
                      <a:pt x="138" y="148"/>
                    </a:lnTo>
                    <a:lnTo>
                      <a:pt x="138" y="142"/>
                    </a:lnTo>
                    <a:lnTo>
                      <a:pt x="136" y="140"/>
                    </a:lnTo>
                    <a:lnTo>
                      <a:pt x="132" y="136"/>
                    </a:lnTo>
                    <a:lnTo>
                      <a:pt x="132" y="132"/>
                    </a:lnTo>
                    <a:lnTo>
                      <a:pt x="132" y="129"/>
                    </a:lnTo>
                    <a:lnTo>
                      <a:pt x="126" y="129"/>
                    </a:lnTo>
                    <a:lnTo>
                      <a:pt x="120" y="129"/>
                    </a:lnTo>
                    <a:lnTo>
                      <a:pt x="119" y="119"/>
                    </a:lnTo>
                    <a:lnTo>
                      <a:pt x="119" y="109"/>
                    </a:lnTo>
                    <a:lnTo>
                      <a:pt x="111" y="109"/>
                    </a:lnTo>
                    <a:lnTo>
                      <a:pt x="105" y="108"/>
                    </a:lnTo>
                    <a:lnTo>
                      <a:pt x="107" y="98"/>
                    </a:lnTo>
                    <a:lnTo>
                      <a:pt x="107" y="100"/>
                    </a:lnTo>
                    <a:lnTo>
                      <a:pt x="109" y="102"/>
                    </a:lnTo>
                    <a:lnTo>
                      <a:pt x="109" y="96"/>
                    </a:lnTo>
                    <a:lnTo>
                      <a:pt x="107" y="88"/>
                    </a:lnTo>
                    <a:lnTo>
                      <a:pt x="103" y="86"/>
                    </a:lnTo>
                    <a:lnTo>
                      <a:pt x="101" y="84"/>
                    </a:lnTo>
                    <a:lnTo>
                      <a:pt x="101" y="81"/>
                    </a:lnTo>
                    <a:lnTo>
                      <a:pt x="97" y="81"/>
                    </a:lnTo>
                    <a:lnTo>
                      <a:pt x="99" y="77"/>
                    </a:lnTo>
                    <a:lnTo>
                      <a:pt x="99" y="73"/>
                    </a:lnTo>
                    <a:lnTo>
                      <a:pt x="96" y="77"/>
                    </a:lnTo>
                    <a:lnTo>
                      <a:pt x="90" y="81"/>
                    </a:lnTo>
                    <a:lnTo>
                      <a:pt x="90" y="75"/>
                    </a:lnTo>
                    <a:lnTo>
                      <a:pt x="88" y="69"/>
                    </a:lnTo>
                    <a:lnTo>
                      <a:pt x="84" y="67"/>
                    </a:lnTo>
                    <a:lnTo>
                      <a:pt x="80" y="65"/>
                    </a:lnTo>
                    <a:lnTo>
                      <a:pt x="78" y="60"/>
                    </a:lnTo>
                    <a:lnTo>
                      <a:pt x="76" y="56"/>
                    </a:lnTo>
                    <a:lnTo>
                      <a:pt x="74" y="56"/>
                    </a:lnTo>
                    <a:lnTo>
                      <a:pt x="74" y="60"/>
                    </a:lnTo>
                    <a:lnTo>
                      <a:pt x="71" y="58"/>
                    </a:lnTo>
                    <a:lnTo>
                      <a:pt x="67" y="54"/>
                    </a:lnTo>
                    <a:lnTo>
                      <a:pt x="67" y="50"/>
                    </a:lnTo>
                    <a:lnTo>
                      <a:pt x="67" y="44"/>
                    </a:lnTo>
                    <a:lnTo>
                      <a:pt x="65" y="44"/>
                    </a:lnTo>
                    <a:lnTo>
                      <a:pt x="61" y="44"/>
                    </a:lnTo>
                    <a:lnTo>
                      <a:pt x="61" y="42"/>
                    </a:lnTo>
                    <a:lnTo>
                      <a:pt x="61" y="38"/>
                    </a:lnTo>
                    <a:lnTo>
                      <a:pt x="55" y="37"/>
                    </a:lnTo>
                    <a:lnTo>
                      <a:pt x="51" y="35"/>
                    </a:lnTo>
                    <a:lnTo>
                      <a:pt x="49" y="31"/>
                    </a:lnTo>
                    <a:lnTo>
                      <a:pt x="49" y="27"/>
                    </a:lnTo>
                    <a:lnTo>
                      <a:pt x="44" y="23"/>
                    </a:lnTo>
                    <a:lnTo>
                      <a:pt x="38" y="19"/>
                    </a:lnTo>
                    <a:lnTo>
                      <a:pt x="36" y="13"/>
                    </a:lnTo>
                    <a:lnTo>
                      <a:pt x="34" y="8"/>
                    </a:lnTo>
                    <a:lnTo>
                      <a:pt x="24" y="6"/>
                    </a:lnTo>
                    <a:lnTo>
                      <a:pt x="13" y="6"/>
                    </a:lnTo>
                    <a:lnTo>
                      <a:pt x="11" y="4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6" name="Freeform 164"/>
              <p:cNvSpPr>
                <a:spLocks/>
              </p:cNvSpPr>
              <p:nvPr/>
            </p:nvSpPr>
            <p:spPr bwMode="gray">
              <a:xfrm>
                <a:off x="5679846" y="3543301"/>
                <a:ext cx="577786" cy="719138"/>
              </a:xfrm>
              <a:custGeom>
                <a:avLst/>
                <a:gdLst>
                  <a:gd name="T0" fmla="*/ 239 w 364"/>
                  <a:gd name="T1" fmla="*/ 248 h 453"/>
                  <a:gd name="T2" fmla="*/ 232 w 364"/>
                  <a:gd name="T3" fmla="*/ 258 h 453"/>
                  <a:gd name="T4" fmla="*/ 213 w 364"/>
                  <a:gd name="T5" fmla="*/ 277 h 453"/>
                  <a:gd name="T6" fmla="*/ 205 w 364"/>
                  <a:gd name="T7" fmla="*/ 283 h 453"/>
                  <a:gd name="T8" fmla="*/ 186 w 364"/>
                  <a:gd name="T9" fmla="*/ 309 h 453"/>
                  <a:gd name="T10" fmla="*/ 167 w 364"/>
                  <a:gd name="T11" fmla="*/ 325 h 453"/>
                  <a:gd name="T12" fmla="*/ 147 w 364"/>
                  <a:gd name="T13" fmla="*/ 334 h 453"/>
                  <a:gd name="T14" fmla="*/ 145 w 364"/>
                  <a:gd name="T15" fmla="*/ 355 h 453"/>
                  <a:gd name="T16" fmla="*/ 147 w 364"/>
                  <a:gd name="T17" fmla="*/ 386 h 453"/>
                  <a:gd name="T18" fmla="*/ 140 w 364"/>
                  <a:gd name="T19" fmla="*/ 413 h 453"/>
                  <a:gd name="T20" fmla="*/ 128 w 364"/>
                  <a:gd name="T21" fmla="*/ 440 h 453"/>
                  <a:gd name="T22" fmla="*/ 113 w 364"/>
                  <a:gd name="T23" fmla="*/ 453 h 453"/>
                  <a:gd name="T24" fmla="*/ 105 w 364"/>
                  <a:gd name="T25" fmla="*/ 442 h 453"/>
                  <a:gd name="T26" fmla="*/ 95 w 364"/>
                  <a:gd name="T27" fmla="*/ 421 h 453"/>
                  <a:gd name="T28" fmla="*/ 76 w 364"/>
                  <a:gd name="T29" fmla="*/ 375 h 453"/>
                  <a:gd name="T30" fmla="*/ 63 w 364"/>
                  <a:gd name="T31" fmla="*/ 321 h 453"/>
                  <a:gd name="T32" fmla="*/ 53 w 364"/>
                  <a:gd name="T33" fmla="*/ 279 h 453"/>
                  <a:gd name="T34" fmla="*/ 53 w 364"/>
                  <a:gd name="T35" fmla="*/ 248 h 453"/>
                  <a:gd name="T36" fmla="*/ 51 w 364"/>
                  <a:gd name="T37" fmla="*/ 235 h 453"/>
                  <a:gd name="T38" fmla="*/ 44 w 364"/>
                  <a:gd name="T39" fmla="*/ 250 h 453"/>
                  <a:gd name="T40" fmla="*/ 19 w 364"/>
                  <a:gd name="T41" fmla="*/ 248 h 453"/>
                  <a:gd name="T42" fmla="*/ 17 w 364"/>
                  <a:gd name="T43" fmla="*/ 231 h 453"/>
                  <a:gd name="T44" fmla="*/ 19 w 364"/>
                  <a:gd name="T45" fmla="*/ 221 h 453"/>
                  <a:gd name="T46" fmla="*/ 1 w 364"/>
                  <a:gd name="T47" fmla="*/ 206 h 453"/>
                  <a:gd name="T48" fmla="*/ 21 w 364"/>
                  <a:gd name="T49" fmla="*/ 189 h 453"/>
                  <a:gd name="T50" fmla="*/ 9 w 364"/>
                  <a:gd name="T51" fmla="*/ 156 h 453"/>
                  <a:gd name="T52" fmla="*/ 30 w 364"/>
                  <a:gd name="T53" fmla="*/ 141 h 453"/>
                  <a:gd name="T54" fmla="*/ 55 w 364"/>
                  <a:gd name="T55" fmla="*/ 116 h 453"/>
                  <a:gd name="T56" fmla="*/ 71 w 364"/>
                  <a:gd name="T57" fmla="*/ 85 h 453"/>
                  <a:gd name="T58" fmla="*/ 59 w 364"/>
                  <a:gd name="T59" fmla="*/ 62 h 453"/>
                  <a:gd name="T60" fmla="*/ 65 w 364"/>
                  <a:gd name="T61" fmla="*/ 35 h 453"/>
                  <a:gd name="T62" fmla="*/ 88 w 364"/>
                  <a:gd name="T63" fmla="*/ 27 h 453"/>
                  <a:gd name="T64" fmla="*/ 109 w 364"/>
                  <a:gd name="T65" fmla="*/ 4 h 453"/>
                  <a:gd name="T66" fmla="*/ 132 w 364"/>
                  <a:gd name="T67" fmla="*/ 8 h 453"/>
                  <a:gd name="T68" fmla="*/ 130 w 364"/>
                  <a:gd name="T69" fmla="*/ 29 h 453"/>
                  <a:gd name="T70" fmla="*/ 124 w 364"/>
                  <a:gd name="T71" fmla="*/ 50 h 453"/>
                  <a:gd name="T72" fmla="*/ 134 w 364"/>
                  <a:gd name="T73" fmla="*/ 71 h 453"/>
                  <a:gd name="T74" fmla="*/ 140 w 364"/>
                  <a:gd name="T75" fmla="*/ 93 h 453"/>
                  <a:gd name="T76" fmla="*/ 151 w 364"/>
                  <a:gd name="T77" fmla="*/ 110 h 453"/>
                  <a:gd name="T78" fmla="*/ 165 w 364"/>
                  <a:gd name="T79" fmla="*/ 135 h 453"/>
                  <a:gd name="T80" fmla="*/ 195 w 364"/>
                  <a:gd name="T81" fmla="*/ 152 h 453"/>
                  <a:gd name="T82" fmla="*/ 234 w 364"/>
                  <a:gd name="T83" fmla="*/ 164 h 453"/>
                  <a:gd name="T84" fmla="*/ 245 w 364"/>
                  <a:gd name="T85" fmla="*/ 154 h 453"/>
                  <a:gd name="T86" fmla="*/ 261 w 364"/>
                  <a:gd name="T87" fmla="*/ 146 h 453"/>
                  <a:gd name="T88" fmla="*/ 285 w 364"/>
                  <a:gd name="T89" fmla="*/ 154 h 453"/>
                  <a:gd name="T90" fmla="*/ 305 w 364"/>
                  <a:gd name="T91" fmla="*/ 137 h 453"/>
                  <a:gd name="T92" fmla="*/ 332 w 364"/>
                  <a:gd name="T93" fmla="*/ 125 h 453"/>
                  <a:gd name="T94" fmla="*/ 349 w 364"/>
                  <a:gd name="T95" fmla="*/ 139 h 453"/>
                  <a:gd name="T96" fmla="*/ 364 w 364"/>
                  <a:gd name="T97" fmla="*/ 150 h 453"/>
                  <a:gd name="T98" fmla="*/ 345 w 364"/>
                  <a:gd name="T99" fmla="*/ 175 h 453"/>
                  <a:gd name="T100" fmla="*/ 328 w 364"/>
                  <a:gd name="T101" fmla="*/ 192 h 453"/>
                  <a:gd name="T102" fmla="*/ 316 w 364"/>
                  <a:gd name="T103" fmla="*/ 210 h 453"/>
                  <a:gd name="T104" fmla="*/ 316 w 364"/>
                  <a:gd name="T105" fmla="*/ 240 h 453"/>
                  <a:gd name="T106" fmla="*/ 307 w 364"/>
                  <a:gd name="T107" fmla="*/ 229 h 453"/>
                  <a:gd name="T108" fmla="*/ 293 w 364"/>
                  <a:gd name="T109" fmla="*/ 212 h 453"/>
                  <a:gd name="T110" fmla="*/ 305 w 364"/>
                  <a:gd name="T111" fmla="*/ 189 h 453"/>
                  <a:gd name="T112" fmla="*/ 270 w 364"/>
                  <a:gd name="T113" fmla="*/ 190 h 453"/>
                  <a:gd name="T114" fmla="*/ 253 w 364"/>
                  <a:gd name="T115" fmla="*/ 165 h 453"/>
                  <a:gd name="T116" fmla="*/ 241 w 364"/>
                  <a:gd name="T117" fmla="*/ 189 h 453"/>
                  <a:gd name="T118" fmla="*/ 253 w 364"/>
                  <a:gd name="T119" fmla="*/ 219 h 453"/>
                  <a:gd name="T120" fmla="*/ 255 w 364"/>
                  <a:gd name="T121" fmla="*/ 248 h 4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64" h="453">
                    <a:moveTo>
                      <a:pt x="255" y="248"/>
                    </a:moveTo>
                    <a:lnTo>
                      <a:pt x="251" y="244"/>
                    </a:lnTo>
                    <a:lnTo>
                      <a:pt x="243" y="242"/>
                    </a:lnTo>
                    <a:lnTo>
                      <a:pt x="243" y="246"/>
                    </a:lnTo>
                    <a:lnTo>
                      <a:pt x="239" y="248"/>
                    </a:lnTo>
                    <a:lnTo>
                      <a:pt x="238" y="250"/>
                    </a:lnTo>
                    <a:lnTo>
                      <a:pt x="236" y="252"/>
                    </a:lnTo>
                    <a:lnTo>
                      <a:pt x="234" y="256"/>
                    </a:lnTo>
                    <a:lnTo>
                      <a:pt x="232" y="256"/>
                    </a:lnTo>
                    <a:lnTo>
                      <a:pt x="232" y="258"/>
                    </a:lnTo>
                    <a:lnTo>
                      <a:pt x="234" y="260"/>
                    </a:lnTo>
                    <a:lnTo>
                      <a:pt x="234" y="263"/>
                    </a:lnTo>
                    <a:lnTo>
                      <a:pt x="226" y="271"/>
                    </a:lnTo>
                    <a:lnTo>
                      <a:pt x="216" y="277"/>
                    </a:lnTo>
                    <a:lnTo>
                      <a:pt x="213" y="277"/>
                    </a:lnTo>
                    <a:lnTo>
                      <a:pt x="209" y="277"/>
                    </a:lnTo>
                    <a:lnTo>
                      <a:pt x="209" y="279"/>
                    </a:lnTo>
                    <a:lnTo>
                      <a:pt x="211" y="281"/>
                    </a:lnTo>
                    <a:lnTo>
                      <a:pt x="207" y="283"/>
                    </a:lnTo>
                    <a:lnTo>
                      <a:pt x="205" y="283"/>
                    </a:lnTo>
                    <a:lnTo>
                      <a:pt x="199" y="290"/>
                    </a:lnTo>
                    <a:lnTo>
                      <a:pt x="195" y="300"/>
                    </a:lnTo>
                    <a:lnTo>
                      <a:pt x="190" y="302"/>
                    </a:lnTo>
                    <a:lnTo>
                      <a:pt x="186" y="306"/>
                    </a:lnTo>
                    <a:lnTo>
                      <a:pt x="186" y="309"/>
                    </a:lnTo>
                    <a:lnTo>
                      <a:pt x="180" y="309"/>
                    </a:lnTo>
                    <a:lnTo>
                      <a:pt x="174" y="311"/>
                    </a:lnTo>
                    <a:lnTo>
                      <a:pt x="172" y="317"/>
                    </a:lnTo>
                    <a:lnTo>
                      <a:pt x="170" y="323"/>
                    </a:lnTo>
                    <a:lnTo>
                      <a:pt x="167" y="325"/>
                    </a:lnTo>
                    <a:lnTo>
                      <a:pt x="161" y="327"/>
                    </a:lnTo>
                    <a:lnTo>
                      <a:pt x="159" y="331"/>
                    </a:lnTo>
                    <a:lnTo>
                      <a:pt x="155" y="334"/>
                    </a:lnTo>
                    <a:lnTo>
                      <a:pt x="151" y="334"/>
                    </a:lnTo>
                    <a:lnTo>
                      <a:pt x="147" y="334"/>
                    </a:lnTo>
                    <a:lnTo>
                      <a:pt x="145" y="336"/>
                    </a:lnTo>
                    <a:lnTo>
                      <a:pt x="143" y="340"/>
                    </a:lnTo>
                    <a:lnTo>
                      <a:pt x="145" y="346"/>
                    </a:lnTo>
                    <a:lnTo>
                      <a:pt x="147" y="350"/>
                    </a:lnTo>
                    <a:lnTo>
                      <a:pt x="145" y="355"/>
                    </a:lnTo>
                    <a:lnTo>
                      <a:pt x="143" y="363"/>
                    </a:lnTo>
                    <a:lnTo>
                      <a:pt x="143" y="371"/>
                    </a:lnTo>
                    <a:lnTo>
                      <a:pt x="143" y="377"/>
                    </a:lnTo>
                    <a:lnTo>
                      <a:pt x="145" y="380"/>
                    </a:lnTo>
                    <a:lnTo>
                      <a:pt x="147" y="386"/>
                    </a:lnTo>
                    <a:lnTo>
                      <a:pt x="143" y="394"/>
                    </a:lnTo>
                    <a:lnTo>
                      <a:pt x="140" y="400"/>
                    </a:lnTo>
                    <a:lnTo>
                      <a:pt x="140" y="402"/>
                    </a:lnTo>
                    <a:lnTo>
                      <a:pt x="140" y="405"/>
                    </a:lnTo>
                    <a:lnTo>
                      <a:pt x="140" y="413"/>
                    </a:lnTo>
                    <a:lnTo>
                      <a:pt x="142" y="425"/>
                    </a:lnTo>
                    <a:lnTo>
                      <a:pt x="138" y="425"/>
                    </a:lnTo>
                    <a:lnTo>
                      <a:pt x="136" y="425"/>
                    </a:lnTo>
                    <a:lnTo>
                      <a:pt x="130" y="430"/>
                    </a:lnTo>
                    <a:lnTo>
                      <a:pt x="128" y="440"/>
                    </a:lnTo>
                    <a:lnTo>
                      <a:pt x="126" y="442"/>
                    </a:lnTo>
                    <a:lnTo>
                      <a:pt x="122" y="442"/>
                    </a:lnTo>
                    <a:lnTo>
                      <a:pt x="119" y="448"/>
                    </a:lnTo>
                    <a:lnTo>
                      <a:pt x="117" y="453"/>
                    </a:lnTo>
                    <a:lnTo>
                      <a:pt x="113" y="453"/>
                    </a:lnTo>
                    <a:lnTo>
                      <a:pt x="111" y="453"/>
                    </a:lnTo>
                    <a:lnTo>
                      <a:pt x="109" y="451"/>
                    </a:lnTo>
                    <a:lnTo>
                      <a:pt x="109" y="448"/>
                    </a:lnTo>
                    <a:lnTo>
                      <a:pt x="107" y="446"/>
                    </a:lnTo>
                    <a:lnTo>
                      <a:pt x="105" y="442"/>
                    </a:lnTo>
                    <a:lnTo>
                      <a:pt x="101" y="436"/>
                    </a:lnTo>
                    <a:lnTo>
                      <a:pt x="97" y="432"/>
                    </a:lnTo>
                    <a:lnTo>
                      <a:pt x="99" y="428"/>
                    </a:lnTo>
                    <a:lnTo>
                      <a:pt x="99" y="423"/>
                    </a:lnTo>
                    <a:lnTo>
                      <a:pt x="95" y="421"/>
                    </a:lnTo>
                    <a:lnTo>
                      <a:pt x="94" y="415"/>
                    </a:lnTo>
                    <a:lnTo>
                      <a:pt x="92" y="407"/>
                    </a:lnTo>
                    <a:lnTo>
                      <a:pt x="86" y="398"/>
                    </a:lnTo>
                    <a:lnTo>
                      <a:pt x="80" y="390"/>
                    </a:lnTo>
                    <a:lnTo>
                      <a:pt x="76" y="375"/>
                    </a:lnTo>
                    <a:lnTo>
                      <a:pt x="74" y="357"/>
                    </a:lnTo>
                    <a:lnTo>
                      <a:pt x="69" y="346"/>
                    </a:lnTo>
                    <a:lnTo>
                      <a:pt x="63" y="332"/>
                    </a:lnTo>
                    <a:lnTo>
                      <a:pt x="63" y="327"/>
                    </a:lnTo>
                    <a:lnTo>
                      <a:pt x="63" y="321"/>
                    </a:lnTo>
                    <a:lnTo>
                      <a:pt x="59" y="306"/>
                    </a:lnTo>
                    <a:lnTo>
                      <a:pt x="57" y="296"/>
                    </a:lnTo>
                    <a:lnTo>
                      <a:pt x="55" y="290"/>
                    </a:lnTo>
                    <a:lnTo>
                      <a:pt x="57" y="284"/>
                    </a:lnTo>
                    <a:lnTo>
                      <a:pt x="53" y="279"/>
                    </a:lnTo>
                    <a:lnTo>
                      <a:pt x="51" y="273"/>
                    </a:lnTo>
                    <a:lnTo>
                      <a:pt x="53" y="263"/>
                    </a:lnTo>
                    <a:lnTo>
                      <a:pt x="57" y="256"/>
                    </a:lnTo>
                    <a:lnTo>
                      <a:pt x="55" y="250"/>
                    </a:lnTo>
                    <a:lnTo>
                      <a:pt x="53" y="248"/>
                    </a:lnTo>
                    <a:lnTo>
                      <a:pt x="53" y="244"/>
                    </a:lnTo>
                    <a:lnTo>
                      <a:pt x="55" y="240"/>
                    </a:lnTo>
                    <a:lnTo>
                      <a:pt x="53" y="238"/>
                    </a:lnTo>
                    <a:lnTo>
                      <a:pt x="51" y="238"/>
                    </a:lnTo>
                    <a:lnTo>
                      <a:pt x="51" y="235"/>
                    </a:lnTo>
                    <a:lnTo>
                      <a:pt x="53" y="229"/>
                    </a:lnTo>
                    <a:lnTo>
                      <a:pt x="48" y="233"/>
                    </a:lnTo>
                    <a:lnTo>
                      <a:pt x="48" y="238"/>
                    </a:lnTo>
                    <a:lnTo>
                      <a:pt x="48" y="246"/>
                    </a:lnTo>
                    <a:lnTo>
                      <a:pt x="44" y="250"/>
                    </a:lnTo>
                    <a:lnTo>
                      <a:pt x="40" y="254"/>
                    </a:lnTo>
                    <a:lnTo>
                      <a:pt x="34" y="256"/>
                    </a:lnTo>
                    <a:lnTo>
                      <a:pt x="28" y="258"/>
                    </a:lnTo>
                    <a:lnTo>
                      <a:pt x="23" y="254"/>
                    </a:lnTo>
                    <a:lnTo>
                      <a:pt x="19" y="248"/>
                    </a:lnTo>
                    <a:lnTo>
                      <a:pt x="15" y="242"/>
                    </a:lnTo>
                    <a:lnTo>
                      <a:pt x="11" y="236"/>
                    </a:lnTo>
                    <a:lnTo>
                      <a:pt x="9" y="235"/>
                    </a:lnTo>
                    <a:lnTo>
                      <a:pt x="11" y="231"/>
                    </a:lnTo>
                    <a:lnTo>
                      <a:pt x="17" y="231"/>
                    </a:lnTo>
                    <a:lnTo>
                      <a:pt x="23" y="229"/>
                    </a:lnTo>
                    <a:lnTo>
                      <a:pt x="28" y="221"/>
                    </a:lnTo>
                    <a:lnTo>
                      <a:pt x="32" y="213"/>
                    </a:lnTo>
                    <a:lnTo>
                      <a:pt x="24" y="219"/>
                    </a:lnTo>
                    <a:lnTo>
                      <a:pt x="19" y="221"/>
                    </a:lnTo>
                    <a:lnTo>
                      <a:pt x="13" y="219"/>
                    </a:lnTo>
                    <a:lnTo>
                      <a:pt x="3" y="217"/>
                    </a:lnTo>
                    <a:lnTo>
                      <a:pt x="3" y="212"/>
                    </a:lnTo>
                    <a:lnTo>
                      <a:pt x="1" y="206"/>
                    </a:lnTo>
                    <a:lnTo>
                      <a:pt x="1" y="206"/>
                    </a:lnTo>
                    <a:lnTo>
                      <a:pt x="0" y="206"/>
                    </a:lnTo>
                    <a:lnTo>
                      <a:pt x="3" y="200"/>
                    </a:lnTo>
                    <a:lnTo>
                      <a:pt x="5" y="192"/>
                    </a:lnTo>
                    <a:lnTo>
                      <a:pt x="13" y="190"/>
                    </a:lnTo>
                    <a:lnTo>
                      <a:pt x="21" y="189"/>
                    </a:lnTo>
                    <a:lnTo>
                      <a:pt x="19" y="181"/>
                    </a:lnTo>
                    <a:lnTo>
                      <a:pt x="13" y="175"/>
                    </a:lnTo>
                    <a:lnTo>
                      <a:pt x="13" y="169"/>
                    </a:lnTo>
                    <a:lnTo>
                      <a:pt x="17" y="165"/>
                    </a:lnTo>
                    <a:lnTo>
                      <a:pt x="9" y="156"/>
                    </a:lnTo>
                    <a:lnTo>
                      <a:pt x="13" y="152"/>
                    </a:lnTo>
                    <a:lnTo>
                      <a:pt x="19" y="148"/>
                    </a:lnTo>
                    <a:lnTo>
                      <a:pt x="21" y="142"/>
                    </a:lnTo>
                    <a:lnTo>
                      <a:pt x="24" y="146"/>
                    </a:lnTo>
                    <a:lnTo>
                      <a:pt x="30" y="141"/>
                    </a:lnTo>
                    <a:lnTo>
                      <a:pt x="36" y="135"/>
                    </a:lnTo>
                    <a:lnTo>
                      <a:pt x="40" y="131"/>
                    </a:lnTo>
                    <a:lnTo>
                      <a:pt x="42" y="123"/>
                    </a:lnTo>
                    <a:lnTo>
                      <a:pt x="51" y="119"/>
                    </a:lnTo>
                    <a:lnTo>
                      <a:pt x="55" y="116"/>
                    </a:lnTo>
                    <a:lnTo>
                      <a:pt x="57" y="110"/>
                    </a:lnTo>
                    <a:lnTo>
                      <a:pt x="63" y="106"/>
                    </a:lnTo>
                    <a:lnTo>
                      <a:pt x="63" y="98"/>
                    </a:lnTo>
                    <a:lnTo>
                      <a:pt x="65" y="91"/>
                    </a:lnTo>
                    <a:lnTo>
                      <a:pt x="71" y="85"/>
                    </a:lnTo>
                    <a:lnTo>
                      <a:pt x="72" y="79"/>
                    </a:lnTo>
                    <a:lnTo>
                      <a:pt x="72" y="73"/>
                    </a:lnTo>
                    <a:lnTo>
                      <a:pt x="67" y="68"/>
                    </a:lnTo>
                    <a:lnTo>
                      <a:pt x="63" y="64"/>
                    </a:lnTo>
                    <a:lnTo>
                      <a:pt x="59" y="62"/>
                    </a:lnTo>
                    <a:lnTo>
                      <a:pt x="57" y="50"/>
                    </a:lnTo>
                    <a:lnTo>
                      <a:pt x="53" y="47"/>
                    </a:lnTo>
                    <a:lnTo>
                      <a:pt x="55" y="41"/>
                    </a:lnTo>
                    <a:lnTo>
                      <a:pt x="61" y="37"/>
                    </a:lnTo>
                    <a:lnTo>
                      <a:pt x="65" y="35"/>
                    </a:lnTo>
                    <a:lnTo>
                      <a:pt x="69" y="37"/>
                    </a:lnTo>
                    <a:lnTo>
                      <a:pt x="72" y="35"/>
                    </a:lnTo>
                    <a:lnTo>
                      <a:pt x="74" y="33"/>
                    </a:lnTo>
                    <a:lnTo>
                      <a:pt x="80" y="29"/>
                    </a:lnTo>
                    <a:lnTo>
                      <a:pt x="88" y="27"/>
                    </a:lnTo>
                    <a:lnTo>
                      <a:pt x="94" y="23"/>
                    </a:lnTo>
                    <a:lnTo>
                      <a:pt x="97" y="20"/>
                    </a:lnTo>
                    <a:lnTo>
                      <a:pt x="101" y="16"/>
                    </a:lnTo>
                    <a:lnTo>
                      <a:pt x="103" y="8"/>
                    </a:lnTo>
                    <a:lnTo>
                      <a:pt x="109" y="4"/>
                    </a:lnTo>
                    <a:lnTo>
                      <a:pt x="113" y="0"/>
                    </a:lnTo>
                    <a:lnTo>
                      <a:pt x="119" y="0"/>
                    </a:lnTo>
                    <a:lnTo>
                      <a:pt x="122" y="2"/>
                    </a:lnTo>
                    <a:lnTo>
                      <a:pt x="130" y="2"/>
                    </a:lnTo>
                    <a:lnTo>
                      <a:pt x="132" y="8"/>
                    </a:lnTo>
                    <a:lnTo>
                      <a:pt x="136" y="12"/>
                    </a:lnTo>
                    <a:lnTo>
                      <a:pt x="138" y="18"/>
                    </a:lnTo>
                    <a:lnTo>
                      <a:pt x="134" y="22"/>
                    </a:lnTo>
                    <a:lnTo>
                      <a:pt x="134" y="25"/>
                    </a:lnTo>
                    <a:lnTo>
                      <a:pt x="130" y="29"/>
                    </a:lnTo>
                    <a:lnTo>
                      <a:pt x="126" y="33"/>
                    </a:lnTo>
                    <a:lnTo>
                      <a:pt x="124" y="39"/>
                    </a:lnTo>
                    <a:lnTo>
                      <a:pt x="122" y="41"/>
                    </a:lnTo>
                    <a:lnTo>
                      <a:pt x="119" y="47"/>
                    </a:lnTo>
                    <a:lnTo>
                      <a:pt x="124" y="50"/>
                    </a:lnTo>
                    <a:lnTo>
                      <a:pt x="128" y="54"/>
                    </a:lnTo>
                    <a:lnTo>
                      <a:pt x="126" y="64"/>
                    </a:lnTo>
                    <a:lnTo>
                      <a:pt x="132" y="66"/>
                    </a:lnTo>
                    <a:lnTo>
                      <a:pt x="134" y="66"/>
                    </a:lnTo>
                    <a:lnTo>
                      <a:pt x="134" y="71"/>
                    </a:lnTo>
                    <a:lnTo>
                      <a:pt x="132" y="77"/>
                    </a:lnTo>
                    <a:lnTo>
                      <a:pt x="134" y="81"/>
                    </a:lnTo>
                    <a:lnTo>
                      <a:pt x="130" y="83"/>
                    </a:lnTo>
                    <a:lnTo>
                      <a:pt x="132" y="89"/>
                    </a:lnTo>
                    <a:lnTo>
                      <a:pt x="140" y="93"/>
                    </a:lnTo>
                    <a:lnTo>
                      <a:pt x="143" y="94"/>
                    </a:lnTo>
                    <a:lnTo>
                      <a:pt x="151" y="96"/>
                    </a:lnTo>
                    <a:lnTo>
                      <a:pt x="155" y="100"/>
                    </a:lnTo>
                    <a:lnTo>
                      <a:pt x="159" y="104"/>
                    </a:lnTo>
                    <a:lnTo>
                      <a:pt x="151" y="110"/>
                    </a:lnTo>
                    <a:lnTo>
                      <a:pt x="147" y="118"/>
                    </a:lnTo>
                    <a:lnTo>
                      <a:pt x="149" y="125"/>
                    </a:lnTo>
                    <a:lnTo>
                      <a:pt x="155" y="127"/>
                    </a:lnTo>
                    <a:lnTo>
                      <a:pt x="157" y="133"/>
                    </a:lnTo>
                    <a:lnTo>
                      <a:pt x="165" y="135"/>
                    </a:lnTo>
                    <a:lnTo>
                      <a:pt x="170" y="139"/>
                    </a:lnTo>
                    <a:lnTo>
                      <a:pt x="180" y="142"/>
                    </a:lnTo>
                    <a:lnTo>
                      <a:pt x="188" y="142"/>
                    </a:lnTo>
                    <a:lnTo>
                      <a:pt x="191" y="146"/>
                    </a:lnTo>
                    <a:lnTo>
                      <a:pt x="195" y="152"/>
                    </a:lnTo>
                    <a:lnTo>
                      <a:pt x="201" y="152"/>
                    </a:lnTo>
                    <a:lnTo>
                      <a:pt x="207" y="158"/>
                    </a:lnTo>
                    <a:lnTo>
                      <a:pt x="216" y="158"/>
                    </a:lnTo>
                    <a:lnTo>
                      <a:pt x="228" y="164"/>
                    </a:lnTo>
                    <a:lnTo>
                      <a:pt x="234" y="164"/>
                    </a:lnTo>
                    <a:lnTo>
                      <a:pt x="241" y="165"/>
                    </a:lnTo>
                    <a:lnTo>
                      <a:pt x="247" y="164"/>
                    </a:lnTo>
                    <a:lnTo>
                      <a:pt x="249" y="162"/>
                    </a:lnTo>
                    <a:lnTo>
                      <a:pt x="249" y="158"/>
                    </a:lnTo>
                    <a:lnTo>
                      <a:pt x="245" y="154"/>
                    </a:lnTo>
                    <a:lnTo>
                      <a:pt x="249" y="150"/>
                    </a:lnTo>
                    <a:lnTo>
                      <a:pt x="249" y="142"/>
                    </a:lnTo>
                    <a:lnTo>
                      <a:pt x="253" y="141"/>
                    </a:lnTo>
                    <a:lnTo>
                      <a:pt x="257" y="141"/>
                    </a:lnTo>
                    <a:lnTo>
                      <a:pt x="261" y="146"/>
                    </a:lnTo>
                    <a:lnTo>
                      <a:pt x="262" y="150"/>
                    </a:lnTo>
                    <a:lnTo>
                      <a:pt x="266" y="154"/>
                    </a:lnTo>
                    <a:lnTo>
                      <a:pt x="272" y="154"/>
                    </a:lnTo>
                    <a:lnTo>
                      <a:pt x="278" y="152"/>
                    </a:lnTo>
                    <a:lnTo>
                      <a:pt x="285" y="154"/>
                    </a:lnTo>
                    <a:lnTo>
                      <a:pt x="297" y="154"/>
                    </a:lnTo>
                    <a:lnTo>
                      <a:pt x="301" y="152"/>
                    </a:lnTo>
                    <a:lnTo>
                      <a:pt x="301" y="146"/>
                    </a:lnTo>
                    <a:lnTo>
                      <a:pt x="299" y="137"/>
                    </a:lnTo>
                    <a:lnTo>
                      <a:pt x="305" y="137"/>
                    </a:lnTo>
                    <a:lnTo>
                      <a:pt x="310" y="133"/>
                    </a:lnTo>
                    <a:lnTo>
                      <a:pt x="316" y="129"/>
                    </a:lnTo>
                    <a:lnTo>
                      <a:pt x="322" y="129"/>
                    </a:lnTo>
                    <a:lnTo>
                      <a:pt x="326" y="131"/>
                    </a:lnTo>
                    <a:lnTo>
                      <a:pt x="332" y="125"/>
                    </a:lnTo>
                    <a:lnTo>
                      <a:pt x="335" y="127"/>
                    </a:lnTo>
                    <a:lnTo>
                      <a:pt x="343" y="129"/>
                    </a:lnTo>
                    <a:lnTo>
                      <a:pt x="343" y="137"/>
                    </a:lnTo>
                    <a:lnTo>
                      <a:pt x="345" y="139"/>
                    </a:lnTo>
                    <a:lnTo>
                      <a:pt x="349" y="139"/>
                    </a:lnTo>
                    <a:lnTo>
                      <a:pt x="353" y="139"/>
                    </a:lnTo>
                    <a:lnTo>
                      <a:pt x="356" y="141"/>
                    </a:lnTo>
                    <a:lnTo>
                      <a:pt x="362" y="142"/>
                    </a:lnTo>
                    <a:lnTo>
                      <a:pt x="364" y="146"/>
                    </a:lnTo>
                    <a:lnTo>
                      <a:pt x="364" y="150"/>
                    </a:lnTo>
                    <a:lnTo>
                      <a:pt x="364" y="160"/>
                    </a:lnTo>
                    <a:lnTo>
                      <a:pt x="360" y="165"/>
                    </a:lnTo>
                    <a:lnTo>
                      <a:pt x="356" y="165"/>
                    </a:lnTo>
                    <a:lnTo>
                      <a:pt x="349" y="165"/>
                    </a:lnTo>
                    <a:lnTo>
                      <a:pt x="345" y="175"/>
                    </a:lnTo>
                    <a:lnTo>
                      <a:pt x="345" y="179"/>
                    </a:lnTo>
                    <a:lnTo>
                      <a:pt x="339" y="183"/>
                    </a:lnTo>
                    <a:lnTo>
                      <a:pt x="335" y="189"/>
                    </a:lnTo>
                    <a:lnTo>
                      <a:pt x="330" y="190"/>
                    </a:lnTo>
                    <a:lnTo>
                      <a:pt x="328" y="192"/>
                    </a:lnTo>
                    <a:lnTo>
                      <a:pt x="332" y="196"/>
                    </a:lnTo>
                    <a:lnTo>
                      <a:pt x="332" y="200"/>
                    </a:lnTo>
                    <a:lnTo>
                      <a:pt x="326" y="206"/>
                    </a:lnTo>
                    <a:lnTo>
                      <a:pt x="324" y="213"/>
                    </a:lnTo>
                    <a:lnTo>
                      <a:pt x="316" y="210"/>
                    </a:lnTo>
                    <a:lnTo>
                      <a:pt x="316" y="221"/>
                    </a:lnTo>
                    <a:lnTo>
                      <a:pt x="318" y="227"/>
                    </a:lnTo>
                    <a:lnTo>
                      <a:pt x="320" y="233"/>
                    </a:lnTo>
                    <a:lnTo>
                      <a:pt x="318" y="236"/>
                    </a:lnTo>
                    <a:lnTo>
                      <a:pt x="316" y="240"/>
                    </a:lnTo>
                    <a:lnTo>
                      <a:pt x="314" y="242"/>
                    </a:lnTo>
                    <a:lnTo>
                      <a:pt x="310" y="240"/>
                    </a:lnTo>
                    <a:lnTo>
                      <a:pt x="307" y="242"/>
                    </a:lnTo>
                    <a:lnTo>
                      <a:pt x="307" y="235"/>
                    </a:lnTo>
                    <a:lnTo>
                      <a:pt x="307" y="229"/>
                    </a:lnTo>
                    <a:lnTo>
                      <a:pt x="301" y="219"/>
                    </a:lnTo>
                    <a:lnTo>
                      <a:pt x="299" y="225"/>
                    </a:lnTo>
                    <a:lnTo>
                      <a:pt x="293" y="225"/>
                    </a:lnTo>
                    <a:lnTo>
                      <a:pt x="291" y="221"/>
                    </a:lnTo>
                    <a:lnTo>
                      <a:pt x="293" y="212"/>
                    </a:lnTo>
                    <a:lnTo>
                      <a:pt x="297" y="206"/>
                    </a:lnTo>
                    <a:lnTo>
                      <a:pt x="297" y="202"/>
                    </a:lnTo>
                    <a:lnTo>
                      <a:pt x="301" y="198"/>
                    </a:lnTo>
                    <a:lnTo>
                      <a:pt x="299" y="192"/>
                    </a:lnTo>
                    <a:lnTo>
                      <a:pt x="305" y="189"/>
                    </a:lnTo>
                    <a:lnTo>
                      <a:pt x="297" y="189"/>
                    </a:lnTo>
                    <a:lnTo>
                      <a:pt x="289" y="190"/>
                    </a:lnTo>
                    <a:lnTo>
                      <a:pt x="282" y="190"/>
                    </a:lnTo>
                    <a:lnTo>
                      <a:pt x="274" y="190"/>
                    </a:lnTo>
                    <a:lnTo>
                      <a:pt x="270" y="190"/>
                    </a:lnTo>
                    <a:lnTo>
                      <a:pt x="268" y="181"/>
                    </a:lnTo>
                    <a:lnTo>
                      <a:pt x="270" y="173"/>
                    </a:lnTo>
                    <a:lnTo>
                      <a:pt x="266" y="169"/>
                    </a:lnTo>
                    <a:lnTo>
                      <a:pt x="259" y="171"/>
                    </a:lnTo>
                    <a:lnTo>
                      <a:pt x="253" y="165"/>
                    </a:lnTo>
                    <a:lnTo>
                      <a:pt x="249" y="171"/>
                    </a:lnTo>
                    <a:lnTo>
                      <a:pt x="255" y="177"/>
                    </a:lnTo>
                    <a:lnTo>
                      <a:pt x="253" y="183"/>
                    </a:lnTo>
                    <a:lnTo>
                      <a:pt x="245" y="187"/>
                    </a:lnTo>
                    <a:lnTo>
                      <a:pt x="241" y="189"/>
                    </a:lnTo>
                    <a:lnTo>
                      <a:pt x="243" y="198"/>
                    </a:lnTo>
                    <a:lnTo>
                      <a:pt x="243" y="202"/>
                    </a:lnTo>
                    <a:lnTo>
                      <a:pt x="251" y="206"/>
                    </a:lnTo>
                    <a:lnTo>
                      <a:pt x="255" y="210"/>
                    </a:lnTo>
                    <a:lnTo>
                      <a:pt x="253" y="219"/>
                    </a:lnTo>
                    <a:lnTo>
                      <a:pt x="257" y="223"/>
                    </a:lnTo>
                    <a:lnTo>
                      <a:pt x="257" y="233"/>
                    </a:lnTo>
                    <a:lnTo>
                      <a:pt x="253" y="238"/>
                    </a:lnTo>
                    <a:lnTo>
                      <a:pt x="255" y="248"/>
                    </a:lnTo>
                    <a:lnTo>
                      <a:pt x="255" y="24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7" name="Freeform 165"/>
              <p:cNvSpPr>
                <a:spLocks noEditPoints="1"/>
              </p:cNvSpPr>
              <p:nvPr/>
            </p:nvSpPr>
            <p:spPr bwMode="gray">
              <a:xfrm>
                <a:off x="3854424" y="2605089"/>
                <a:ext cx="206352" cy="107950"/>
              </a:xfrm>
              <a:custGeom>
                <a:avLst/>
                <a:gdLst>
                  <a:gd name="T0" fmla="*/ 98 w 130"/>
                  <a:gd name="T1" fmla="*/ 10 h 68"/>
                  <a:gd name="T2" fmla="*/ 86 w 130"/>
                  <a:gd name="T3" fmla="*/ 12 h 68"/>
                  <a:gd name="T4" fmla="*/ 77 w 130"/>
                  <a:gd name="T5" fmla="*/ 12 h 68"/>
                  <a:gd name="T6" fmla="*/ 75 w 130"/>
                  <a:gd name="T7" fmla="*/ 18 h 68"/>
                  <a:gd name="T8" fmla="*/ 67 w 130"/>
                  <a:gd name="T9" fmla="*/ 10 h 68"/>
                  <a:gd name="T10" fmla="*/ 65 w 130"/>
                  <a:gd name="T11" fmla="*/ 10 h 68"/>
                  <a:gd name="T12" fmla="*/ 59 w 130"/>
                  <a:gd name="T13" fmla="*/ 12 h 68"/>
                  <a:gd name="T14" fmla="*/ 54 w 130"/>
                  <a:gd name="T15" fmla="*/ 18 h 68"/>
                  <a:gd name="T16" fmla="*/ 48 w 130"/>
                  <a:gd name="T17" fmla="*/ 10 h 68"/>
                  <a:gd name="T18" fmla="*/ 40 w 130"/>
                  <a:gd name="T19" fmla="*/ 23 h 68"/>
                  <a:gd name="T20" fmla="*/ 35 w 130"/>
                  <a:gd name="T21" fmla="*/ 23 h 68"/>
                  <a:gd name="T22" fmla="*/ 36 w 130"/>
                  <a:gd name="T23" fmla="*/ 14 h 68"/>
                  <a:gd name="T24" fmla="*/ 29 w 130"/>
                  <a:gd name="T25" fmla="*/ 8 h 68"/>
                  <a:gd name="T26" fmla="*/ 23 w 130"/>
                  <a:gd name="T27" fmla="*/ 10 h 68"/>
                  <a:gd name="T28" fmla="*/ 27 w 130"/>
                  <a:gd name="T29" fmla="*/ 16 h 68"/>
                  <a:gd name="T30" fmla="*/ 19 w 130"/>
                  <a:gd name="T31" fmla="*/ 14 h 68"/>
                  <a:gd name="T32" fmla="*/ 11 w 130"/>
                  <a:gd name="T33" fmla="*/ 16 h 68"/>
                  <a:gd name="T34" fmla="*/ 6 w 130"/>
                  <a:gd name="T35" fmla="*/ 23 h 68"/>
                  <a:gd name="T36" fmla="*/ 4 w 130"/>
                  <a:gd name="T37" fmla="*/ 29 h 68"/>
                  <a:gd name="T38" fmla="*/ 21 w 130"/>
                  <a:gd name="T39" fmla="*/ 21 h 68"/>
                  <a:gd name="T40" fmla="*/ 21 w 130"/>
                  <a:gd name="T41" fmla="*/ 33 h 68"/>
                  <a:gd name="T42" fmla="*/ 13 w 130"/>
                  <a:gd name="T43" fmla="*/ 37 h 68"/>
                  <a:gd name="T44" fmla="*/ 6 w 130"/>
                  <a:gd name="T45" fmla="*/ 43 h 68"/>
                  <a:gd name="T46" fmla="*/ 27 w 130"/>
                  <a:gd name="T47" fmla="*/ 45 h 68"/>
                  <a:gd name="T48" fmla="*/ 19 w 130"/>
                  <a:gd name="T49" fmla="*/ 54 h 68"/>
                  <a:gd name="T50" fmla="*/ 27 w 130"/>
                  <a:gd name="T51" fmla="*/ 58 h 68"/>
                  <a:gd name="T52" fmla="*/ 38 w 130"/>
                  <a:gd name="T53" fmla="*/ 56 h 68"/>
                  <a:gd name="T54" fmla="*/ 52 w 130"/>
                  <a:gd name="T55" fmla="*/ 62 h 68"/>
                  <a:gd name="T56" fmla="*/ 48 w 130"/>
                  <a:gd name="T57" fmla="*/ 68 h 68"/>
                  <a:gd name="T58" fmla="*/ 77 w 130"/>
                  <a:gd name="T59" fmla="*/ 62 h 68"/>
                  <a:gd name="T60" fmla="*/ 86 w 130"/>
                  <a:gd name="T61" fmla="*/ 60 h 68"/>
                  <a:gd name="T62" fmla="*/ 92 w 130"/>
                  <a:gd name="T63" fmla="*/ 58 h 68"/>
                  <a:gd name="T64" fmla="*/ 106 w 130"/>
                  <a:gd name="T65" fmla="*/ 50 h 68"/>
                  <a:gd name="T66" fmla="*/ 119 w 130"/>
                  <a:gd name="T67" fmla="*/ 43 h 68"/>
                  <a:gd name="T68" fmla="*/ 127 w 130"/>
                  <a:gd name="T69" fmla="*/ 37 h 68"/>
                  <a:gd name="T70" fmla="*/ 129 w 130"/>
                  <a:gd name="T71" fmla="*/ 29 h 68"/>
                  <a:gd name="T72" fmla="*/ 121 w 130"/>
                  <a:gd name="T73" fmla="*/ 20 h 68"/>
                  <a:gd name="T74" fmla="*/ 115 w 130"/>
                  <a:gd name="T75" fmla="*/ 20 h 68"/>
                  <a:gd name="T76" fmla="*/ 113 w 130"/>
                  <a:gd name="T77" fmla="*/ 12 h 68"/>
                  <a:gd name="T78" fmla="*/ 117 w 130"/>
                  <a:gd name="T79" fmla="*/ 6 h 68"/>
                  <a:gd name="T80" fmla="*/ 109 w 130"/>
                  <a:gd name="T81" fmla="*/ 10 h 68"/>
                  <a:gd name="T82" fmla="*/ 102 w 130"/>
                  <a:gd name="T83" fmla="*/ 2 h 68"/>
                  <a:gd name="T84" fmla="*/ 15 w 130"/>
                  <a:gd name="T85" fmla="*/ 4 h 68"/>
                  <a:gd name="T86" fmla="*/ 25 w 130"/>
                  <a:gd name="T87" fmla="*/ 2 h 68"/>
                  <a:gd name="T88" fmla="*/ 15 w 130"/>
                  <a:gd name="T89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0" h="68">
                    <a:moveTo>
                      <a:pt x="98" y="2"/>
                    </a:moveTo>
                    <a:lnTo>
                      <a:pt x="98" y="6"/>
                    </a:lnTo>
                    <a:lnTo>
                      <a:pt x="98" y="10"/>
                    </a:lnTo>
                    <a:lnTo>
                      <a:pt x="90" y="8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81" y="12"/>
                    </a:lnTo>
                    <a:lnTo>
                      <a:pt x="79" y="14"/>
                    </a:lnTo>
                    <a:lnTo>
                      <a:pt x="77" y="12"/>
                    </a:lnTo>
                    <a:lnTo>
                      <a:pt x="73" y="10"/>
                    </a:lnTo>
                    <a:lnTo>
                      <a:pt x="73" y="14"/>
                    </a:lnTo>
                    <a:lnTo>
                      <a:pt x="75" y="18"/>
                    </a:lnTo>
                    <a:lnTo>
                      <a:pt x="71" y="18"/>
                    </a:lnTo>
                    <a:lnTo>
                      <a:pt x="69" y="16"/>
                    </a:lnTo>
                    <a:lnTo>
                      <a:pt x="67" y="10"/>
                    </a:lnTo>
                    <a:lnTo>
                      <a:pt x="67" y="6"/>
                    </a:lnTo>
                    <a:lnTo>
                      <a:pt x="65" y="8"/>
                    </a:lnTo>
                    <a:lnTo>
                      <a:pt x="65" y="10"/>
                    </a:lnTo>
                    <a:lnTo>
                      <a:pt x="61" y="10"/>
                    </a:lnTo>
                    <a:lnTo>
                      <a:pt x="59" y="10"/>
                    </a:lnTo>
                    <a:lnTo>
                      <a:pt x="59" y="12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4" y="18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48" y="10"/>
                    </a:lnTo>
                    <a:lnTo>
                      <a:pt x="48" y="16"/>
                    </a:lnTo>
                    <a:lnTo>
                      <a:pt x="48" y="23"/>
                    </a:lnTo>
                    <a:lnTo>
                      <a:pt x="40" y="23"/>
                    </a:lnTo>
                    <a:lnTo>
                      <a:pt x="38" y="27"/>
                    </a:lnTo>
                    <a:lnTo>
                      <a:pt x="36" y="29"/>
                    </a:lnTo>
                    <a:lnTo>
                      <a:pt x="35" y="23"/>
                    </a:lnTo>
                    <a:lnTo>
                      <a:pt x="36" y="21"/>
                    </a:lnTo>
                    <a:lnTo>
                      <a:pt x="36" y="16"/>
                    </a:lnTo>
                    <a:lnTo>
                      <a:pt x="36" y="14"/>
                    </a:lnTo>
                    <a:lnTo>
                      <a:pt x="33" y="14"/>
                    </a:lnTo>
                    <a:lnTo>
                      <a:pt x="31" y="10"/>
                    </a:lnTo>
                    <a:lnTo>
                      <a:pt x="29" y="8"/>
                    </a:lnTo>
                    <a:lnTo>
                      <a:pt x="27" y="8"/>
                    </a:lnTo>
                    <a:lnTo>
                      <a:pt x="21" y="8"/>
                    </a:lnTo>
                    <a:lnTo>
                      <a:pt x="23" y="10"/>
                    </a:lnTo>
                    <a:lnTo>
                      <a:pt x="25" y="12"/>
                    </a:lnTo>
                    <a:lnTo>
                      <a:pt x="27" y="14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5" y="18"/>
                    </a:lnTo>
                    <a:lnTo>
                      <a:pt x="19" y="14"/>
                    </a:lnTo>
                    <a:lnTo>
                      <a:pt x="15" y="14"/>
                    </a:lnTo>
                    <a:lnTo>
                      <a:pt x="13" y="16"/>
                    </a:lnTo>
                    <a:lnTo>
                      <a:pt x="11" y="16"/>
                    </a:lnTo>
                    <a:lnTo>
                      <a:pt x="13" y="20"/>
                    </a:lnTo>
                    <a:lnTo>
                      <a:pt x="10" y="21"/>
                    </a:lnTo>
                    <a:lnTo>
                      <a:pt x="6" y="23"/>
                    </a:lnTo>
                    <a:lnTo>
                      <a:pt x="4" y="25"/>
                    </a:lnTo>
                    <a:lnTo>
                      <a:pt x="0" y="27"/>
                    </a:lnTo>
                    <a:lnTo>
                      <a:pt x="4" y="29"/>
                    </a:lnTo>
                    <a:lnTo>
                      <a:pt x="10" y="29"/>
                    </a:lnTo>
                    <a:lnTo>
                      <a:pt x="15" y="25"/>
                    </a:lnTo>
                    <a:lnTo>
                      <a:pt x="21" y="21"/>
                    </a:lnTo>
                    <a:lnTo>
                      <a:pt x="23" y="25"/>
                    </a:lnTo>
                    <a:lnTo>
                      <a:pt x="27" y="33"/>
                    </a:lnTo>
                    <a:lnTo>
                      <a:pt x="21" y="33"/>
                    </a:lnTo>
                    <a:lnTo>
                      <a:pt x="15" y="33"/>
                    </a:lnTo>
                    <a:lnTo>
                      <a:pt x="13" y="35"/>
                    </a:lnTo>
                    <a:lnTo>
                      <a:pt x="13" y="37"/>
                    </a:lnTo>
                    <a:lnTo>
                      <a:pt x="8" y="39"/>
                    </a:lnTo>
                    <a:lnTo>
                      <a:pt x="4" y="39"/>
                    </a:lnTo>
                    <a:lnTo>
                      <a:pt x="6" y="43"/>
                    </a:lnTo>
                    <a:lnTo>
                      <a:pt x="13" y="41"/>
                    </a:lnTo>
                    <a:lnTo>
                      <a:pt x="23" y="41"/>
                    </a:lnTo>
                    <a:lnTo>
                      <a:pt x="27" y="45"/>
                    </a:lnTo>
                    <a:lnTo>
                      <a:pt x="33" y="50"/>
                    </a:lnTo>
                    <a:lnTo>
                      <a:pt x="25" y="52"/>
                    </a:lnTo>
                    <a:lnTo>
                      <a:pt x="19" y="54"/>
                    </a:lnTo>
                    <a:lnTo>
                      <a:pt x="21" y="56"/>
                    </a:lnTo>
                    <a:lnTo>
                      <a:pt x="23" y="60"/>
                    </a:lnTo>
                    <a:lnTo>
                      <a:pt x="27" y="58"/>
                    </a:lnTo>
                    <a:lnTo>
                      <a:pt x="31" y="58"/>
                    </a:lnTo>
                    <a:lnTo>
                      <a:pt x="33" y="56"/>
                    </a:lnTo>
                    <a:lnTo>
                      <a:pt x="38" y="56"/>
                    </a:lnTo>
                    <a:lnTo>
                      <a:pt x="44" y="58"/>
                    </a:lnTo>
                    <a:lnTo>
                      <a:pt x="52" y="60"/>
                    </a:lnTo>
                    <a:lnTo>
                      <a:pt x="52" y="62"/>
                    </a:lnTo>
                    <a:lnTo>
                      <a:pt x="50" y="64"/>
                    </a:lnTo>
                    <a:lnTo>
                      <a:pt x="48" y="66"/>
                    </a:lnTo>
                    <a:lnTo>
                      <a:pt x="48" y="68"/>
                    </a:lnTo>
                    <a:lnTo>
                      <a:pt x="75" y="68"/>
                    </a:lnTo>
                    <a:lnTo>
                      <a:pt x="77" y="64"/>
                    </a:lnTo>
                    <a:lnTo>
                      <a:pt x="77" y="62"/>
                    </a:lnTo>
                    <a:lnTo>
                      <a:pt x="75" y="56"/>
                    </a:lnTo>
                    <a:lnTo>
                      <a:pt x="81" y="58"/>
                    </a:lnTo>
                    <a:lnTo>
                      <a:pt x="86" y="60"/>
                    </a:lnTo>
                    <a:lnTo>
                      <a:pt x="88" y="58"/>
                    </a:lnTo>
                    <a:lnTo>
                      <a:pt x="92" y="56"/>
                    </a:lnTo>
                    <a:lnTo>
                      <a:pt x="92" y="58"/>
                    </a:lnTo>
                    <a:lnTo>
                      <a:pt x="96" y="58"/>
                    </a:lnTo>
                    <a:lnTo>
                      <a:pt x="100" y="54"/>
                    </a:lnTo>
                    <a:lnTo>
                      <a:pt x="106" y="50"/>
                    </a:lnTo>
                    <a:lnTo>
                      <a:pt x="107" y="50"/>
                    </a:lnTo>
                    <a:lnTo>
                      <a:pt x="111" y="50"/>
                    </a:lnTo>
                    <a:lnTo>
                      <a:pt x="119" y="43"/>
                    </a:lnTo>
                    <a:lnTo>
                      <a:pt x="125" y="35"/>
                    </a:lnTo>
                    <a:lnTo>
                      <a:pt x="123" y="37"/>
                    </a:lnTo>
                    <a:lnTo>
                      <a:pt x="127" y="37"/>
                    </a:lnTo>
                    <a:lnTo>
                      <a:pt x="127" y="39"/>
                    </a:lnTo>
                    <a:lnTo>
                      <a:pt x="130" y="37"/>
                    </a:lnTo>
                    <a:lnTo>
                      <a:pt x="129" y="29"/>
                    </a:lnTo>
                    <a:lnTo>
                      <a:pt x="129" y="23"/>
                    </a:lnTo>
                    <a:lnTo>
                      <a:pt x="123" y="21"/>
                    </a:lnTo>
                    <a:lnTo>
                      <a:pt x="121" y="20"/>
                    </a:lnTo>
                    <a:lnTo>
                      <a:pt x="117" y="21"/>
                    </a:lnTo>
                    <a:lnTo>
                      <a:pt x="115" y="23"/>
                    </a:lnTo>
                    <a:lnTo>
                      <a:pt x="115" y="20"/>
                    </a:lnTo>
                    <a:lnTo>
                      <a:pt x="117" y="18"/>
                    </a:lnTo>
                    <a:lnTo>
                      <a:pt x="115" y="14"/>
                    </a:lnTo>
                    <a:lnTo>
                      <a:pt x="113" y="12"/>
                    </a:lnTo>
                    <a:lnTo>
                      <a:pt x="115" y="8"/>
                    </a:lnTo>
                    <a:lnTo>
                      <a:pt x="119" y="6"/>
                    </a:lnTo>
                    <a:lnTo>
                      <a:pt x="117" y="6"/>
                    </a:lnTo>
                    <a:lnTo>
                      <a:pt x="111" y="8"/>
                    </a:lnTo>
                    <a:lnTo>
                      <a:pt x="111" y="10"/>
                    </a:lnTo>
                    <a:lnTo>
                      <a:pt x="109" y="10"/>
                    </a:lnTo>
                    <a:lnTo>
                      <a:pt x="107" y="6"/>
                    </a:lnTo>
                    <a:lnTo>
                      <a:pt x="106" y="4"/>
                    </a:lnTo>
                    <a:lnTo>
                      <a:pt x="102" y="2"/>
                    </a:lnTo>
                    <a:lnTo>
                      <a:pt x="98" y="2"/>
                    </a:lnTo>
                    <a:close/>
                    <a:moveTo>
                      <a:pt x="15" y="0"/>
                    </a:moveTo>
                    <a:lnTo>
                      <a:pt x="15" y="4"/>
                    </a:lnTo>
                    <a:lnTo>
                      <a:pt x="19" y="4"/>
                    </a:lnTo>
                    <a:lnTo>
                      <a:pt x="27" y="4"/>
                    </a:lnTo>
                    <a:lnTo>
                      <a:pt x="25" y="2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8" name="Freeform 166"/>
              <p:cNvSpPr>
                <a:spLocks/>
              </p:cNvSpPr>
              <p:nvPr/>
            </p:nvSpPr>
            <p:spPr bwMode="gray">
              <a:xfrm>
                <a:off x="4652847" y="3194051"/>
                <a:ext cx="139684" cy="93663"/>
              </a:xfrm>
              <a:custGeom>
                <a:avLst/>
                <a:gdLst>
                  <a:gd name="T0" fmla="*/ 61 w 88"/>
                  <a:gd name="T1" fmla="*/ 52 h 59"/>
                  <a:gd name="T2" fmla="*/ 63 w 88"/>
                  <a:gd name="T3" fmla="*/ 52 h 59"/>
                  <a:gd name="T4" fmla="*/ 65 w 88"/>
                  <a:gd name="T5" fmla="*/ 52 h 59"/>
                  <a:gd name="T6" fmla="*/ 67 w 88"/>
                  <a:gd name="T7" fmla="*/ 50 h 59"/>
                  <a:gd name="T8" fmla="*/ 73 w 88"/>
                  <a:gd name="T9" fmla="*/ 44 h 59"/>
                  <a:gd name="T10" fmla="*/ 77 w 88"/>
                  <a:gd name="T11" fmla="*/ 32 h 59"/>
                  <a:gd name="T12" fmla="*/ 78 w 88"/>
                  <a:gd name="T13" fmla="*/ 23 h 59"/>
                  <a:gd name="T14" fmla="*/ 84 w 88"/>
                  <a:gd name="T15" fmla="*/ 19 h 59"/>
                  <a:gd name="T16" fmla="*/ 86 w 88"/>
                  <a:gd name="T17" fmla="*/ 15 h 59"/>
                  <a:gd name="T18" fmla="*/ 88 w 88"/>
                  <a:gd name="T19" fmla="*/ 7 h 59"/>
                  <a:gd name="T20" fmla="*/ 88 w 88"/>
                  <a:gd name="T21" fmla="*/ 4 h 59"/>
                  <a:gd name="T22" fmla="*/ 86 w 88"/>
                  <a:gd name="T23" fmla="*/ 4 h 59"/>
                  <a:gd name="T24" fmla="*/ 82 w 88"/>
                  <a:gd name="T25" fmla="*/ 2 h 59"/>
                  <a:gd name="T26" fmla="*/ 78 w 88"/>
                  <a:gd name="T27" fmla="*/ 0 h 59"/>
                  <a:gd name="T28" fmla="*/ 73 w 88"/>
                  <a:gd name="T29" fmla="*/ 0 h 59"/>
                  <a:gd name="T30" fmla="*/ 67 w 88"/>
                  <a:gd name="T31" fmla="*/ 0 h 59"/>
                  <a:gd name="T32" fmla="*/ 61 w 88"/>
                  <a:gd name="T33" fmla="*/ 2 h 59"/>
                  <a:gd name="T34" fmla="*/ 57 w 88"/>
                  <a:gd name="T35" fmla="*/ 4 h 59"/>
                  <a:gd name="T36" fmla="*/ 57 w 88"/>
                  <a:gd name="T37" fmla="*/ 6 h 59"/>
                  <a:gd name="T38" fmla="*/ 55 w 88"/>
                  <a:gd name="T39" fmla="*/ 6 h 59"/>
                  <a:gd name="T40" fmla="*/ 52 w 88"/>
                  <a:gd name="T41" fmla="*/ 4 h 59"/>
                  <a:gd name="T42" fmla="*/ 48 w 88"/>
                  <a:gd name="T43" fmla="*/ 4 h 59"/>
                  <a:gd name="T44" fmla="*/ 42 w 88"/>
                  <a:gd name="T45" fmla="*/ 6 h 59"/>
                  <a:gd name="T46" fmla="*/ 36 w 88"/>
                  <a:gd name="T47" fmla="*/ 6 h 59"/>
                  <a:gd name="T48" fmla="*/ 34 w 88"/>
                  <a:gd name="T49" fmla="*/ 6 h 59"/>
                  <a:gd name="T50" fmla="*/ 36 w 88"/>
                  <a:gd name="T51" fmla="*/ 11 h 59"/>
                  <a:gd name="T52" fmla="*/ 36 w 88"/>
                  <a:gd name="T53" fmla="*/ 11 h 59"/>
                  <a:gd name="T54" fmla="*/ 30 w 88"/>
                  <a:gd name="T55" fmla="*/ 11 h 59"/>
                  <a:gd name="T56" fmla="*/ 23 w 88"/>
                  <a:gd name="T57" fmla="*/ 9 h 59"/>
                  <a:gd name="T58" fmla="*/ 19 w 88"/>
                  <a:gd name="T59" fmla="*/ 9 h 59"/>
                  <a:gd name="T60" fmla="*/ 13 w 88"/>
                  <a:gd name="T61" fmla="*/ 7 h 59"/>
                  <a:gd name="T62" fmla="*/ 9 w 88"/>
                  <a:gd name="T63" fmla="*/ 6 h 59"/>
                  <a:gd name="T64" fmla="*/ 7 w 88"/>
                  <a:gd name="T65" fmla="*/ 6 h 59"/>
                  <a:gd name="T66" fmla="*/ 7 w 88"/>
                  <a:gd name="T67" fmla="*/ 7 h 59"/>
                  <a:gd name="T68" fmla="*/ 7 w 88"/>
                  <a:gd name="T69" fmla="*/ 9 h 59"/>
                  <a:gd name="T70" fmla="*/ 7 w 88"/>
                  <a:gd name="T71" fmla="*/ 11 h 59"/>
                  <a:gd name="T72" fmla="*/ 7 w 88"/>
                  <a:gd name="T73" fmla="*/ 15 h 59"/>
                  <a:gd name="T74" fmla="*/ 4 w 88"/>
                  <a:gd name="T75" fmla="*/ 19 h 59"/>
                  <a:gd name="T76" fmla="*/ 0 w 88"/>
                  <a:gd name="T77" fmla="*/ 21 h 59"/>
                  <a:gd name="T78" fmla="*/ 0 w 88"/>
                  <a:gd name="T79" fmla="*/ 23 h 59"/>
                  <a:gd name="T80" fmla="*/ 2 w 88"/>
                  <a:gd name="T81" fmla="*/ 25 h 59"/>
                  <a:gd name="T82" fmla="*/ 2 w 88"/>
                  <a:gd name="T83" fmla="*/ 27 h 59"/>
                  <a:gd name="T84" fmla="*/ 2 w 88"/>
                  <a:gd name="T85" fmla="*/ 30 h 59"/>
                  <a:gd name="T86" fmla="*/ 2 w 88"/>
                  <a:gd name="T87" fmla="*/ 32 h 59"/>
                  <a:gd name="T88" fmla="*/ 6 w 88"/>
                  <a:gd name="T89" fmla="*/ 34 h 59"/>
                  <a:gd name="T90" fmla="*/ 9 w 88"/>
                  <a:gd name="T91" fmla="*/ 40 h 59"/>
                  <a:gd name="T92" fmla="*/ 13 w 88"/>
                  <a:gd name="T93" fmla="*/ 46 h 59"/>
                  <a:gd name="T94" fmla="*/ 19 w 88"/>
                  <a:gd name="T95" fmla="*/ 52 h 59"/>
                  <a:gd name="T96" fmla="*/ 25 w 88"/>
                  <a:gd name="T97" fmla="*/ 55 h 59"/>
                  <a:gd name="T98" fmla="*/ 29 w 88"/>
                  <a:gd name="T99" fmla="*/ 57 h 59"/>
                  <a:gd name="T100" fmla="*/ 34 w 88"/>
                  <a:gd name="T101" fmla="*/ 59 h 59"/>
                  <a:gd name="T102" fmla="*/ 38 w 88"/>
                  <a:gd name="T103" fmla="*/ 59 h 59"/>
                  <a:gd name="T104" fmla="*/ 40 w 88"/>
                  <a:gd name="T105" fmla="*/ 59 h 59"/>
                  <a:gd name="T106" fmla="*/ 44 w 88"/>
                  <a:gd name="T107" fmla="*/ 57 h 59"/>
                  <a:gd name="T108" fmla="*/ 46 w 88"/>
                  <a:gd name="T109" fmla="*/ 55 h 59"/>
                  <a:gd name="T110" fmla="*/ 50 w 88"/>
                  <a:gd name="T111" fmla="*/ 52 h 59"/>
                  <a:gd name="T112" fmla="*/ 55 w 88"/>
                  <a:gd name="T113" fmla="*/ 52 h 59"/>
                  <a:gd name="T114" fmla="*/ 57 w 88"/>
                  <a:gd name="T115" fmla="*/ 52 h 59"/>
                  <a:gd name="T116" fmla="*/ 61 w 88"/>
                  <a:gd name="T117" fmla="*/ 5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59">
                    <a:moveTo>
                      <a:pt x="61" y="52"/>
                    </a:moveTo>
                    <a:lnTo>
                      <a:pt x="63" y="52"/>
                    </a:lnTo>
                    <a:lnTo>
                      <a:pt x="65" y="52"/>
                    </a:lnTo>
                    <a:lnTo>
                      <a:pt x="67" y="50"/>
                    </a:lnTo>
                    <a:lnTo>
                      <a:pt x="73" y="44"/>
                    </a:lnTo>
                    <a:lnTo>
                      <a:pt x="77" y="32"/>
                    </a:lnTo>
                    <a:lnTo>
                      <a:pt x="78" y="23"/>
                    </a:lnTo>
                    <a:lnTo>
                      <a:pt x="84" y="19"/>
                    </a:lnTo>
                    <a:lnTo>
                      <a:pt x="86" y="15"/>
                    </a:lnTo>
                    <a:lnTo>
                      <a:pt x="88" y="7"/>
                    </a:lnTo>
                    <a:lnTo>
                      <a:pt x="88" y="4"/>
                    </a:lnTo>
                    <a:lnTo>
                      <a:pt x="86" y="4"/>
                    </a:lnTo>
                    <a:lnTo>
                      <a:pt x="82" y="2"/>
                    </a:lnTo>
                    <a:lnTo>
                      <a:pt x="78" y="0"/>
                    </a:lnTo>
                    <a:lnTo>
                      <a:pt x="73" y="0"/>
                    </a:lnTo>
                    <a:lnTo>
                      <a:pt x="67" y="0"/>
                    </a:lnTo>
                    <a:lnTo>
                      <a:pt x="61" y="2"/>
                    </a:lnTo>
                    <a:lnTo>
                      <a:pt x="57" y="4"/>
                    </a:lnTo>
                    <a:lnTo>
                      <a:pt x="57" y="6"/>
                    </a:lnTo>
                    <a:lnTo>
                      <a:pt x="55" y="6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42" y="6"/>
                    </a:lnTo>
                    <a:lnTo>
                      <a:pt x="36" y="6"/>
                    </a:lnTo>
                    <a:lnTo>
                      <a:pt x="34" y="6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0" y="11"/>
                    </a:lnTo>
                    <a:lnTo>
                      <a:pt x="23" y="9"/>
                    </a:lnTo>
                    <a:lnTo>
                      <a:pt x="19" y="9"/>
                    </a:lnTo>
                    <a:lnTo>
                      <a:pt x="13" y="7"/>
                    </a:lnTo>
                    <a:lnTo>
                      <a:pt x="9" y="6"/>
                    </a:lnTo>
                    <a:lnTo>
                      <a:pt x="7" y="6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7" y="11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2" y="25"/>
                    </a:lnTo>
                    <a:lnTo>
                      <a:pt x="2" y="27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6" y="34"/>
                    </a:lnTo>
                    <a:lnTo>
                      <a:pt x="9" y="40"/>
                    </a:lnTo>
                    <a:lnTo>
                      <a:pt x="13" y="46"/>
                    </a:lnTo>
                    <a:lnTo>
                      <a:pt x="19" y="52"/>
                    </a:lnTo>
                    <a:lnTo>
                      <a:pt x="25" y="55"/>
                    </a:lnTo>
                    <a:lnTo>
                      <a:pt x="29" y="57"/>
                    </a:lnTo>
                    <a:lnTo>
                      <a:pt x="34" y="59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4" y="57"/>
                    </a:lnTo>
                    <a:lnTo>
                      <a:pt x="46" y="55"/>
                    </a:lnTo>
                    <a:lnTo>
                      <a:pt x="50" y="52"/>
                    </a:lnTo>
                    <a:lnTo>
                      <a:pt x="55" y="52"/>
                    </a:lnTo>
                    <a:lnTo>
                      <a:pt x="57" y="52"/>
                    </a:lnTo>
                    <a:lnTo>
                      <a:pt x="61" y="5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69" name="Freeform 167"/>
              <p:cNvSpPr>
                <a:spLocks/>
              </p:cNvSpPr>
              <p:nvPr/>
            </p:nvSpPr>
            <p:spPr bwMode="gray">
              <a:xfrm>
                <a:off x="2559168" y="4059239"/>
                <a:ext cx="125399" cy="69850"/>
              </a:xfrm>
              <a:custGeom>
                <a:avLst/>
                <a:gdLst>
                  <a:gd name="T0" fmla="*/ 79 w 79"/>
                  <a:gd name="T1" fmla="*/ 15 h 44"/>
                  <a:gd name="T2" fmla="*/ 73 w 79"/>
                  <a:gd name="T3" fmla="*/ 15 h 44"/>
                  <a:gd name="T4" fmla="*/ 69 w 79"/>
                  <a:gd name="T5" fmla="*/ 13 h 44"/>
                  <a:gd name="T6" fmla="*/ 66 w 79"/>
                  <a:gd name="T7" fmla="*/ 9 h 44"/>
                  <a:gd name="T8" fmla="*/ 66 w 79"/>
                  <a:gd name="T9" fmla="*/ 4 h 44"/>
                  <a:gd name="T10" fmla="*/ 56 w 79"/>
                  <a:gd name="T11" fmla="*/ 2 h 44"/>
                  <a:gd name="T12" fmla="*/ 48 w 79"/>
                  <a:gd name="T13" fmla="*/ 0 h 44"/>
                  <a:gd name="T14" fmla="*/ 39 w 79"/>
                  <a:gd name="T15" fmla="*/ 2 h 44"/>
                  <a:gd name="T16" fmla="*/ 33 w 79"/>
                  <a:gd name="T17" fmla="*/ 6 h 44"/>
                  <a:gd name="T18" fmla="*/ 21 w 79"/>
                  <a:gd name="T19" fmla="*/ 6 h 44"/>
                  <a:gd name="T20" fmla="*/ 12 w 79"/>
                  <a:gd name="T21" fmla="*/ 6 h 44"/>
                  <a:gd name="T22" fmla="*/ 12 w 79"/>
                  <a:gd name="T23" fmla="*/ 6 h 44"/>
                  <a:gd name="T24" fmla="*/ 12 w 79"/>
                  <a:gd name="T25" fmla="*/ 7 h 44"/>
                  <a:gd name="T26" fmla="*/ 8 w 79"/>
                  <a:gd name="T27" fmla="*/ 7 h 44"/>
                  <a:gd name="T28" fmla="*/ 4 w 79"/>
                  <a:gd name="T29" fmla="*/ 9 h 44"/>
                  <a:gd name="T30" fmla="*/ 4 w 79"/>
                  <a:gd name="T31" fmla="*/ 13 h 44"/>
                  <a:gd name="T32" fmla="*/ 2 w 79"/>
                  <a:gd name="T33" fmla="*/ 19 h 44"/>
                  <a:gd name="T34" fmla="*/ 0 w 79"/>
                  <a:gd name="T35" fmla="*/ 21 h 44"/>
                  <a:gd name="T36" fmla="*/ 6 w 79"/>
                  <a:gd name="T37" fmla="*/ 23 h 44"/>
                  <a:gd name="T38" fmla="*/ 12 w 79"/>
                  <a:gd name="T39" fmla="*/ 25 h 44"/>
                  <a:gd name="T40" fmla="*/ 16 w 79"/>
                  <a:gd name="T41" fmla="*/ 27 h 44"/>
                  <a:gd name="T42" fmla="*/ 20 w 79"/>
                  <a:gd name="T43" fmla="*/ 29 h 44"/>
                  <a:gd name="T44" fmla="*/ 23 w 79"/>
                  <a:gd name="T45" fmla="*/ 30 h 44"/>
                  <a:gd name="T46" fmla="*/ 25 w 79"/>
                  <a:gd name="T47" fmla="*/ 30 h 44"/>
                  <a:gd name="T48" fmla="*/ 25 w 79"/>
                  <a:gd name="T49" fmla="*/ 40 h 44"/>
                  <a:gd name="T50" fmla="*/ 27 w 79"/>
                  <a:gd name="T51" fmla="*/ 40 h 44"/>
                  <a:gd name="T52" fmla="*/ 27 w 79"/>
                  <a:gd name="T53" fmla="*/ 44 h 44"/>
                  <a:gd name="T54" fmla="*/ 29 w 79"/>
                  <a:gd name="T55" fmla="*/ 44 h 44"/>
                  <a:gd name="T56" fmla="*/ 31 w 79"/>
                  <a:gd name="T57" fmla="*/ 42 h 44"/>
                  <a:gd name="T58" fmla="*/ 33 w 79"/>
                  <a:gd name="T59" fmla="*/ 36 h 44"/>
                  <a:gd name="T60" fmla="*/ 31 w 79"/>
                  <a:gd name="T61" fmla="*/ 30 h 44"/>
                  <a:gd name="T62" fmla="*/ 35 w 79"/>
                  <a:gd name="T63" fmla="*/ 30 h 44"/>
                  <a:gd name="T64" fmla="*/ 41 w 79"/>
                  <a:gd name="T65" fmla="*/ 27 h 44"/>
                  <a:gd name="T66" fmla="*/ 46 w 79"/>
                  <a:gd name="T67" fmla="*/ 27 h 44"/>
                  <a:gd name="T68" fmla="*/ 48 w 79"/>
                  <a:gd name="T69" fmla="*/ 29 h 44"/>
                  <a:gd name="T70" fmla="*/ 50 w 79"/>
                  <a:gd name="T71" fmla="*/ 30 h 44"/>
                  <a:gd name="T72" fmla="*/ 54 w 79"/>
                  <a:gd name="T73" fmla="*/ 29 h 44"/>
                  <a:gd name="T74" fmla="*/ 60 w 79"/>
                  <a:gd name="T75" fmla="*/ 27 h 44"/>
                  <a:gd name="T76" fmla="*/ 64 w 79"/>
                  <a:gd name="T77" fmla="*/ 25 h 44"/>
                  <a:gd name="T78" fmla="*/ 66 w 79"/>
                  <a:gd name="T79" fmla="*/ 21 h 44"/>
                  <a:gd name="T80" fmla="*/ 68 w 79"/>
                  <a:gd name="T81" fmla="*/ 19 h 44"/>
                  <a:gd name="T82" fmla="*/ 77 w 79"/>
                  <a:gd name="T83" fmla="*/ 19 h 44"/>
                  <a:gd name="T84" fmla="*/ 79 w 79"/>
                  <a:gd name="T85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9" h="44">
                    <a:moveTo>
                      <a:pt x="79" y="15"/>
                    </a:moveTo>
                    <a:lnTo>
                      <a:pt x="73" y="15"/>
                    </a:lnTo>
                    <a:lnTo>
                      <a:pt x="69" y="13"/>
                    </a:lnTo>
                    <a:lnTo>
                      <a:pt x="66" y="9"/>
                    </a:lnTo>
                    <a:lnTo>
                      <a:pt x="66" y="4"/>
                    </a:lnTo>
                    <a:lnTo>
                      <a:pt x="56" y="2"/>
                    </a:lnTo>
                    <a:lnTo>
                      <a:pt x="48" y="0"/>
                    </a:lnTo>
                    <a:lnTo>
                      <a:pt x="39" y="2"/>
                    </a:lnTo>
                    <a:lnTo>
                      <a:pt x="33" y="6"/>
                    </a:lnTo>
                    <a:lnTo>
                      <a:pt x="21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7"/>
                    </a:lnTo>
                    <a:lnTo>
                      <a:pt x="8" y="7"/>
                    </a:lnTo>
                    <a:lnTo>
                      <a:pt x="4" y="9"/>
                    </a:lnTo>
                    <a:lnTo>
                      <a:pt x="4" y="13"/>
                    </a:lnTo>
                    <a:lnTo>
                      <a:pt x="2" y="19"/>
                    </a:lnTo>
                    <a:lnTo>
                      <a:pt x="0" y="21"/>
                    </a:lnTo>
                    <a:lnTo>
                      <a:pt x="6" y="23"/>
                    </a:lnTo>
                    <a:lnTo>
                      <a:pt x="12" y="25"/>
                    </a:lnTo>
                    <a:lnTo>
                      <a:pt x="16" y="27"/>
                    </a:lnTo>
                    <a:lnTo>
                      <a:pt x="20" y="29"/>
                    </a:lnTo>
                    <a:lnTo>
                      <a:pt x="23" y="30"/>
                    </a:lnTo>
                    <a:lnTo>
                      <a:pt x="25" y="30"/>
                    </a:lnTo>
                    <a:lnTo>
                      <a:pt x="25" y="40"/>
                    </a:lnTo>
                    <a:lnTo>
                      <a:pt x="27" y="40"/>
                    </a:lnTo>
                    <a:lnTo>
                      <a:pt x="27" y="44"/>
                    </a:lnTo>
                    <a:lnTo>
                      <a:pt x="29" y="44"/>
                    </a:lnTo>
                    <a:lnTo>
                      <a:pt x="31" y="42"/>
                    </a:lnTo>
                    <a:lnTo>
                      <a:pt x="33" y="36"/>
                    </a:lnTo>
                    <a:lnTo>
                      <a:pt x="31" y="30"/>
                    </a:lnTo>
                    <a:lnTo>
                      <a:pt x="35" y="30"/>
                    </a:lnTo>
                    <a:lnTo>
                      <a:pt x="41" y="27"/>
                    </a:lnTo>
                    <a:lnTo>
                      <a:pt x="46" y="27"/>
                    </a:lnTo>
                    <a:lnTo>
                      <a:pt x="48" y="29"/>
                    </a:lnTo>
                    <a:lnTo>
                      <a:pt x="50" y="30"/>
                    </a:lnTo>
                    <a:lnTo>
                      <a:pt x="54" y="29"/>
                    </a:lnTo>
                    <a:lnTo>
                      <a:pt x="60" y="27"/>
                    </a:lnTo>
                    <a:lnTo>
                      <a:pt x="64" y="25"/>
                    </a:lnTo>
                    <a:lnTo>
                      <a:pt x="66" y="21"/>
                    </a:lnTo>
                    <a:lnTo>
                      <a:pt x="68" y="19"/>
                    </a:lnTo>
                    <a:lnTo>
                      <a:pt x="77" y="19"/>
                    </a:lnTo>
                    <a:lnTo>
                      <a:pt x="79" y="1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0" name="Freeform 168"/>
              <p:cNvSpPr>
                <a:spLocks/>
              </p:cNvSpPr>
              <p:nvPr/>
            </p:nvSpPr>
            <p:spPr bwMode="gray">
              <a:xfrm>
                <a:off x="2854410" y="3967164"/>
                <a:ext cx="55556" cy="39688"/>
              </a:xfrm>
              <a:custGeom>
                <a:avLst/>
                <a:gdLst>
                  <a:gd name="T0" fmla="*/ 35 w 35"/>
                  <a:gd name="T1" fmla="*/ 25 h 25"/>
                  <a:gd name="T2" fmla="*/ 35 w 35"/>
                  <a:gd name="T3" fmla="*/ 23 h 25"/>
                  <a:gd name="T4" fmla="*/ 35 w 35"/>
                  <a:gd name="T5" fmla="*/ 19 h 25"/>
                  <a:gd name="T6" fmla="*/ 33 w 35"/>
                  <a:gd name="T7" fmla="*/ 17 h 25"/>
                  <a:gd name="T8" fmla="*/ 31 w 35"/>
                  <a:gd name="T9" fmla="*/ 16 h 25"/>
                  <a:gd name="T10" fmla="*/ 33 w 35"/>
                  <a:gd name="T11" fmla="*/ 14 h 25"/>
                  <a:gd name="T12" fmla="*/ 33 w 35"/>
                  <a:gd name="T13" fmla="*/ 10 h 25"/>
                  <a:gd name="T14" fmla="*/ 33 w 35"/>
                  <a:gd name="T15" fmla="*/ 0 h 25"/>
                  <a:gd name="T16" fmla="*/ 25 w 35"/>
                  <a:gd name="T17" fmla="*/ 0 h 25"/>
                  <a:gd name="T18" fmla="*/ 18 w 35"/>
                  <a:gd name="T19" fmla="*/ 0 h 25"/>
                  <a:gd name="T20" fmla="*/ 20 w 35"/>
                  <a:gd name="T21" fmla="*/ 2 h 25"/>
                  <a:gd name="T22" fmla="*/ 24 w 35"/>
                  <a:gd name="T23" fmla="*/ 2 h 25"/>
                  <a:gd name="T24" fmla="*/ 22 w 35"/>
                  <a:gd name="T25" fmla="*/ 6 h 25"/>
                  <a:gd name="T26" fmla="*/ 22 w 35"/>
                  <a:gd name="T27" fmla="*/ 8 h 25"/>
                  <a:gd name="T28" fmla="*/ 22 w 35"/>
                  <a:gd name="T29" fmla="*/ 10 h 25"/>
                  <a:gd name="T30" fmla="*/ 24 w 35"/>
                  <a:gd name="T31" fmla="*/ 14 h 25"/>
                  <a:gd name="T32" fmla="*/ 25 w 35"/>
                  <a:gd name="T33" fmla="*/ 14 h 25"/>
                  <a:gd name="T34" fmla="*/ 25 w 35"/>
                  <a:gd name="T35" fmla="*/ 17 h 25"/>
                  <a:gd name="T36" fmla="*/ 25 w 35"/>
                  <a:gd name="T37" fmla="*/ 19 h 25"/>
                  <a:gd name="T38" fmla="*/ 25 w 35"/>
                  <a:gd name="T39" fmla="*/ 21 h 25"/>
                  <a:gd name="T40" fmla="*/ 18 w 35"/>
                  <a:gd name="T41" fmla="*/ 19 h 25"/>
                  <a:gd name="T42" fmla="*/ 12 w 35"/>
                  <a:gd name="T43" fmla="*/ 19 h 25"/>
                  <a:gd name="T44" fmla="*/ 6 w 35"/>
                  <a:gd name="T45" fmla="*/ 17 h 25"/>
                  <a:gd name="T46" fmla="*/ 2 w 35"/>
                  <a:gd name="T47" fmla="*/ 16 h 25"/>
                  <a:gd name="T48" fmla="*/ 0 w 35"/>
                  <a:gd name="T49" fmla="*/ 19 h 25"/>
                  <a:gd name="T50" fmla="*/ 0 w 35"/>
                  <a:gd name="T51" fmla="*/ 23 h 25"/>
                  <a:gd name="T52" fmla="*/ 2 w 35"/>
                  <a:gd name="T53" fmla="*/ 25 h 25"/>
                  <a:gd name="T54" fmla="*/ 4 w 35"/>
                  <a:gd name="T55" fmla="*/ 25 h 25"/>
                  <a:gd name="T56" fmla="*/ 18 w 35"/>
                  <a:gd name="T57" fmla="*/ 25 h 25"/>
                  <a:gd name="T58" fmla="*/ 35 w 35"/>
                  <a:gd name="T5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5" h="25">
                    <a:moveTo>
                      <a:pt x="35" y="25"/>
                    </a:moveTo>
                    <a:lnTo>
                      <a:pt x="35" y="23"/>
                    </a:lnTo>
                    <a:lnTo>
                      <a:pt x="35" y="19"/>
                    </a:lnTo>
                    <a:lnTo>
                      <a:pt x="33" y="17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0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4" y="2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2" y="10"/>
                    </a:lnTo>
                    <a:lnTo>
                      <a:pt x="24" y="14"/>
                    </a:lnTo>
                    <a:lnTo>
                      <a:pt x="25" y="14"/>
                    </a:lnTo>
                    <a:lnTo>
                      <a:pt x="25" y="17"/>
                    </a:lnTo>
                    <a:lnTo>
                      <a:pt x="25" y="19"/>
                    </a:lnTo>
                    <a:lnTo>
                      <a:pt x="25" y="21"/>
                    </a:lnTo>
                    <a:lnTo>
                      <a:pt x="18" y="19"/>
                    </a:lnTo>
                    <a:lnTo>
                      <a:pt x="12" y="19"/>
                    </a:lnTo>
                    <a:lnTo>
                      <a:pt x="6" y="17"/>
                    </a:lnTo>
                    <a:lnTo>
                      <a:pt x="2" y="16"/>
                    </a:lnTo>
                    <a:lnTo>
                      <a:pt x="0" y="19"/>
                    </a:lnTo>
                    <a:lnTo>
                      <a:pt x="0" y="23"/>
                    </a:lnTo>
                    <a:lnTo>
                      <a:pt x="2" y="25"/>
                    </a:lnTo>
                    <a:lnTo>
                      <a:pt x="4" y="25"/>
                    </a:lnTo>
                    <a:lnTo>
                      <a:pt x="18" y="25"/>
                    </a:lnTo>
                    <a:lnTo>
                      <a:pt x="35" y="2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1" name="Freeform 169"/>
              <p:cNvSpPr>
                <a:spLocks/>
              </p:cNvSpPr>
              <p:nvPr/>
            </p:nvSpPr>
            <p:spPr bwMode="gray">
              <a:xfrm>
                <a:off x="3105207" y="4248151"/>
                <a:ext cx="93652" cy="188913"/>
              </a:xfrm>
              <a:custGeom>
                <a:avLst/>
                <a:gdLst>
                  <a:gd name="T0" fmla="*/ 57 w 59"/>
                  <a:gd name="T1" fmla="*/ 34 h 119"/>
                  <a:gd name="T2" fmla="*/ 54 w 59"/>
                  <a:gd name="T3" fmla="*/ 29 h 119"/>
                  <a:gd name="T4" fmla="*/ 50 w 59"/>
                  <a:gd name="T5" fmla="*/ 27 h 119"/>
                  <a:gd name="T6" fmla="*/ 44 w 59"/>
                  <a:gd name="T7" fmla="*/ 25 h 119"/>
                  <a:gd name="T8" fmla="*/ 40 w 59"/>
                  <a:gd name="T9" fmla="*/ 29 h 119"/>
                  <a:gd name="T10" fmla="*/ 38 w 59"/>
                  <a:gd name="T11" fmla="*/ 32 h 119"/>
                  <a:gd name="T12" fmla="*/ 36 w 59"/>
                  <a:gd name="T13" fmla="*/ 23 h 119"/>
                  <a:gd name="T14" fmla="*/ 36 w 59"/>
                  <a:gd name="T15" fmla="*/ 11 h 119"/>
                  <a:gd name="T16" fmla="*/ 34 w 59"/>
                  <a:gd name="T17" fmla="*/ 7 h 119"/>
                  <a:gd name="T18" fmla="*/ 29 w 59"/>
                  <a:gd name="T19" fmla="*/ 5 h 119"/>
                  <a:gd name="T20" fmla="*/ 25 w 59"/>
                  <a:gd name="T21" fmla="*/ 0 h 119"/>
                  <a:gd name="T22" fmla="*/ 21 w 59"/>
                  <a:gd name="T23" fmla="*/ 0 h 119"/>
                  <a:gd name="T24" fmla="*/ 19 w 59"/>
                  <a:gd name="T25" fmla="*/ 5 h 119"/>
                  <a:gd name="T26" fmla="*/ 13 w 59"/>
                  <a:gd name="T27" fmla="*/ 9 h 119"/>
                  <a:gd name="T28" fmla="*/ 6 w 59"/>
                  <a:gd name="T29" fmla="*/ 13 h 119"/>
                  <a:gd name="T30" fmla="*/ 11 w 59"/>
                  <a:gd name="T31" fmla="*/ 19 h 119"/>
                  <a:gd name="T32" fmla="*/ 13 w 59"/>
                  <a:gd name="T33" fmla="*/ 23 h 119"/>
                  <a:gd name="T34" fmla="*/ 11 w 59"/>
                  <a:gd name="T35" fmla="*/ 29 h 119"/>
                  <a:gd name="T36" fmla="*/ 4 w 59"/>
                  <a:gd name="T37" fmla="*/ 32 h 119"/>
                  <a:gd name="T38" fmla="*/ 0 w 59"/>
                  <a:gd name="T39" fmla="*/ 36 h 119"/>
                  <a:gd name="T40" fmla="*/ 13 w 59"/>
                  <a:gd name="T41" fmla="*/ 55 h 119"/>
                  <a:gd name="T42" fmla="*/ 23 w 59"/>
                  <a:gd name="T43" fmla="*/ 57 h 119"/>
                  <a:gd name="T44" fmla="*/ 19 w 59"/>
                  <a:gd name="T45" fmla="*/ 63 h 119"/>
                  <a:gd name="T46" fmla="*/ 25 w 59"/>
                  <a:gd name="T47" fmla="*/ 67 h 119"/>
                  <a:gd name="T48" fmla="*/ 25 w 59"/>
                  <a:gd name="T49" fmla="*/ 71 h 119"/>
                  <a:gd name="T50" fmla="*/ 25 w 59"/>
                  <a:gd name="T51" fmla="*/ 77 h 119"/>
                  <a:gd name="T52" fmla="*/ 19 w 59"/>
                  <a:gd name="T53" fmla="*/ 82 h 119"/>
                  <a:gd name="T54" fmla="*/ 17 w 59"/>
                  <a:gd name="T55" fmla="*/ 101 h 119"/>
                  <a:gd name="T56" fmla="*/ 21 w 59"/>
                  <a:gd name="T57" fmla="*/ 109 h 119"/>
                  <a:gd name="T58" fmla="*/ 27 w 59"/>
                  <a:gd name="T59" fmla="*/ 115 h 119"/>
                  <a:gd name="T60" fmla="*/ 32 w 59"/>
                  <a:gd name="T61" fmla="*/ 119 h 119"/>
                  <a:gd name="T62" fmla="*/ 38 w 59"/>
                  <a:gd name="T63" fmla="*/ 115 h 119"/>
                  <a:gd name="T64" fmla="*/ 42 w 59"/>
                  <a:gd name="T65" fmla="*/ 111 h 119"/>
                  <a:gd name="T66" fmla="*/ 48 w 59"/>
                  <a:gd name="T67" fmla="*/ 107 h 119"/>
                  <a:gd name="T68" fmla="*/ 54 w 59"/>
                  <a:gd name="T69" fmla="*/ 109 h 119"/>
                  <a:gd name="T70" fmla="*/ 50 w 59"/>
                  <a:gd name="T71" fmla="*/ 90 h 119"/>
                  <a:gd name="T72" fmla="*/ 50 w 59"/>
                  <a:gd name="T73" fmla="*/ 82 h 119"/>
                  <a:gd name="T74" fmla="*/ 46 w 59"/>
                  <a:gd name="T75" fmla="*/ 78 h 119"/>
                  <a:gd name="T76" fmla="*/ 48 w 59"/>
                  <a:gd name="T77" fmla="*/ 69 h 119"/>
                  <a:gd name="T78" fmla="*/ 46 w 59"/>
                  <a:gd name="T79" fmla="*/ 61 h 119"/>
                  <a:gd name="T80" fmla="*/ 52 w 59"/>
                  <a:gd name="T81" fmla="*/ 55 h 119"/>
                  <a:gd name="T82" fmla="*/ 54 w 59"/>
                  <a:gd name="T83" fmla="*/ 48 h 119"/>
                  <a:gd name="T84" fmla="*/ 59 w 59"/>
                  <a:gd name="T85" fmla="*/ 4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9" h="119">
                    <a:moveTo>
                      <a:pt x="59" y="40"/>
                    </a:moveTo>
                    <a:lnTo>
                      <a:pt x="57" y="34"/>
                    </a:lnTo>
                    <a:lnTo>
                      <a:pt x="57" y="29"/>
                    </a:lnTo>
                    <a:lnTo>
                      <a:pt x="54" y="29"/>
                    </a:lnTo>
                    <a:lnTo>
                      <a:pt x="52" y="29"/>
                    </a:lnTo>
                    <a:lnTo>
                      <a:pt x="50" y="27"/>
                    </a:lnTo>
                    <a:lnTo>
                      <a:pt x="48" y="23"/>
                    </a:lnTo>
                    <a:lnTo>
                      <a:pt x="44" y="25"/>
                    </a:lnTo>
                    <a:lnTo>
                      <a:pt x="40" y="25"/>
                    </a:lnTo>
                    <a:lnTo>
                      <a:pt x="40" y="29"/>
                    </a:lnTo>
                    <a:lnTo>
                      <a:pt x="40" y="32"/>
                    </a:lnTo>
                    <a:lnTo>
                      <a:pt x="38" y="32"/>
                    </a:lnTo>
                    <a:lnTo>
                      <a:pt x="34" y="32"/>
                    </a:lnTo>
                    <a:lnTo>
                      <a:pt x="36" y="23"/>
                    </a:lnTo>
                    <a:lnTo>
                      <a:pt x="40" y="11"/>
                    </a:lnTo>
                    <a:lnTo>
                      <a:pt x="36" y="11"/>
                    </a:lnTo>
                    <a:lnTo>
                      <a:pt x="34" y="11"/>
                    </a:lnTo>
                    <a:lnTo>
                      <a:pt x="34" y="7"/>
                    </a:lnTo>
                    <a:lnTo>
                      <a:pt x="31" y="7"/>
                    </a:lnTo>
                    <a:lnTo>
                      <a:pt x="29" y="5"/>
                    </a:lnTo>
                    <a:lnTo>
                      <a:pt x="27" y="2"/>
                    </a:lnTo>
                    <a:lnTo>
                      <a:pt x="25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7" y="7"/>
                    </a:lnTo>
                    <a:lnTo>
                      <a:pt x="13" y="9"/>
                    </a:lnTo>
                    <a:lnTo>
                      <a:pt x="8" y="9"/>
                    </a:lnTo>
                    <a:lnTo>
                      <a:pt x="6" y="13"/>
                    </a:lnTo>
                    <a:lnTo>
                      <a:pt x="8" y="15"/>
                    </a:lnTo>
                    <a:lnTo>
                      <a:pt x="11" y="19"/>
                    </a:lnTo>
                    <a:lnTo>
                      <a:pt x="11" y="21"/>
                    </a:lnTo>
                    <a:lnTo>
                      <a:pt x="13" y="23"/>
                    </a:lnTo>
                    <a:lnTo>
                      <a:pt x="15" y="25"/>
                    </a:lnTo>
                    <a:lnTo>
                      <a:pt x="11" y="29"/>
                    </a:lnTo>
                    <a:lnTo>
                      <a:pt x="6" y="29"/>
                    </a:lnTo>
                    <a:lnTo>
                      <a:pt x="4" y="32"/>
                    </a:lnTo>
                    <a:lnTo>
                      <a:pt x="4" y="34"/>
                    </a:lnTo>
                    <a:lnTo>
                      <a:pt x="0" y="36"/>
                    </a:lnTo>
                    <a:lnTo>
                      <a:pt x="11" y="53"/>
                    </a:lnTo>
                    <a:lnTo>
                      <a:pt x="13" y="55"/>
                    </a:lnTo>
                    <a:lnTo>
                      <a:pt x="19" y="55"/>
                    </a:lnTo>
                    <a:lnTo>
                      <a:pt x="23" y="57"/>
                    </a:lnTo>
                    <a:lnTo>
                      <a:pt x="23" y="59"/>
                    </a:lnTo>
                    <a:lnTo>
                      <a:pt x="19" y="63"/>
                    </a:lnTo>
                    <a:lnTo>
                      <a:pt x="21" y="65"/>
                    </a:lnTo>
                    <a:lnTo>
                      <a:pt x="25" y="67"/>
                    </a:lnTo>
                    <a:lnTo>
                      <a:pt x="25" y="69"/>
                    </a:lnTo>
                    <a:lnTo>
                      <a:pt x="25" y="71"/>
                    </a:lnTo>
                    <a:lnTo>
                      <a:pt x="27" y="75"/>
                    </a:lnTo>
                    <a:lnTo>
                      <a:pt x="25" y="77"/>
                    </a:lnTo>
                    <a:lnTo>
                      <a:pt x="21" y="80"/>
                    </a:lnTo>
                    <a:lnTo>
                      <a:pt x="19" y="82"/>
                    </a:lnTo>
                    <a:lnTo>
                      <a:pt x="19" y="90"/>
                    </a:lnTo>
                    <a:lnTo>
                      <a:pt x="17" y="101"/>
                    </a:lnTo>
                    <a:lnTo>
                      <a:pt x="19" y="107"/>
                    </a:lnTo>
                    <a:lnTo>
                      <a:pt x="21" y="109"/>
                    </a:lnTo>
                    <a:lnTo>
                      <a:pt x="25" y="113"/>
                    </a:lnTo>
                    <a:lnTo>
                      <a:pt x="27" y="115"/>
                    </a:lnTo>
                    <a:lnTo>
                      <a:pt x="29" y="117"/>
                    </a:lnTo>
                    <a:lnTo>
                      <a:pt x="32" y="119"/>
                    </a:lnTo>
                    <a:lnTo>
                      <a:pt x="34" y="117"/>
                    </a:lnTo>
                    <a:lnTo>
                      <a:pt x="38" y="115"/>
                    </a:lnTo>
                    <a:lnTo>
                      <a:pt x="40" y="113"/>
                    </a:lnTo>
                    <a:lnTo>
                      <a:pt x="42" y="111"/>
                    </a:lnTo>
                    <a:lnTo>
                      <a:pt x="44" y="109"/>
                    </a:lnTo>
                    <a:lnTo>
                      <a:pt x="48" y="107"/>
                    </a:lnTo>
                    <a:lnTo>
                      <a:pt x="52" y="109"/>
                    </a:lnTo>
                    <a:lnTo>
                      <a:pt x="54" y="109"/>
                    </a:lnTo>
                    <a:lnTo>
                      <a:pt x="52" y="101"/>
                    </a:lnTo>
                    <a:lnTo>
                      <a:pt x="50" y="90"/>
                    </a:lnTo>
                    <a:lnTo>
                      <a:pt x="50" y="86"/>
                    </a:lnTo>
                    <a:lnTo>
                      <a:pt x="50" y="82"/>
                    </a:lnTo>
                    <a:lnTo>
                      <a:pt x="48" y="80"/>
                    </a:lnTo>
                    <a:lnTo>
                      <a:pt x="46" y="78"/>
                    </a:lnTo>
                    <a:lnTo>
                      <a:pt x="46" y="77"/>
                    </a:lnTo>
                    <a:lnTo>
                      <a:pt x="48" y="69"/>
                    </a:lnTo>
                    <a:lnTo>
                      <a:pt x="46" y="65"/>
                    </a:lnTo>
                    <a:lnTo>
                      <a:pt x="46" y="61"/>
                    </a:lnTo>
                    <a:lnTo>
                      <a:pt x="50" y="57"/>
                    </a:lnTo>
                    <a:lnTo>
                      <a:pt x="52" y="55"/>
                    </a:lnTo>
                    <a:lnTo>
                      <a:pt x="54" y="50"/>
                    </a:lnTo>
                    <a:lnTo>
                      <a:pt x="54" y="48"/>
                    </a:lnTo>
                    <a:lnTo>
                      <a:pt x="56" y="44"/>
                    </a:lnTo>
                    <a:lnTo>
                      <a:pt x="59" y="4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2" name="Freeform 170"/>
              <p:cNvSpPr>
                <a:spLocks/>
              </p:cNvSpPr>
              <p:nvPr/>
            </p:nvSpPr>
            <p:spPr bwMode="gray">
              <a:xfrm>
                <a:off x="3997283" y="4141789"/>
                <a:ext cx="58731" cy="41275"/>
              </a:xfrm>
              <a:custGeom>
                <a:avLst/>
                <a:gdLst>
                  <a:gd name="T0" fmla="*/ 2 w 37"/>
                  <a:gd name="T1" fmla="*/ 7 h 26"/>
                  <a:gd name="T2" fmla="*/ 2 w 37"/>
                  <a:gd name="T3" fmla="*/ 11 h 26"/>
                  <a:gd name="T4" fmla="*/ 6 w 37"/>
                  <a:gd name="T5" fmla="*/ 13 h 26"/>
                  <a:gd name="T6" fmla="*/ 12 w 37"/>
                  <a:gd name="T7" fmla="*/ 15 h 26"/>
                  <a:gd name="T8" fmla="*/ 12 w 37"/>
                  <a:gd name="T9" fmla="*/ 19 h 26"/>
                  <a:gd name="T10" fmla="*/ 14 w 37"/>
                  <a:gd name="T11" fmla="*/ 25 h 26"/>
                  <a:gd name="T12" fmla="*/ 17 w 37"/>
                  <a:gd name="T13" fmla="*/ 25 h 26"/>
                  <a:gd name="T14" fmla="*/ 19 w 37"/>
                  <a:gd name="T15" fmla="*/ 25 h 26"/>
                  <a:gd name="T16" fmla="*/ 19 w 37"/>
                  <a:gd name="T17" fmla="*/ 26 h 26"/>
                  <a:gd name="T18" fmla="*/ 21 w 37"/>
                  <a:gd name="T19" fmla="*/ 25 h 26"/>
                  <a:gd name="T20" fmla="*/ 21 w 37"/>
                  <a:gd name="T21" fmla="*/ 21 h 26"/>
                  <a:gd name="T22" fmla="*/ 23 w 37"/>
                  <a:gd name="T23" fmla="*/ 21 h 26"/>
                  <a:gd name="T24" fmla="*/ 27 w 37"/>
                  <a:gd name="T25" fmla="*/ 21 h 26"/>
                  <a:gd name="T26" fmla="*/ 31 w 37"/>
                  <a:gd name="T27" fmla="*/ 19 h 26"/>
                  <a:gd name="T28" fmla="*/ 33 w 37"/>
                  <a:gd name="T29" fmla="*/ 17 h 26"/>
                  <a:gd name="T30" fmla="*/ 33 w 37"/>
                  <a:gd name="T31" fmla="*/ 15 h 26"/>
                  <a:gd name="T32" fmla="*/ 33 w 37"/>
                  <a:gd name="T33" fmla="*/ 11 h 26"/>
                  <a:gd name="T34" fmla="*/ 33 w 37"/>
                  <a:gd name="T35" fmla="*/ 9 h 26"/>
                  <a:gd name="T36" fmla="*/ 33 w 37"/>
                  <a:gd name="T37" fmla="*/ 9 h 26"/>
                  <a:gd name="T38" fmla="*/ 33 w 37"/>
                  <a:gd name="T39" fmla="*/ 7 h 26"/>
                  <a:gd name="T40" fmla="*/ 35 w 37"/>
                  <a:gd name="T41" fmla="*/ 7 h 26"/>
                  <a:gd name="T42" fmla="*/ 37 w 37"/>
                  <a:gd name="T43" fmla="*/ 3 h 26"/>
                  <a:gd name="T44" fmla="*/ 35 w 37"/>
                  <a:gd name="T45" fmla="*/ 0 h 26"/>
                  <a:gd name="T46" fmla="*/ 23 w 37"/>
                  <a:gd name="T47" fmla="*/ 0 h 26"/>
                  <a:gd name="T48" fmla="*/ 16 w 37"/>
                  <a:gd name="T49" fmla="*/ 0 h 26"/>
                  <a:gd name="T50" fmla="*/ 10 w 37"/>
                  <a:gd name="T51" fmla="*/ 3 h 26"/>
                  <a:gd name="T52" fmla="*/ 0 w 37"/>
                  <a:gd name="T53" fmla="*/ 5 h 26"/>
                  <a:gd name="T54" fmla="*/ 2 w 37"/>
                  <a:gd name="T55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7" h="26">
                    <a:moveTo>
                      <a:pt x="2" y="7"/>
                    </a:moveTo>
                    <a:lnTo>
                      <a:pt x="2" y="11"/>
                    </a:lnTo>
                    <a:lnTo>
                      <a:pt x="6" y="13"/>
                    </a:lnTo>
                    <a:lnTo>
                      <a:pt x="12" y="15"/>
                    </a:lnTo>
                    <a:lnTo>
                      <a:pt x="12" y="19"/>
                    </a:lnTo>
                    <a:lnTo>
                      <a:pt x="14" y="25"/>
                    </a:lnTo>
                    <a:lnTo>
                      <a:pt x="17" y="25"/>
                    </a:lnTo>
                    <a:lnTo>
                      <a:pt x="19" y="25"/>
                    </a:lnTo>
                    <a:lnTo>
                      <a:pt x="19" y="26"/>
                    </a:lnTo>
                    <a:lnTo>
                      <a:pt x="21" y="25"/>
                    </a:lnTo>
                    <a:lnTo>
                      <a:pt x="21" y="21"/>
                    </a:lnTo>
                    <a:lnTo>
                      <a:pt x="23" y="21"/>
                    </a:lnTo>
                    <a:lnTo>
                      <a:pt x="27" y="21"/>
                    </a:lnTo>
                    <a:lnTo>
                      <a:pt x="31" y="19"/>
                    </a:lnTo>
                    <a:lnTo>
                      <a:pt x="33" y="17"/>
                    </a:lnTo>
                    <a:lnTo>
                      <a:pt x="33" y="15"/>
                    </a:lnTo>
                    <a:lnTo>
                      <a:pt x="33" y="11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3" y="7"/>
                    </a:lnTo>
                    <a:lnTo>
                      <a:pt x="35" y="7"/>
                    </a:lnTo>
                    <a:lnTo>
                      <a:pt x="37" y="3"/>
                    </a:lnTo>
                    <a:lnTo>
                      <a:pt x="35" y="0"/>
                    </a:lnTo>
                    <a:lnTo>
                      <a:pt x="23" y="0"/>
                    </a:lnTo>
                    <a:lnTo>
                      <a:pt x="16" y="0"/>
                    </a:lnTo>
                    <a:lnTo>
                      <a:pt x="10" y="3"/>
                    </a:lnTo>
                    <a:lnTo>
                      <a:pt x="0" y="5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3" name="Freeform 171"/>
              <p:cNvSpPr>
                <a:spLocks/>
              </p:cNvSpPr>
              <p:nvPr/>
            </p:nvSpPr>
            <p:spPr bwMode="gray">
              <a:xfrm>
                <a:off x="4030617" y="4141789"/>
                <a:ext cx="146034" cy="130175"/>
              </a:xfrm>
              <a:custGeom>
                <a:avLst/>
                <a:gdLst>
                  <a:gd name="T0" fmla="*/ 19 w 92"/>
                  <a:gd name="T1" fmla="*/ 57 h 82"/>
                  <a:gd name="T2" fmla="*/ 23 w 92"/>
                  <a:gd name="T3" fmla="*/ 53 h 82"/>
                  <a:gd name="T4" fmla="*/ 29 w 92"/>
                  <a:gd name="T5" fmla="*/ 48 h 82"/>
                  <a:gd name="T6" fmla="*/ 31 w 92"/>
                  <a:gd name="T7" fmla="*/ 38 h 82"/>
                  <a:gd name="T8" fmla="*/ 35 w 92"/>
                  <a:gd name="T9" fmla="*/ 38 h 82"/>
                  <a:gd name="T10" fmla="*/ 43 w 92"/>
                  <a:gd name="T11" fmla="*/ 40 h 82"/>
                  <a:gd name="T12" fmla="*/ 48 w 92"/>
                  <a:gd name="T13" fmla="*/ 42 h 82"/>
                  <a:gd name="T14" fmla="*/ 52 w 92"/>
                  <a:gd name="T15" fmla="*/ 49 h 82"/>
                  <a:gd name="T16" fmla="*/ 56 w 92"/>
                  <a:gd name="T17" fmla="*/ 55 h 82"/>
                  <a:gd name="T18" fmla="*/ 56 w 92"/>
                  <a:gd name="T19" fmla="*/ 63 h 82"/>
                  <a:gd name="T20" fmla="*/ 60 w 92"/>
                  <a:gd name="T21" fmla="*/ 65 h 82"/>
                  <a:gd name="T22" fmla="*/ 66 w 92"/>
                  <a:gd name="T23" fmla="*/ 65 h 82"/>
                  <a:gd name="T24" fmla="*/ 67 w 92"/>
                  <a:gd name="T25" fmla="*/ 61 h 82"/>
                  <a:gd name="T26" fmla="*/ 71 w 92"/>
                  <a:gd name="T27" fmla="*/ 69 h 82"/>
                  <a:gd name="T28" fmla="*/ 69 w 92"/>
                  <a:gd name="T29" fmla="*/ 78 h 82"/>
                  <a:gd name="T30" fmla="*/ 73 w 92"/>
                  <a:gd name="T31" fmla="*/ 80 h 82"/>
                  <a:gd name="T32" fmla="*/ 81 w 92"/>
                  <a:gd name="T33" fmla="*/ 72 h 82"/>
                  <a:gd name="T34" fmla="*/ 85 w 92"/>
                  <a:gd name="T35" fmla="*/ 72 h 82"/>
                  <a:gd name="T36" fmla="*/ 85 w 92"/>
                  <a:gd name="T37" fmla="*/ 67 h 82"/>
                  <a:gd name="T38" fmla="*/ 92 w 92"/>
                  <a:gd name="T39" fmla="*/ 63 h 82"/>
                  <a:gd name="T40" fmla="*/ 89 w 92"/>
                  <a:gd name="T41" fmla="*/ 55 h 82"/>
                  <a:gd name="T42" fmla="*/ 92 w 92"/>
                  <a:gd name="T43" fmla="*/ 48 h 82"/>
                  <a:gd name="T44" fmla="*/ 89 w 92"/>
                  <a:gd name="T45" fmla="*/ 46 h 82"/>
                  <a:gd name="T46" fmla="*/ 83 w 92"/>
                  <a:gd name="T47" fmla="*/ 40 h 82"/>
                  <a:gd name="T48" fmla="*/ 77 w 92"/>
                  <a:gd name="T49" fmla="*/ 36 h 82"/>
                  <a:gd name="T50" fmla="*/ 71 w 92"/>
                  <a:gd name="T51" fmla="*/ 36 h 82"/>
                  <a:gd name="T52" fmla="*/ 69 w 92"/>
                  <a:gd name="T53" fmla="*/ 34 h 82"/>
                  <a:gd name="T54" fmla="*/ 75 w 92"/>
                  <a:gd name="T55" fmla="*/ 28 h 82"/>
                  <a:gd name="T56" fmla="*/ 73 w 92"/>
                  <a:gd name="T57" fmla="*/ 23 h 82"/>
                  <a:gd name="T58" fmla="*/ 71 w 92"/>
                  <a:gd name="T59" fmla="*/ 17 h 82"/>
                  <a:gd name="T60" fmla="*/ 71 w 92"/>
                  <a:gd name="T61" fmla="*/ 7 h 82"/>
                  <a:gd name="T62" fmla="*/ 69 w 92"/>
                  <a:gd name="T63" fmla="*/ 5 h 82"/>
                  <a:gd name="T64" fmla="*/ 60 w 92"/>
                  <a:gd name="T65" fmla="*/ 3 h 82"/>
                  <a:gd name="T66" fmla="*/ 58 w 92"/>
                  <a:gd name="T67" fmla="*/ 5 h 82"/>
                  <a:gd name="T68" fmla="*/ 52 w 92"/>
                  <a:gd name="T69" fmla="*/ 5 h 82"/>
                  <a:gd name="T70" fmla="*/ 46 w 92"/>
                  <a:gd name="T71" fmla="*/ 5 h 82"/>
                  <a:gd name="T72" fmla="*/ 43 w 92"/>
                  <a:gd name="T73" fmla="*/ 5 h 82"/>
                  <a:gd name="T74" fmla="*/ 37 w 92"/>
                  <a:gd name="T75" fmla="*/ 1 h 82"/>
                  <a:gd name="T76" fmla="*/ 27 w 92"/>
                  <a:gd name="T77" fmla="*/ 0 h 82"/>
                  <a:gd name="T78" fmla="*/ 18 w 92"/>
                  <a:gd name="T79" fmla="*/ 1 h 82"/>
                  <a:gd name="T80" fmla="*/ 16 w 92"/>
                  <a:gd name="T81" fmla="*/ 3 h 82"/>
                  <a:gd name="T82" fmla="*/ 12 w 92"/>
                  <a:gd name="T83" fmla="*/ 7 h 82"/>
                  <a:gd name="T84" fmla="*/ 12 w 92"/>
                  <a:gd name="T85" fmla="*/ 9 h 82"/>
                  <a:gd name="T86" fmla="*/ 12 w 92"/>
                  <a:gd name="T87" fmla="*/ 15 h 82"/>
                  <a:gd name="T88" fmla="*/ 10 w 92"/>
                  <a:gd name="T89" fmla="*/ 19 h 82"/>
                  <a:gd name="T90" fmla="*/ 2 w 92"/>
                  <a:gd name="T91" fmla="*/ 21 h 82"/>
                  <a:gd name="T92" fmla="*/ 0 w 92"/>
                  <a:gd name="T93" fmla="*/ 25 h 82"/>
                  <a:gd name="T94" fmla="*/ 2 w 92"/>
                  <a:gd name="T95" fmla="*/ 34 h 82"/>
                  <a:gd name="T96" fmla="*/ 8 w 92"/>
                  <a:gd name="T97" fmla="*/ 42 h 82"/>
                  <a:gd name="T98" fmla="*/ 10 w 92"/>
                  <a:gd name="T99" fmla="*/ 46 h 82"/>
                  <a:gd name="T100" fmla="*/ 14 w 92"/>
                  <a:gd name="T101" fmla="*/ 55 h 82"/>
                  <a:gd name="T102" fmla="*/ 18 w 92"/>
                  <a:gd name="T103" fmla="*/ 5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2" h="82">
                    <a:moveTo>
                      <a:pt x="18" y="59"/>
                    </a:moveTo>
                    <a:lnTo>
                      <a:pt x="19" y="57"/>
                    </a:lnTo>
                    <a:lnTo>
                      <a:pt x="21" y="55"/>
                    </a:lnTo>
                    <a:lnTo>
                      <a:pt x="23" y="53"/>
                    </a:lnTo>
                    <a:lnTo>
                      <a:pt x="25" y="51"/>
                    </a:lnTo>
                    <a:lnTo>
                      <a:pt x="29" y="48"/>
                    </a:lnTo>
                    <a:lnTo>
                      <a:pt x="29" y="42"/>
                    </a:lnTo>
                    <a:lnTo>
                      <a:pt x="31" y="38"/>
                    </a:lnTo>
                    <a:lnTo>
                      <a:pt x="33" y="38"/>
                    </a:lnTo>
                    <a:lnTo>
                      <a:pt x="35" y="38"/>
                    </a:lnTo>
                    <a:lnTo>
                      <a:pt x="39" y="40"/>
                    </a:lnTo>
                    <a:lnTo>
                      <a:pt x="43" y="40"/>
                    </a:lnTo>
                    <a:lnTo>
                      <a:pt x="46" y="40"/>
                    </a:lnTo>
                    <a:lnTo>
                      <a:pt x="48" y="42"/>
                    </a:lnTo>
                    <a:lnTo>
                      <a:pt x="50" y="48"/>
                    </a:lnTo>
                    <a:lnTo>
                      <a:pt x="52" y="49"/>
                    </a:lnTo>
                    <a:lnTo>
                      <a:pt x="54" y="53"/>
                    </a:lnTo>
                    <a:lnTo>
                      <a:pt x="56" y="55"/>
                    </a:lnTo>
                    <a:lnTo>
                      <a:pt x="56" y="59"/>
                    </a:lnTo>
                    <a:lnTo>
                      <a:pt x="56" y="63"/>
                    </a:lnTo>
                    <a:lnTo>
                      <a:pt x="54" y="67"/>
                    </a:lnTo>
                    <a:lnTo>
                      <a:pt x="60" y="65"/>
                    </a:lnTo>
                    <a:lnTo>
                      <a:pt x="62" y="65"/>
                    </a:lnTo>
                    <a:lnTo>
                      <a:pt x="66" y="65"/>
                    </a:lnTo>
                    <a:lnTo>
                      <a:pt x="67" y="63"/>
                    </a:lnTo>
                    <a:lnTo>
                      <a:pt x="67" y="61"/>
                    </a:lnTo>
                    <a:lnTo>
                      <a:pt x="69" y="63"/>
                    </a:lnTo>
                    <a:lnTo>
                      <a:pt x="71" y="69"/>
                    </a:lnTo>
                    <a:lnTo>
                      <a:pt x="71" y="76"/>
                    </a:lnTo>
                    <a:lnTo>
                      <a:pt x="69" y="78"/>
                    </a:lnTo>
                    <a:lnTo>
                      <a:pt x="71" y="82"/>
                    </a:lnTo>
                    <a:lnTo>
                      <a:pt x="73" y="80"/>
                    </a:lnTo>
                    <a:lnTo>
                      <a:pt x="77" y="74"/>
                    </a:lnTo>
                    <a:lnTo>
                      <a:pt x="81" y="72"/>
                    </a:lnTo>
                    <a:lnTo>
                      <a:pt x="81" y="74"/>
                    </a:lnTo>
                    <a:lnTo>
                      <a:pt x="85" y="72"/>
                    </a:lnTo>
                    <a:lnTo>
                      <a:pt x="85" y="71"/>
                    </a:lnTo>
                    <a:lnTo>
                      <a:pt x="85" y="67"/>
                    </a:lnTo>
                    <a:lnTo>
                      <a:pt x="87" y="67"/>
                    </a:lnTo>
                    <a:lnTo>
                      <a:pt x="92" y="63"/>
                    </a:lnTo>
                    <a:lnTo>
                      <a:pt x="92" y="59"/>
                    </a:lnTo>
                    <a:lnTo>
                      <a:pt x="89" y="55"/>
                    </a:lnTo>
                    <a:lnTo>
                      <a:pt x="90" y="49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89" y="46"/>
                    </a:lnTo>
                    <a:lnTo>
                      <a:pt x="85" y="44"/>
                    </a:lnTo>
                    <a:lnTo>
                      <a:pt x="83" y="40"/>
                    </a:lnTo>
                    <a:lnTo>
                      <a:pt x="81" y="38"/>
                    </a:lnTo>
                    <a:lnTo>
                      <a:pt x="77" y="36"/>
                    </a:lnTo>
                    <a:lnTo>
                      <a:pt x="75" y="34"/>
                    </a:lnTo>
                    <a:lnTo>
                      <a:pt x="71" y="36"/>
                    </a:lnTo>
                    <a:lnTo>
                      <a:pt x="69" y="34"/>
                    </a:lnTo>
                    <a:lnTo>
                      <a:pt x="69" y="34"/>
                    </a:lnTo>
                    <a:lnTo>
                      <a:pt x="79" y="28"/>
                    </a:lnTo>
                    <a:lnTo>
                      <a:pt x="75" y="28"/>
                    </a:lnTo>
                    <a:lnTo>
                      <a:pt x="73" y="26"/>
                    </a:lnTo>
                    <a:lnTo>
                      <a:pt x="73" y="23"/>
                    </a:lnTo>
                    <a:lnTo>
                      <a:pt x="69" y="21"/>
                    </a:lnTo>
                    <a:lnTo>
                      <a:pt x="71" y="17"/>
                    </a:lnTo>
                    <a:lnTo>
                      <a:pt x="71" y="13"/>
                    </a:lnTo>
                    <a:lnTo>
                      <a:pt x="71" y="7"/>
                    </a:lnTo>
                    <a:lnTo>
                      <a:pt x="69" y="5"/>
                    </a:lnTo>
                    <a:lnTo>
                      <a:pt x="69" y="5"/>
                    </a:lnTo>
                    <a:lnTo>
                      <a:pt x="66" y="5"/>
                    </a:lnTo>
                    <a:lnTo>
                      <a:pt x="60" y="3"/>
                    </a:lnTo>
                    <a:lnTo>
                      <a:pt x="58" y="3"/>
                    </a:lnTo>
                    <a:lnTo>
                      <a:pt x="58" y="5"/>
                    </a:lnTo>
                    <a:lnTo>
                      <a:pt x="56" y="7"/>
                    </a:lnTo>
                    <a:lnTo>
                      <a:pt x="52" y="5"/>
                    </a:lnTo>
                    <a:lnTo>
                      <a:pt x="50" y="3"/>
                    </a:lnTo>
                    <a:lnTo>
                      <a:pt x="46" y="5"/>
                    </a:lnTo>
                    <a:lnTo>
                      <a:pt x="46" y="5"/>
                    </a:lnTo>
                    <a:lnTo>
                      <a:pt x="43" y="5"/>
                    </a:lnTo>
                    <a:lnTo>
                      <a:pt x="43" y="1"/>
                    </a:lnTo>
                    <a:lnTo>
                      <a:pt x="37" y="1"/>
                    </a:lnTo>
                    <a:lnTo>
                      <a:pt x="29" y="1"/>
                    </a:lnTo>
                    <a:lnTo>
                      <a:pt x="27" y="0"/>
                    </a:lnTo>
                    <a:lnTo>
                      <a:pt x="23" y="1"/>
                    </a:lnTo>
                    <a:lnTo>
                      <a:pt x="18" y="1"/>
                    </a:lnTo>
                    <a:lnTo>
                      <a:pt x="14" y="0"/>
                    </a:lnTo>
                    <a:lnTo>
                      <a:pt x="16" y="3"/>
                    </a:lnTo>
                    <a:lnTo>
                      <a:pt x="14" y="7"/>
                    </a:lnTo>
                    <a:lnTo>
                      <a:pt x="12" y="7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2" y="11"/>
                    </a:lnTo>
                    <a:lnTo>
                      <a:pt x="12" y="15"/>
                    </a:lnTo>
                    <a:lnTo>
                      <a:pt x="12" y="17"/>
                    </a:lnTo>
                    <a:lnTo>
                      <a:pt x="10" y="19"/>
                    </a:lnTo>
                    <a:lnTo>
                      <a:pt x="6" y="21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2" y="34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0" y="46"/>
                    </a:lnTo>
                    <a:lnTo>
                      <a:pt x="10" y="51"/>
                    </a:lnTo>
                    <a:lnTo>
                      <a:pt x="14" y="55"/>
                    </a:lnTo>
                    <a:lnTo>
                      <a:pt x="18" y="57"/>
                    </a:lnTo>
                    <a:lnTo>
                      <a:pt x="18" y="5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4" name="Freeform 172"/>
              <p:cNvSpPr>
                <a:spLocks/>
              </p:cNvSpPr>
              <p:nvPr/>
            </p:nvSpPr>
            <p:spPr bwMode="gray">
              <a:xfrm>
                <a:off x="2495675" y="4006851"/>
                <a:ext cx="82541" cy="103188"/>
              </a:xfrm>
              <a:custGeom>
                <a:avLst/>
                <a:gdLst>
                  <a:gd name="T0" fmla="*/ 48 w 52"/>
                  <a:gd name="T1" fmla="*/ 39 h 65"/>
                  <a:gd name="T2" fmla="*/ 52 w 52"/>
                  <a:gd name="T3" fmla="*/ 39 h 65"/>
                  <a:gd name="T4" fmla="*/ 52 w 52"/>
                  <a:gd name="T5" fmla="*/ 40 h 65"/>
                  <a:gd name="T6" fmla="*/ 48 w 52"/>
                  <a:gd name="T7" fmla="*/ 40 h 65"/>
                  <a:gd name="T8" fmla="*/ 44 w 52"/>
                  <a:gd name="T9" fmla="*/ 42 h 65"/>
                  <a:gd name="T10" fmla="*/ 44 w 52"/>
                  <a:gd name="T11" fmla="*/ 46 h 65"/>
                  <a:gd name="T12" fmla="*/ 42 w 52"/>
                  <a:gd name="T13" fmla="*/ 52 h 65"/>
                  <a:gd name="T14" fmla="*/ 40 w 52"/>
                  <a:gd name="T15" fmla="*/ 54 h 65"/>
                  <a:gd name="T16" fmla="*/ 36 w 52"/>
                  <a:gd name="T17" fmla="*/ 56 h 65"/>
                  <a:gd name="T18" fmla="*/ 35 w 52"/>
                  <a:gd name="T19" fmla="*/ 62 h 65"/>
                  <a:gd name="T20" fmla="*/ 31 w 52"/>
                  <a:gd name="T21" fmla="*/ 63 h 65"/>
                  <a:gd name="T22" fmla="*/ 29 w 52"/>
                  <a:gd name="T23" fmla="*/ 65 h 65"/>
                  <a:gd name="T24" fmla="*/ 25 w 52"/>
                  <a:gd name="T25" fmla="*/ 65 h 65"/>
                  <a:gd name="T26" fmla="*/ 23 w 52"/>
                  <a:gd name="T27" fmla="*/ 65 h 65"/>
                  <a:gd name="T28" fmla="*/ 10 w 52"/>
                  <a:gd name="T29" fmla="*/ 56 h 65"/>
                  <a:gd name="T30" fmla="*/ 0 w 52"/>
                  <a:gd name="T31" fmla="*/ 44 h 65"/>
                  <a:gd name="T32" fmla="*/ 2 w 52"/>
                  <a:gd name="T33" fmla="*/ 42 h 65"/>
                  <a:gd name="T34" fmla="*/ 2 w 52"/>
                  <a:gd name="T35" fmla="*/ 39 h 65"/>
                  <a:gd name="T36" fmla="*/ 6 w 52"/>
                  <a:gd name="T37" fmla="*/ 33 h 65"/>
                  <a:gd name="T38" fmla="*/ 10 w 52"/>
                  <a:gd name="T39" fmla="*/ 27 h 65"/>
                  <a:gd name="T40" fmla="*/ 25 w 52"/>
                  <a:gd name="T41" fmla="*/ 27 h 65"/>
                  <a:gd name="T42" fmla="*/ 25 w 52"/>
                  <a:gd name="T43" fmla="*/ 25 h 65"/>
                  <a:gd name="T44" fmla="*/ 21 w 52"/>
                  <a:gd name="T45" fmla="*/ 19 h 65"/>
                  <a:gd name="T46" fmla="*/ 17 w 52"/>
                  <a:gd name="T47" fmla="*/ 15 h 65"/>
                  <a:gd name="T48" fmla="*/ 15 w 52"/>
                  <a:gd name="T49" fmla="*/ 12 h 65"/>
                  <a:gd name="T50" fmla="*/ 15 w 52"/>
                  <a:gd name="T51" fmla="*/ 8 h 65"/>
                  <a:gd name="T52" fmla="*/ 19 w 52"/>
                  <a:gd name="T53" fmla="*/ 8 h 65"/>
                  <a:gd name="T54" fmla="*/ 21 w 52"/>
                  <a:gd name="T55" fmla="*/ 0 h 65"/>
                  <a:gd name="T56" fmla="*/ 42 w 52"/>
                  <a:gd name="T57" fmla="*/ 0 h 65"/>
                  <a:gd name="T58" fmla="*/ 42 w 52"/>
                  <a:gd name="T59" fmla="*/ 35 h 65"/>
                  <a:gd name="T60" fmla="*/ 50 w 52"/>
                  <a:gd name="T61" fmla="*/ 35 h 65"/>
                  <a:gd name="T62" fmla="*/ 48 w 52"/>
                  <a:gd name="T63" fmla="*/ 39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" h="65">
                    <a:moveTo>
                      <a:pt x="48" y="39"/>
                    </a:moveTo>
                    <a:lnTo>
                      <a:pt x="52" y="39"/>
                    </a:lnTo>
                    <a:lnTo>
                      <a:pt x="52" y="40"/>
                    </a:lnTo>
                    <a:lnTo>
                      <a:pt x="48" y="40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2" y="52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5" y="62"/>
                    </a:lnTo>
                    <a:lnTo>
                      <a:pt x="31" y="63"/>
                    </a:lnTo>
                    <a:lnTo>
                      <a:pt x="29" y="65"/>
                    </a:lnTo>
                    <a:lnTo>
                      <a:pt x="25" y="65"/>
                    </a:lnTo>
                    <a:lnTo>
                      <a:pt x="23" y="65"/>
                    </a:lnTo>
                    <a:lnTo>
                      <a:pt x="10" y="56"/>
                    </a:lnTo>
                    <a:lnTo>
                      <a:pt x="0" y="44"/>
                    </a:lnTo>
                    <a:lnTo>
                      <a:pt x="2" y="42"/>
                    </a:lnTo>
                    <a:lnTo>
                      <a:pt x="2" y="39"/>
                    </a:lnTo>
                    <a:lnTo>
                      <a:pt x="6" y="33"/>
                    </a:lnTo>
                    <a:lnTo>
                      <a:pt x="10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1" y="19"/>
                    </a:lnTo>
                    <a:lnTo>
                      <a:pt x="17" y="15"/>
                    </a:lnTo>
                    <a:lnTo>
                      <a:pt x="15" y="12"/>
                    </a:lnTo>
                    <a:lnTo>
                      <a:pt x="15" y="8"/>
                    </a:lnTo>
                    <a:lnTo>
                      <a:pt x="19" y="8"/>
                    </a:lnTo>
                    <a:lnTo>
                      <a:pt x="21" y="0"/>
                    </a:lnTo>
                    <a:lnTo>
                      <a:pt x="42" y="0"/>
                    </a:lnTo>
                    <a:lnTo>
                      <a:pt x="42" y="35"/>
                    </a:lnTo>
                    <a:lnTo>
                      <a:pt x="50" y="35"/>
                    </a:lnTo>
                    <a:lnTo>
                      <a:pt x="48" y="3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5" name="Freeform 173"/>
              <p:cNvSpPr>
                <a:spLocks noEditPoints="1"/>
              </p:cNvSpPr>
              <p:nvPr/>
            </p:nvSpPr>
            <p:spPr bwMode="gray">
              <a:xfrm>
                <a:off x="2900442" y="1920876"/>
                <a:ext cx="1192080" cy="915988"/>
              </a:xfrm>
              <a:custGeom>
                <a:avLst/>
                <a:gdLst>
                  <a:gd name="T0" fmla="*/ 152 w 751"/>
                  <a:gd name="T1" fmla="*/ 63 h 577"/>
                  <a:gd name="T2" fmla="*/ 60 w 751"/>
                  <a:gd name="T3" fmla="*/ 101 h 577"/>
                  <a:gd name="T4" fmla="*/ 69 w 751"/>
                  <a:gd name="T5" fmla="*/ 132 h 577"/>
                  <a:gd name="T6" fmla="*/ 62 w 751"/>
                  <a:gd name="T7" fmla="*/ 168 h 577"/>
                  <a:gd name="T8" fmla="*/ 29 w 751"/>
                  <a:gd name="T9" fmla="*/ 195 h 577"/>
                  <a:gd name="T10" fmla="*/ 96 w 751"/>
                  <a:gd name="T11" fmla="*/ 199 h 577"/>
                  <a:gd name="T12" fmla="*/ 200 w 751"/>
                  <a:gd name="T13" fmla="*/ 238 h 577"/>
                  <a:gd name="T14" fmla="*/ 219 w 751"/>
                  <a:gd name="T15" fmla="*/ 282 h 577"/>
                  <a:gd name="T16" fmla="*/ 229 w 751"/>
                  <a:gd name="T17" fmla="*/ 309 h 577"/>
                  <a:gd name="T18" fmla="*/ 269 w 751"/>
                  <a:gd name="T19" fmla="*/ 332 h 577"/>
                  <a:gd name="T20" fmla="*/ 213 w 751"/>
                  <a:gd name="T21" fmla="*/ 355 h 577"/>
                  <a:gd name="T22" fmla="*/ 232 w 751"/>
                  <a:gd name="T23" fmla="*/ 341 h 577"/>
                  <a:gd name="T24" fmla="*/ 265 w 751"/>
                  <a:gd name="T25" fmla="*/ 376 h 577"/>
                  <a:gd name="T26" fmla="*/ 242 w 751"/>
                  <a:gd name="T27" fmla="*/ 403 h 577"/>
                  <a:gd name="T28" fmla="*/ 236 w 751"/>
                  <a:gd name="T29" fmla="*/ 449 h 577"/>
                  <a:gd name="T30" fmla="*/ 269 w 751"/>
                  <a:gd name="T31" fmla="*/ 479 h 577"/>
                  <a:gd name="T32" fmla="*/ 273 w 751"/>
                  <a:gd name="T33" fmla="*/ 516 h 577"/>
                  <a:gd name="T34" fmla="*/ 304 w 751"/>
                  <a:gd name="T35" fmla="*/ 550 h 577"/>
                  <a:gd name="T36" fmla="*/ 351 w 751"/>
                  <a:gd name="T37" fmla="*/ 568 h 577"/>
                  <a:gd name="T38" fmla="*/ 365 w 751"/>
                  <a:gd name="T39" fmla="*/ 554 h 577"/>
                  <a:gd name="T40" fmla="*/ 384 w 751"/>
                  <a:gd name="T41" fmla="*/ 510 h 577"/>
                  <a:gd name="T42" fmla="*/ 401 w 751"/>
                  <a:gd name="T43" fmla="*/ 458 h 577"/>
                  <a:gd name="T44" fmla="*/ 472 w 751"/>
                  <a:gd name="T45" fmla="*/ 426 h 577"/>
                  <a:gd name="T46" fmla="*/ 541 w 751"/>
                  <a:gd name="T47" fmla="*/ 395 h 577"/>
                  <a:gd name="T48" fmla="*/ 599 w 751"/>
                  <a:gd name="T49" fmla="*/ 368 h 577"/>
                  <a:gd name="T50" fmla="*/ 580 w 751"/>
                  <a:gd name="T51" fmla="*/ 341 h 577"/>
                  <a:gd name="T52" fmla="*/ 566 w 751"/>
                  <a:gd name="T53" fmla="*/ 314 h 577"/>
                  <a:gd name="T54" fmla="*/ 641 w 751"/>
                  <a:gd name="T55" fmla="*/ 337 h 577"/>
                  <a:gd name="T56" fmla="*/ 616 w 751"/>
                  <a:gd name="T57" fmla="*/ 301 h 577"/>
                  <a:gd name="T58" fmla="*/ 626 w 751"/>
                  <a:gd name="T59" fmla="*/ 284 h 577"/>
                  <a:gd name="T60" fmla="*/ 632 w 751"/>
                  <a:gd name="T61" fmla="*/ 255 h 577"/>
                  <a:gd name="T62" fmla="*/ 657 w 751"/>
                  <a:gd name="T63" fmla="*/ 247 h 577"/>
                  <a:gd name="T64" fmla="*/ 653 w 751"/>
                  <a:gd name="T65" fmla="*/ 222 h 577"/>
                  <a:gd name="T66" fmla="*/ 647 w 751"/>
                  <a:gd name="T67" fmla="*/ 193 h 577"/>
                  <a:gd name="T68" fmla="*/ 657 w 751"/>
                  <a:gd name="T69" fmla="*/ 159 h 577"/>
                  <a:gd name="T70" fmla="*/ 687 w 751"/>
                  <a:gd name="T71" fmla="*/ 111 h 577"/>
                  <a:gd name="T72" fmla="*/ 695 w 751"/>
                  <a:gd name="T73" fmla="*/ 99 h 577"/>
                  <a:gd name="T74" fmla="*/ 728 w 751"/>
                  <a:gd name="T75" fmla="*/ 74 h 577"/>
                  <a:gd name="T76" fmla="*/ 647 w 751"/>
                  <a:gd name="T77" fmla="*/ 63 h 577"/>
                  <a:gd name="T78" fmla="*/ 607 w 751"/>
                  <a:gd name="T79" fmla="*/ 51 h 577"/>
                  <a:gd name="T80" fmla="*/ 520 w 751"/>
                  <a:gd name="T81" fmla="*/ 46 h 577"/>
                  <a:gd name="T82" fmla="*/ 607 w 751"/>
                  <a:gd name="T83" fmla="*/ 25 h 577"/>
                  <a:gd name="T84" fmla="*/ 534 w 751"/>
                  <a:gd name="T85" fmla="*/ 3 h 577"/>
                  <a:gd name="T86" fmla="*/ 415 w 751"/>
                  <a:gd name="T87" fmla="*/ 15 h 577"/>
                  <a:gd name="T88" fmla="*/ 355 w 751"/>
                  <a:gd name="T89" fmla="*/ 21 h 577"/>
                  <a:gd name="T90" fmla="*/ 319 w 751"/>
                  <a:gd name="T91" fmla="*/ 46 h 577"/>
                  <a:gd name="T92" fmla="*/ 277 w 751"/>
                  <a:gd name="T93" fmla="*/ 36 h 577"/>
                  <a:gd name="T94" fmla="*/ 436 w 751"/>
                  <a:gd name="T95" fmla="*/ 437 h 577"/>
                  <a:gd name="T96" fmla="*/ 280 w 751"/>
                  <a:gd name="T97" fmla="*/ 431 h 577"/>
                  <a:gd name="T98" fmla="*/ 259 w 751"/>
                  <a:gd name="T99" fmla="*/ 416 h 577"/>
                  <a:gd name="T100" fmla="*/ 553 w 751"/>
                  <a:gd name="T101" fmla="*/ 339 h 577"/>
                  <a:gd name="T102" fmla="*/ 624 w 751"/>
                  <a:gd name="T103" fmla="*/ 291 h 577"/>
                  <a:gd name="T104" fmla="*/ 593 w 751"/>
                  <a:gd name="T105" fmla="*/ 286 h 577"/>
                  <a:gd name="T106" fmla="*/ 582 w 751"/>
                  <a:gd name="T107" fmla="*/ 287 h 577"/>
                  <a:gd name="T108" fmla="*/ 599 w 751"/>
                  <a:gd name="T109" fmla="*/ 268 h 577"/>
                  <a:gd name="T110" fmla="*/ 659 w 751"/>
                  <a:gd name="T111" fmla="*/ 234 h 577"/>
                  <a:gd name="T112" fmla="*/ 685 w 751"/>
                  <a:gd name="T113" fmla="*/ 224 h 577"/>
                  <a:gd name="T114" fmla="*/ 657 w 751"/>
                  <a:gd name="T115" fmla="*/ 49 h 577"/>
                  <a:gd name="T116" fmla="*/ 373 w 751"/>
                  <a:gd name="T117" fmla="*/ 36 h 577"/>
                  <a:gd name="T118" fmla="*/ 536 w 751"/>
                  <a:gd name="T119" fmla="*/ 23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51" h="577">
                    <a:moveTo>
                      <a:pt x="275" y="71"/>
                    </a:moveTo>
                    <a:lnTo>
                      <a:pt x="257" y="63"/>
                    </a:lnTo>
                    <a:lnTo>
                      <a:pt x="242" y="57"/>
                    </a:lnTo>
                    <a:lnTo>
                      <a:pt x="236" y="63"/>
                    </a:lnTo>
                    <a:lnTo>
                      <a:pt x="231" y="71"/>
                    </a:lnTo>
                    <a:lnTo>
                      <a:pt x="229" y="55"/>
                    </a:lnTo>
                    <a:lnTo>
                      <a:pt x="227" y="44"/>
                    </a:lnTo>
                    <a:lnTo>
                      <a:pt x="217" y="44"/>
                    </a:lnTo>
                    <a:lnTo>
                      <a:pt x="211" y="46"/>
                    </a:lnTo>
                    <a:lnTo>
                      <a:pt x="211" y="48"/>
                    </a:lnTo>
                    <a:lnTo>
                      <a:pt x="211" y="51"/>
                    </a:lnTo>
                    <a:lnTo>
                      <a:pt x="208" y="49"/>
                    </a:lnTo>
                    <a:lnTo>
                      <a:pt x="208" y="48"/>
                    </a:lnTo>
                    <a:lnTo>
                      <a:pt x="202" y="48"/>
                    </a:lnTo>
                    <a:lnTo>
                      <a:pt x="198" y="51"/>
                    </a:lnTo>
                    <a:lnTo>
                      <a:pt x="194" y="49"/>
                    </a:lnTo>
                    <a:lnTo>
                      <a:pt x="188" y="48"/>
                    </a:lnTo>
                    <a:lnTo>
                      <a:pt x="169" y="51"/>
                    </a:lnTo>
                    <a:lnTo>
                      <a:pt x="150" y="57"/>
                    </a:lnTo>
                    <a:lnTo>
                      <a:pt x="152" y="63"/>
                    </a:lnTo>
                    <a:lnTo>
                      <a:pt x="154" y="71"/>
                    </a:lnTo>
                    <a:lnTo>
                      <a:pt x="148" y="63"/>
                    </a:lnTo>
                    <a:lnTo>
                      <a:pt x="144" y="57"/>
                    </a:lnTo>
                    <a:lnTo>
                      <a:pt x="140" y="57"/>
                    </a:lnTo>
                    <a:lnTo>
                      <a:pt x="137" y="57"/>
                    </a:lnTo>
                    <a:lnTo>
                      <a:pt x="133" y="65"/>
                    </a:lnTo>
                    <a:lnTo>
                      <a:pt x="129" y="74"/>
                    </a:lnTo>
                    <a:lnTo>
                      <a:pt x="131" y="76"/>
                    </a:lnTo>
                    <a:lnTo>
                      <a:pt x="135" y="80"/>
                    </a:lnTo>
                    <a:lnTo>
                      <a:pt x="127" y="76"/>
                    </a:lnTo>
                    <a:lnTo>
                      <a:pt x="119" y="74"/>
                    </a:lnTo>
                    <a:lnTo>
                      <a:pt x="114" y="74"/>
                    </a:lnTo>
                    <a:lnTo>
                      <a:pt x="108" y="76"/>
                    </a:lnTo>
                    <a:lnTo>
                      <a:pt x="96" y="80"/>
                    </a:lnTo>
                    <a:lnTo>
                      <a:pt x="85" y="86"/>
                    </a:lnTo>
                    <a:lnTo>
                      <a:pt x="73" y="88"/>
                    </a:lnTo>
                    <a:lnTo>
                      <a:pt x="64" y="92"/>
                    </a:lnTo>
                    <a:lnTo>
                      <a:pt x="62" y="96"/>
                    </a:lnTo>
                    <a:lnTo>
                      <a:pt x="62" y="99"/>
                    </a:lnTo>
                    <a:lnTo>
                      <a:pt x="60" y="101"/>
                    </a:lnTo>
                    <a:lnTo>
                      <a:pt x="62" y="105"/>
                    </a:lnTo>
                    <a:lnTo>
                      <a:pt x="67" y="103"/>
                    </a:lnTo>
                    <a:lnTo>
                      <a:pt x="73" y="101"/>
                    </a:lnTo>
                    <a:lnTo>
                      <a:pt x="77" y="103"/>
                    </a:lnTo>
                    <a:lnTo>
                      <a:pt x="79" y="105"/>
                    </a:lnTo>
                    <a:lnTo>
                      <a:pt x="90" y="103"/>
                    </a:lnTo>
                    <a:lnTo>
                      <a:pt x="104" y="101"/>
                    </a:lnTo>
                    <a:lnTo>
                      <a:pt x="102" y="103"/>
                    </a:lnTo>
                    <a:lnTo>
                      <a:pt x="100" y="107"/>
                    </a:lnTo>
                    <a:lnTo>
                      <a:pt x="102" y="105"/>
                    </a:lnTo>
                    <a:lnTo>
                      <a:pt x="102" y="107"/>
                    </a:lnTo>
                    <a:lnTo>
                      <a:pt x="102" y="107"/>
                    </a:lnTo>
                    <a:lnTo>
                      <a:pt x="102" y="109"/>
                    </a:lnTo>
                    <a:lnTo>
                      <a:pt x="100" y="113"/>
                    </a:lnTo>
                    <a:lnTo>
                      <a:pt x="100" y="115"/>
                    </a:lnTo>
                    <a:lnTo>
                      <a:pt x="102" y="117"/>
                    </a:lnTo>
                    <a:lnTo>
                      <a:pt x="102" y="120"/>
                    </a:lnTo>
                    <a:lnTo>
                      <a:pt x="92" y="128"/>
                    </a:lnTo>
                    <a:lnTo>
                      <a:pt x="81" y="134"/>
                    </a:lnTo>
                    <a:lnTo>
                      <a:pt x="69" y="132"/>
                    </a:lnTo>
                    <a:lnTo>
                      <a:pt x="58" y="132"/>
                    </a:lnTo>
                    <a:lnTo>
                      <a:pt x="52" y="134"/>
                    </a:lnTo>
                    <a:lnTo>
                      <a:pt x="48" y="138"/>
                    </a:lnTo>
                    <a:lnTo>
                      <a:pt x="43" y="136"/>
                    </a:lnTo>
                    <a:lnTo>
                      <a:pt x="39" y="136"/>
                    </a:lnTo>
                    <a:lnTo>
                      <a:pt x="23" y="138"/>
                    </a:lnTo>
                    <a:lnTo>
                      <a:pt x="8" y="140"/>
                    </a:lnTo>
                    <a:lnTo>
                      <a:pt x="4" y="144"/>
                    </a:lnTo>
                    <a:lnTo>
                      <a:pt x="2" y="145"/>
                    </a:lnTo>
                    <a:lnTo>
                      <a:pt x="4" y="151"/>
                    </a:lnTo>
                    <a:lnTo>
                      <a:pt x="6" y="157"/>
                    </a:lnTo>
                    <a:lnTo>
                      <a:pt x="10" y="159"/>
                    </a:lnTo>
                    <a:lnTo>
                      <a:pt x="18" y="161"/>
                    </a:lnTo>
                    <a:lnTo>
                      <a:pt x="19" y="163"/>
                    </a:lnTo>
                    <a:lnTo>
                      <a:pt x="21" y="167"/>
                    </a:lnTo>
                    <a:lnTo>
                      <a:pt x="29" y="168"/>
                    </a:lnTo>
                    <a:lnTo>
                      <a:pt x="39" y="168"/>
                    </a:lnTo>
                    <a:lnTo>
                      <a:pt x="41" y="161"/>
                    </a:lnTo>
                    <a:lnTo>
                      <a:pt x="44" y="168"/>
                    </a:lnTo>
                    <a:lnTo>
                      <a:pt x="62" y="168"/>
                    </a:lnTo>
                    <a:lnTo>
                      <a:pt x="81" y="167"/>
                    </a:lnTo>
                    <a:lnTo>
                      <a:pt x="79" y="174"/>
                    </a:lnTo>
                    <a:lnTo>
                      <a:pt x="66" y="172"/>
                    </a:lnTo>
                    <a:lnTo>
                      <a:pt x="56" y="172"/>
                    </a:lnTo>
                    <a:lnTo>
                      <a:pt x="44" y="174"/>
                    </a:lnTo>
                    <a:lnTo>
                      <a:pt x="35" y="176"/>
                    </a:lnTo>
                    <a:lnTo>
                      <a:pt x="33" y="178"/>
                    </a:lnTo>
                    <a:lnTo>
                      <a:pt x="31" y="180"/>
                    </a:lnTo>
                    <a:lnTo>
                      <a:pt x="33" y="180"/>
                    </a:lnTo>
                    <a:lnTo>
                      <a:pt x="35" y="182"/>
                    </a:lnTo>
                    <a:lnTo>
                      <a:pt x="25" y="180"/>
                    </a:lnTo>
                    <a:lnTo>
                      <a:pt x="21" y="178"/>
                    </a:lnTo>
                    <a:lnTo>
                      <a:pt x="14" y="178"/>
                    </a:lnTo>
                    <a:lnTo>
                      <a:pt x="10" y="180"/>
                    </a:lnTo>
                    <a:lnTo>
                      <a:pt x="12" y="182"/>
                    </a:lnTo>
                    <a:lnTo>
                      <a:pt x="14" y="188"/>
                    </a:lnTo>
                    <a:lnTo>
                      <a:pt x="14" y="190"/>
                    </a:lnTo>
                    <a:lnTo>
                      <a:pt x="19" y="190"/>
                    </a:lnTo>
                    <a:lnTo>
                      <a:pt x="31" y="193"/>
                    </a:lnTo>
                    <a:lnTo>
                      <a:pt x="29" y="195"/>
                    </a:lnTo>
                    <a:lnTo>
                      <a:pt x="27" y="195"/>
                    </a:lnTo>
                    <a:lnTo>
                      <a:pt x="31" y="199"/>
                    </a:lnTo>
                    <a:lnTo>
                      <a:pt x="33" y="203"/>
                    </a:lnTo>
                    <a:lnTo>
                      <a:pt x="37" y="205"/>
                    </a:lnTo>
                    <a:lnTo>
                      <a:pt x="44" y="207"/>
                    </a:lnTo>
                    <a:lnTo>
                      <a:pt x="48" y="207"/>
                    </a:lnTo>
                    <a:lnTo>
                      <a:pt x="54" y="209"/>
                    </a:lnTo>
                    <a:lnTo>
                      <a:pt x="56" y="203"/>
                    </a:lnTo>
                    <a:lnTo>
                      <a:pt x="56" y="197"/>
                    </a:lnTo>
                    <a:lnTo>
                      <a:pt x="64" y="201"/>
                    </a:lnTo>
                    <a:lnTo>
                      <a:pt x="66" y="201"/>
                    </a:lnTo>
                    <a:lnTo>
                      <a:pt x="66" y="199"/>
                    </a:lnTo>
                    <a:lnTo>
                      <a:pt x="69" y="197"/>
                    </a:lnTo>
                    <a:lnTo>
                      <a:pt x="73" y="197"/>
                    </a:lnTo>
                    <a:lnTo>
                      <a:pt x="79" y="197"/>
                    </a:lnTo>
                    <a:lnTo>
                      <a:pt x="81" y="201"/>
                    </a:lnTo>
                    <a:lnTo>
                      <a:pt x="87" y="205"/>
                    </a:lnTo>
                    <a:lnTo>
                      <a:pt x="87" y="203"/>
                    </a:lnTo>
                    <a:lnTo>
                      <a:pt x="89" y="199"/>
                    </a:lnTo>
                    <a:lnTo>
                      <a:pt x="96" y="199"/>
                    </a:lnTo>
                    <a:lnTo>
                      <a:pt x="108" y="199"/>
                    </a:lnTo>
                    <a:lnTo>
                      <a:pt x="110" y="195"/>
                    </a:lnTo>
                    <a:lnTo>
                      <a:pt x="112" y="193"/>
                    </a:lnTo>
                    <a:lnTo>
                      <a:pt x="114" y="195"/>
                    </a:lnTo>
                    <a:lnTo>
                      <a:pt x="115" y="201"/>
                    </a:lnTo>
                    <a:lnTo>
                      <a:pt x="119" y="197"/>
                    </a:lnTo>
                    <a:lnTo>
                      <a:pt x="123" y="195"/>
                    </a:lnTo>
                    <a:lnTo>
                      <a:pt x="150" y="203"/>
                    </a:lnTo>
                    <a:lnTo>
                      <a:pt x="154" y="207"/>
                    </a:lnTo>
                    <a:lnTo>
                      <a:pt x="158" y="213"/>
                    </a:lnTo>
                    <a:lnTo>
                      <a:pt x="163" y="213"/>
                    </a:lnTo>
                    <a:lnTo>
                      <a:pt x="171" y="213"/>
                    </a:lnTo>
                    <a:lnTo>
                      <a:pt x="173" y="218"/>
                    </a:lnTo>
                    <a:lnTo>
                      <a:pt x="175" y="224"/>
                    </a:lnTo>
                    <a:lnTo>
                      <a:pt x="179" y="224"/>
                    </a:lnTo>
                    <a:lnTo>
                      <a:pt x="183" y="226"/>
                    </a:lnTo>
                    <a:lnTo>
                      <a:pt x="186" y="232"/>
                    </a:lnTo>
                    <a:lnTo>
                      <a:pt x="192" y="238"/>
                    </a:lnTo>
                    <a:lnTo>
                      <a:pt x="196" y="238"/>
                    </a:lnTo>
                    <a:lnTo>
                      <a:pt x="200" y="238"/>
                    </a:lnTo>
                    <a:lnTo>
                      <a:pt x="200" y="239"/>
                    </a:lnTo>
                    <a:lnTo>
                      <a:pt x="202" y="241"/>
                    </a:lnTo>
                    <a:lnTo>
                      <a:pt x="198" y="243"/>
                    </a:lnTo>
                    <a:lnTo>
                      <a:pt x="198" y="249"/>
                    </a:lnTo>
                    <a:lnTo>
                      <a:pt x="194" y="251"/>
                    </a:lnTo>
                    <a:lnTo>
                      <a:pt x="190" y="253"/>
                    </a:lnTo>
                    <a:lnTo>
                      <a:pt x="196" y="253"/>
                    </a:lnTo>
                    <a:lnTo>
                      <a:pt x="202" y="251"/>
                    </a:lnTo>
                    <a:lnTo>
                      <a:pt x="204" y="255"/>
                    </a:lnTo>
                    <a:lnTo>
                      <a:pt x="206" y="261"/>
                    </a:lnTo>
                    <a:lnTo>
                      <a:pt x="209" y="261"/>
                    </a:lnTo>
                    <a:lnTo>
                      <a:pt x="208" y="264"/>
                    </a:lnTo>
                    <a:lnTo>
                      <a:pt x="208" y="266"/>
                    </a:lnTo>
                    <a:lnTo>
                      <a:pt x="209" y="268"/>
                    </a:lnTo>
                    <a:lnTo>
                      <a:pt x="213" y="270"/>
                    </a:lnTo>
                    <a:lnTo>
                      <a:pt x="213" y="274"/>
                    </a:lnTo>
                    <a:lnTo>
                      <a:pt x="213" y="278"/>
                    </a:lnTo>
                    <a:lnTo>
                      <a:pt x="215" y="278"/>
                    </a:lnTo>
                    <a:lnTo>
                      <a:pt x="219" y="278"/>
                    </a:lnTo>
                    <a:lnTo>
                      <a:pt x="219" y="282"/>
                    </a:lnTo>
                    <a:lnTo>
                      <a:pt x="219" y="287"/>
                    </a:lnTo>
                    <a:lnTo>
                      <a:pt x="213" y="287"/>
                    </a:lnTo>
                    <a:lnTo>
                      <a:pt x="209" y="289"/>
                    </a:lnTo>
                    <a:lnTo>
                      <a:pt x="209" y="291"/>
                    </a:lnTo>
                    <a:lnTo>
                      <a:pt x="211" y="295"/>
                    </a:lnTo>
                    <a:lnTo>
                      <a:pt x="208" y="297"/>
                    </a:lnTo>
                    <a:lnTo>
                      <a:pt x="206" y="299"/>
                    </a:lnTo>
                    <a:lnTo>
                      <a:pt x="208" y="303"/>
                    </a:lnTo>
                    <a:lnTo>
                      <a:pt x="211" y="305"/>
                    </a:lnTo>
                    <a:lnTo>
                      <a:pt x="206" y="307"/>
                    </a:lnTo>
                    <a:lnTo>
                      <a:pt x="204" y="309"/>
                    </a:lnTo>
                    <a:lnTo>
                      <a:pt x="204" y="310"/>
                    </a:lnTo>
                    <a:lnTo>
                      <a:pt x="208" y="312"/>
                    </a:lnTo>
                    <a:lnTo>
                      <a:pt x="215" y="312"/>
                    </a:lnTo>
                    <a:lnTo>
                      <a:pt x="223" y="314"/>
                    </a:lnTo>
                    <a:lnTo>
                      <a:pt x="223" y="309"/>
                    </a:lnTo>
                    <a:lnTo>
                      <a:pt x="225" y="303"/>
                    </a:lnTo>
                    <a:lnTo>
                      <a:pt x="227" y="303"/>
                    </a:lnTo>
                    <a:lnTo>
                      <a:pt x="229" y="305"/>
                    </a:lnTo>
                    <a:lnTo>
                      <a:pt x="229" y="309"/>
                    </a:lnTo>
                    <a:lnTo>
                      <a:pt x="238" y="309"/>
                    </a:lnTo>
                    <a:lnTo>
                      <a:pt x="250" y="310"/>
                    </a:lnTo>
                    <a:lnTo>
                      <a:pt x="248" y="312"/>
                    </a:lnTo>
                    <a:lnTo>
                      <a:pt x="248" y="316"/>
                    </a:lnTo>
                    <a:lnTo>
                      <a:pt x="252" y="314"/>
                    </a:lnTo>
                    <a:lnTo>
                      <a:pt x="259" y="314"/>
                    </a:lnTo>
                    <a:lnTo>
                      <a:pt x="257" y="316"/>
                    </a:lnTo>
                    <a:lnTo>
                      <a:pt x="256" y="318"/>
                    </a:lnTo>
                    <a:lnTo>
                      <a:pt x="263" y="318"/>
                    </a:lnTo>
                    <a:lnTo>
                      <a:pt x="271" y="320"/>
                    </a:lnTo>
                    <a:lnTo>
                      <a:pt x="267" y="322"/>
                    </a:lnTo>
                    <a:lnTo>
                      <a:pt x="265" y="324"/>
                    </a:lnTo>
                    <a:lnTo>
                      <a:pt x="265" y="326"/>
                    </a:lnTo>
                    <a:lnTo>
                      <a:pt x="269" y="326"/>
                    </a:lnTo>
                    <a:lnTo>
                      <a:pt x="267" y="326"/>
                    </a:lnTo>
                    <a:lnTo>
                      <a:pt x="263" y="328"/>
                    </a:lnTo>
                    <a:lnTo>
                      <a:pt x="261" y="330"/>
                    </a:lnTo>
                    <a:lnTo>
                      <a:pt x="261" y="332"/>
                    </a:lnTo>
                    <a:lnTo>
                      <a:pt x="265" y="332"/>
                    </a:lnTo>
                    <a:lnTo>
                      <a:pt x="269" y="332"/>
                    </a:lnTo>
                    <a:lnTo>
                      <a:pt x="269" y="334"/>
                    </a:lnTo>
                    <a:lnTo>
                      <a:pt x="263" y="334"/>
                    </a:lnTo>
                    <a:lnTo>
                      <a:pt x="263" y="337"/>
                    </a:lnTo>
                    <a:lnTo>
                      <a:pt x="269" y="341"/>
                    </a:lnTo>
                    <a:lnTo>
                      <a:pt x="269" y="343"/>
                    </a:lnTo>
                    <a:lnTo>
                      <a:pt x="263" y="341"/>
                    </a:lnTo>
                    <a:lnTo>
                      <a:pt x="257" y="339"/>
                    </a:lnTo>
                    <a:lnTo>
                      <a:pt x="252" y="335"/>
                    </a:lnTo>
                    <a:lnTo>
                      <a:pt x="248" y="332"/>
                    </a:lnTo>
                    <a:lnTo>
                      <a:pt x="232" y="330"/>
                    </a:lnTo>
                    <a:lnTo>
                      <a:pt x="217" y="332"/>
                    </a:lnTo>
                    <a:lnTo>
                      <a:pt x="217" y="334"/>
                    </a:lnTo>
                    <a:lnTo>
                      <a:pt x="219" y="337"/>
                    </a:lnTo>
                    <a:lnTo>
                      <a:pt x="223" y="337"/>
                    </a:lnTo>
                    <a:lnTo>
                      <a:pt x="229" y="339"/>
                    </a:lnTo>
                    <a:lnTo>
                      <a:pt x="229" y="341"/>
                    </a:lnTo>
                    <a:lnTo>
                      <a:pt x="231" y="345"/>
                    </a:lnTo>
                    <a:lnTo>
                      <a:pt x="225" y="343"/>
                    </a:lnTo>
                    <a:lnTo>
                      <a:pt x="217" y="343"/>
                    </a:lnTo>
                    <a:lnTo>
                      <a:pt x="213" y="355"/>
                    </a:lnTo>
                    <a:lnTo>
                      <a:pt x="209" y="362"/>
                    </a:lnTo>
                    <a:lnTo>
                      <a:pt x="209" y="364"/>
                    </a:lnTo>
                    <a:lnTo>
                      <a:pt x="213" y="364"/>
                    </a:lnTo>
                    <a:lnTo>
                      <a:pt x="219" y="366"/>
                    </a:lnTo>
                    <a:lnTo>
                      <a:pt x="229" y="366"/>
                    </a:lnTo>
                    <a:lnTo>
                      <a:pt x="229" y="370"/>
                    </a:lnTo>
                    <a:lnTo>
                      <a:pt x="223" y="370"/>
                    </a:lnTo>
                    <a:lnTo>
                      <a:pt x="217" y="370"/>
                    </a:lnTo>
                    <a:lnTo>
                      <a:pt x="221" y="376"/>
                    </a:lnTo>
                    <a:lnTo>
                      <a:pt x="227" y="376"/>
                    </a:lnTo>
                    <a:lnTo>
                      <a:pt x="234" y="374"/>
                    </a:lnTo>
                    <a:lnTo>
                      <a:pt x="240" y="372"/>
                    </a:lnTo>
                    <a:lnTo>
                      <a:pt x="244" y="370"/>
                    </a:lnTo>
                    <a:lnTo>
                      <a:pt x="248" y="368"/>
                    </a:lnTo>
                    <a:lnTo>
                      <a:pt x="252" y="368"/>
                    </a:lnTo>
                    <a:lnTo>
                      <a:pt x="252" y="364"/>
                    </a:lnTo>
                    <a:lnTo>
                      <a:pt x="252" y="360"/>
                    </a:lnTo>
                    <a:lnTo>
                      <a:pt x="242" y="353"/>
                    </a:lnTo>
                    <a:lnTo>
                      <a:pt x="232" y="345"/>
                    </a:lnTo>
                    <a:lnTo>
                      <a:pt x="232" y="341"/>
                    </a:lnTo>
                    <a:lnTo>
                      <a:pt x="236" y="341"/>
                    </a:lnTo>
                    <a:lnTo>
                      <a:pt x="242" y="343"/>
                    </a:lnTo>
                    <a:lnTo>
                      <a:pt x="244" y="347"/>
                    </a:lnTo>
                    <a:lnTo>
                      <a:pt x="248" y="351"/>
                    </a:lnTo>
                    <a:lnTo>
                      <a:pt x="254" y="351"/>
                    </a:lnTo>
                    <a:lnTo>
                      <a:pt x="257" y="349"/>
                    </a:lnTo>
                    <a:lnTo>
                      <a:pt x="259" y="351"/>
                    </a:lnTo>
                    <a:lnTo>
                      <a:pt x="261" y="353"/>
                    </a:lnTo>
                    <a:lnTo>
                      <a:pt x="265" y="351"/>
                    </a:lnTo>
                    <a:lnTo>
                      <a:pt x="271" y="351"/>
                    </a:lnTo>
                    <a:lnTo>
                      <a:pt x="269" y="358"/>
                    </a:lnTo>
                    <a:lnTo>
                      <a:pt x="267" y="368"/>
                    </a:lnTo>
                    <a:lnTo>
                      <a:pt x="271" y="368"/>
                    </a:lnTo>
                    <a:lnTo>
                      <a:pt x="275" y="368"/>
                    </a:lnTo>
                    <a:lnTo>
                      <a:pt x="273" y="372"/>
                    </a:lnTo>
                    <a:lnTo>
                      <a:pt x="275" y="378"/>
                    </a:lnTo>
                    <a:lnTo>
                      <a:pt x="271" y="380"/>
                    </a:lnTo>
                    <a:lnTo>
                      <a:pt x="271" y="381"/>
                    </a:lnTo>
                    <a:lnTo>
                      <a:pt x="269" y="378"/>
                    </a:lnTo>
                    <a:lnTo>
                      <a:pt x="265" y="376"/>
                    </a:lnTo>
                    <a:lnTo>
                      <a:pt x="265" y="380"/>
                    </a:lnTo>
                    <a:lnTo>
                      <a:pt x="265" y="385"/>
                    </a:lnTo>
                    <a:lnTo>
                      <a:pt x="267" y="393"/>
                    </a:lnTo>
                    <a:lnTo>
                      <a:pt x="259" y="391"/>
                    </a:lnTo>
                    <a:lnTo>
                      <a:pt x="254" y="391"/>
                    </a:lnTo>
                    <a:lnTo>
                      <a:pt x="250" y="393"/>
                    </a:lnTo>
                    <a:lnTo>
                      <a:pt x="250" y="397"/>
                    </a:lnTo>
                    <a:lnTo>
                      <a:pt x="244" y="397"/>
                    </a:lnTo>
                    <a:lnTo>
                      <a:pt x="244" y="399"/>
                    </a:lnTo>
                    <a:lnTo>
                      <a:pt x="248" y="399"/>
                    </a:lnTo>
                    <a:lnTo>
                      <a:pt x="252" y="401"/>
                    </a:lnTo>
                    <a:lnTo>
                      <a:pt x="261" y="399"/>
                    </a:lnTo>
                    <a:lnTo>
                      <a:pt x="269" y="395"/>
                    </a:lnTo>
                    <a:lnTo>
                      <a:pt x="269" y="399"/>
                    </a:lnTo>
                    <a:lnTo>
                      <a:pt x="269" y="403"/>
                    </a:lnTo>
                    <a:lnTo>
                      <a:pt x="259" y="403"/>
                    </a:lnTo>
                    <a:lnTo>
                      <a:pt x="252" y="405"/>
                    </a:lnTo>
                    <a:lnTo>
                      <a:pt x="248" y="403"/>
                    </a:lnTo>
                    <a:lnTo>
                      <a:pt x="242" y="401"/>
                    </a:lnTo>
                    <a:lnTo>
                      <a:pt x="242" y="403"/>
                    </a:lnTo>
                    <a:lnTo>
                      <a:pt x="244" y="405"/>
                    </a:lnTo>
                    <a:lnTo>
                      <a:pt x="238" y="408"/>
                    </a:lnTo>
                    <a:lnTo>
                      <a:pt x="232" y="412"/>
                    </a:lnTo>
                    <a:lnTo>
                      <a:pt x="232" y="414"/>
                    </a:lnTo>
                    <a:lnTo>
                      <a:pt x="232" y="418"/>
                    </a:lnTo>
                    <a:lnTo>
                      <a:pt x="236" y="418"/>
                    </a:lnTo>
                    <a:lnTo>
                      <a:pt x="236" y="420"/>
                    </a:lnTo>
                    <a:lnTo>
                      <a:pt x="232" y="424"/>
                    </a:lnTo>
                    <a:lnTo>
                      <a:pt x="234" y="428"/>
                    </a:lnTo>
                    <a:lnTo>
                      <a:pt x="236" y="431"/>
                    </a:lnTo>
                    <a:lnTo>
                      <a:pt x="240" y="431"/>
                    </a:lnTo>
                    <a:lnTo>
                      <a:pt x="238" y="437"/>
                    </a:lnTo>
                    <a:lnTo>
                      <a:pt x="236" y="443"/>
                    </a:lnTo>
                    <a:lnTo>
                      <a:pt x="238" y="443"/>
                    </a:lnTo>
                    <a:lnTo>
                      <a:pt x="240" y="445"/>
                    </a:lnTo>
                    <a:lnTo>
                      <a:pt x="236" y="445"/>
                    </a:lnTo>
                    <a:lnTo>
                      <a:pt x="234" y="445"/>
                    </a:lnTo>
                    <a:lnTo>
                      <a:pt x="232" y="447"/>
                    </a:lnTo>
                    <a:lnTo>
                      <a:pt x="232" y="449"/>
                    </a:lnTo>
                    <a:lnTo>
                      <a:pt x="236" y="449"/>
                    </a:lnTo>
                    <a:lnTo>
                      <a:pt x="242" y="451"/>
                    </a:lnTo>
                    <a:lnTo>
                      <a:pt x="240" y="452"/>
                    </a:lnTo>
                    <a:lnTo>
                      <a:pt x="240" y="454"/>
                    </a:lnTo>
                    <a:lnTo>
                      <a:pt x="236" y="454"/>
                    </a:lnTo>
                    <a:lnTo>
                      <a:pt x="238" y="456"/>
                    </a:lnTo>
                    <a:lnTo>
                      <a:pt x="244" y="456"/>
                    </a:lnTo>
                    <a:lnTo>
                      <a:pt x="250" y="456"/>
                    </a:lnTo>
                    <a:lnTo>
                      <a:pt x="250" y="458"/>
                    </a:lnTo>
                    <a:lnTo>
                      <a:pt x="250" y="462"/>
                    </a:lnTo>
                    <a:lnTo>
                      <a:pt x="250" y="464"/>
                    </a:lnTo>
                    <a:lnTo>
                      <a:pt x="250" y="466"/>
                    </a:lnTo>
                    <a:lnTo>
                      <a:pt x="254" y="472"/>
                    </a:lnTo>
                    <a:lnTo>
                      <a:pt x="256" y="476"/>
                    </a:lnTo>
                    <a:lnTo>
                      <a:pt x="254" y="477"/>
                    </a:lnTo>
                    <a:lnTo>
                      <a:pt x="254" y="483"/>
                    </a:lnTo>
                    <a:lnTo>
                      <a:pt x="261" y="477"/>
                    </a:lnTo>
                    <a:lnTo>
                      <a:pt x="273" y="474"/>
                    </a:lnTo>
                    <a:lnTo>
                      <a:pt x="273" y="476"/>
                    </a:lnTo>
                    <a:lnTo>
                      <a:pt x="273" y="479"/>
                    </a:lnTo>
                    <a:lnTo>
                      <a:pt x="269" y="479"/>
                    </a:lnTo>
                    <a:lnTo>
                      <a:pt x="269" y="481"/>
                    </a:lnTo>
                    <a:lnTo>
                      <a:pt x="269" y="485"/>
                    </a:lnTo>
                    <a:lnTo>
                      <a:pt x="261" y="485"/>
                    </a:lnTo>
                    <a:lnTo>
                      <a:pt x="257" y="487"/>
                    </a:lnTo>
                    <a:lnTo>
                      <a:pt x="261" y="487"/>
                    </a:lnTo>
                    <a:lnTo>
                      <a:pt x="263" y="489"/>
                    </a:lnTo>
                    <a:lnTo>
                      <a:pt x="261" y="489"/>
                    </a:lnTo>
                    <a:lnTo>
                      <a:pt x="256" y="491"/>
                    </a:lnTo>
                    <a:lnTo>
                      <a:pt x="257" y="495"/>
                    </a:lnTo>
                    <a:lnTo>
                      <a:pt x="259" y="497"/>
                    </a:lnTo>
                    <a:lnTo>
                      <a:pt x="259" y="500"/>
                    </a:lnTo>
                    <a:lnTo>
                      <a:pt x="263" y="500"/>
                    </a:lnTo>
                    <a:lnTo>
                      <a:pt x="267" y="500"/>
                    </a:lnTo>
                    <a:lnTo>
                      <a:pt x="265" y="504"/>
                    </a:lnTo>
                    <a:lnTo>
                      <a:pt x="265" y="508"/>
                    </a:lnTo>
                    <a:lnTo>
                      <a:pt x="269" y="514"/>
                    </a:lnTo>
                    <a:lnTo>
                      <a:pt x="271" y="510"/>
                    </a:lnTo>
                    <a:lnTo>
                      <a:pt x="275" y="510"/>
                    </a:lnTo>
                    <a:lnTo>
                      <a:pt x="275" y="514"/>
                    </a:lnTo>
                    <a:lnTo>
                      <a:pt x="273" y="516"/>
                    </a:lnTo>
                    <a:lnTo>
                      <a:pt x="275" y="520"/>
                    </a:lnTo>
                    <a:lnTo>
                      <a:pt x="277" y="518"/>
                    </a:lnTo>
                    <a:lnTo>
                      <a:pt x="280" y="518"/>
                    </a:lnTo>
                    <a:lnTo>
                      <a:pt x="280" y="523"/>
                    </a:lnTo>
                    <a:lnTo>
                      <a:pt x="280" y="527"/>
                    </a:lnTo>
                    <a:lnTo>
                      <a:pt x="284" y="523"/>
                    </a:lnTo>
                    <a:lnTo>
                      <a:pt x="292" y="522"/>
                    </a:lnTo>
                    <a:lnTo>
                      <a:pt x="290" y="525"/>
                    </a:lnTo>
                    <a:lnTo>
                      <a:pt x="290" y="529"/>
                    </a:lnTo>
                    <a:lnTo>
                      <a:pt x="292" y="529"/>
                    </a:lnTo>
                    <a:lnTo>
                      <a:pt x="296" y="529"/>
                    </a:lnTo>
                    <a:lnTo>
                      <a:pt x="296" y="541"/>
                    </a:lnTo>
                    <a:lnTo>
                      <a:pt x="300" y="541"/>
                    </a:lnTo>
                    <a:lnTo>
                      <a:pt x="304" y="539"/>
                    </a:lnTo>
                    <a:lnTo>
                      <a:pt x="302" y="541"/>
                    </a:lnTo>
                    <a:lnTo>
                      <a:pt x="300" y="543"/>
                    </a:lnTo>
                    <a:lnTo>
                      <a:pt x="300" y="545"/>
                    </a:lnTo>
                    <a:lnTo>
                      <a:pt x="304" y="545"/>
                    </a:lnTo>
                    <a:lnTo>
                      <a:pt x="302" y="548"/>
                    </a:lnTo>
                    <a:lnTo>
                      <a:pt x="304" y="550"/>
                    </a:lnTo>
                    <a:lnTo>
                      <a:pt x="304" y="552"/>
                    </a:lnTo>
                    <a:lnTo>
                      <a:pt x="305" y="556"/>
                    </a:lnTo>
                    <a:lnTo>
                      <a:pt x="311" y="554"/>
                    </a:lnTo>
                    <a:lnTo>
                      <a:pt x="319" y="552"/>
                    </a:lnTo>
                    <a:lnTo>
                      <a:pt x="323" y="548"/>
                    </a:lnTo>
                    <a:lnTo>
                      <a:pt x="328" y="543"/>
                    </a:lnTo>
                    <a:lnTo>
                      <a:pt x="327" y="548"/>
                    </a:lnTo>
                    <a:lnTo>
                      <a:pt x="327" y="552"/>
                    </a:lnTo>
                    <a:lnTo>
                      <a:pt x="328" y="556"/>
                    </a:lnTo>
                    <a:lnTo>
                      <a:pt x="330" y="556"/>
                    </a:lnTo>
                    <a:lnTo>
                      <a:pt x="336" y="558"/>
                    </a:lnTo>
                    <a:lnTo>
                      <a:pt x="348" y="556"/>
                    </a:lnTo>
                    <a:lnTo>
                      <a:pt x="344" y="562"/>
                    </a:lnTo>
                    <a:lnTo>
                      <a:pt x="342" y="566"/>
                    </a:lnTo>
                    <a:lnTo>
                      <a:pt x="344" y="564"/>
                    </a:lnTo>
                    <a:lnTo>
                      <a:pt x="350" y="560"/>
                    </a:lnTo>
                    <a:lnTo>
                      <a:pt x="348" y="562"/>
                    </a:lnTo>
                    <a:lnTo>
                      <a:pt x="346" y="566"/>
                    </a:lnTo>
                    <a:lnTo>
                      <a:pt x="348" y="566"/>
                    </a:lnTo>
                    <a:lnTo>
                      <a:pt x="351" y="568"/>
                    </a:lnTo>
                    <a:lnTo>
                      <a:pt x="351" y="564"/>
                    </a:lnTo>
                    <a:lnTo>
                      <a:pt x="355" y="562"/>
                    </a:lnTo>
                    <a:lnTo>
                      <a:pt x="355" y="566"/>
                    </a:lnTo>
                    <a:lnTo>
                      <a:pt x="355" y="570"/>
                    </a:lnTo>
                    <a:lnTo>
                      <a:pt x="357" y="571"/>
                    </a:lnTo>
                    <a:lnTo>
                      <a:pt x="367" y="571"/>
                    </a:lnTo>
                    <a:lnTo>
                      <a:pt x="365" y="570"/>
                    </a:lnTo>
                    <a:lnTo>
                      <a:pt x="363" y="568"/>
                    </a:lnTo>
                    <a:lnTo>
                      <a:pt x="367" y="566"/>
                    </a:lnTo>
                    <a:lnTo>
                      <a:pt x="371" y="566"/>
                    </a:lnTo>
                    <a:lnTo>
                      <a:pt x="371" y="564"/>
                    </a:lnTo>
                    <a:lnTo>
                      <a:pt x="365" y="562"/>
                    </a:lnTo>
                    <a:lnTo>
                      <a:pt x="367" y="562"/>
                    </a:lnTo>
                    <a:lnTo>
                      <a:pt x="367" y="560"/>
                    </a:lnTo>
                    <a:lnTo>
                      <a:pt x="367" y="558"/>
                    </a:lnTo>
                    <a:lnTo>
                      <a:pt x="367" y="558"/>
                    </a:lnTo>
                    <a:lnTo>
                      <a:pt x="363" y="558"/>
                    </a:lnTo>
                    <a:lnTo>
                      <a:pt x="359" y="556"/>
                    </a:lnTo>
                    <a:lnTo>
                      <a:pt x="361" y="554"/>
                    </a:lnTo>
                    <a:lnTo>
                      <a:pt x="365" y="554"/>
                    </a:lnTo>
                    <a:lnTo>
                      <a:pt x="367" y="552"/>
                    </a:lnTo>
                    <a:lnTo>
                      <a:pt x="369" y="550"/>
                    </a:lnTo>
                    <a:lnTo>
                      <a:pt x="367" y="548"/>
                    </a:lnTo>
                    <a:lnTo>
                      <a:pt x="367" y="545"/>
                    </a:lnTo>
                    <a:lnTo>
                      <a:pt x="369" y="543"/>
                    </a:lnTo>
                    <a:lnTo>
                      <a:pt x="373" y="541"/>
                    </a:lnTo>
                    <a:lnTo>
                      <a:pt x="371" y="537"/>
                    </a:lnTo>
                    <a:lnTo>
                      <a:pt x="371" y="535"/>
                    </a:lnTo>
                    <a:lnTo>
                      <a:pt x="373" y="531"/>
                    </a:lnTo>
                    <a:lnTo>
                      <a:pt x="376" y="529"/>
                    </a:lnTo>
                    <a:lnTo>
                      <a:pt x="375" y="525"/>
                    </a:lnTo>
                    <a:lnTo>
                      <a:pt x="375" y="520"/>
                    </a:lnTo>
                    <a:lnTo>
                      <a:pt x="378" y="518"/>
                    </a:lnTo>
                    <a:lnTo>
                      <a:pt x="380" y="516"/>
                    </a:lnTo>
                    <a:lnTo>
                      <a:pt x="378" y="514"/>
                    </a:lnTo>
                    <a:lnTo>
                      <a:pt x="376" y="514"/>
                    </a:lnTo>
                    <a:lnTo>
                      <a:pt x="378" y="512"/>
                    </a:lnTo>
                    <a:lnTo>
                      <a:pt x="378" y="508"/>
                    </a:lnTo>
                    <a:lnTo>
                      <a:pt x="380" y="508"/>
                    </a:lnTo>
                    <a:lnTo>
                      <a:pt x="384" y="510"/>
                    </a:lnTo>
                    <a:lnTo>
                      <a:pt x="388" y="506"/>
                    </a:lnTo>
                    <a:lnTo>
                      <a:pt x="388" y="502"/>
                    </a:lnTo>
                    <a:lnTo>
                      <a:pt x="388" y="499"/>
                    </a:lnTo>
                    <a:lnTo>
                      <a:pt x="390" y="499"/>
                    </a:lnTo>
                    <a:lnTo>
                      <a:pt x="394" y="499"/>
                    </a:lnTo>
                    <a:lnTo>
                      <a:pt x="392" y="495"/>
                    </a:lnTo>
                    <a:lnTo>
                      <a:pt x="392" y="489"/>
                    </a:lnTo>
                    <a:lnTo>
                      <a:pt x="394" y="487"/>
                    </a:lnTo>
                    <a:lnTo>
                      <a:pt x="396" y="483"/>
                    </a:lnTo>
                    <a:lnTo>
                      <a:pt x="392" y="483"/>
                    </a:lnTo>
                    <a:lnTo>
                      <a:pt x="388" y="483"/>
                    </a:lnTo>
                    <a:lnTo>
                      <a:pt x="386" y="481"/>
                    </a:lnTo>
                    <a:lnTo>
                      <a:pt x="386" y="479"/>
                    </a:lnTo>
                    <a:lnTo>
                      <a:pt x="392" y="479"/>
                    </a:lnTo>
                    <a:lnTo>
                      <a:pt x="398" y="481"/>
                    </a:lnTo>
                    <a:lnTo>
                      <a:pt x="396" y="472"/>
                    </a:lnTo>
                    <a:lnTo>
                      <a:pt x="394" y="462"/>
                    </a:lnTo>
                    <a:lnTo>
                      <a:pt x="398" y="460"/>
                    </a:lnTo>
                    <a:lnTo>
                      <a:pt x="401" y="462"/>
                    </a:lnTo>
                    <a:lnTo>
                      <a:pt x="401" y="458"/>
                    </a:lnTo>
                    <a:lnTo>
                      <a:pt x="405" y="456"/>
                    </a:lnTo>
                    <a:lnTo>
                      <a:pt x="403" y="454"/>
                    </a:lnTo>
                    <a:lnTo>
                      <a:pt x="403" y="452"/>
                    </a:lnTo>
                    <a:lnTo>
                      <a:pt x="413" y="452"/>
                    </a:lnTo>
                    <a:lnTo>
                      <a:pt x="421" y="451"/>
                    </a:lnTo>
                    <a:lnTo>
                      <a:pt x="426" y="449"/>
                    </a:lnTo>
                    <a:lnTo>
                      <a:pt x="434" y="445"/>
                    </a:lnTo>
                    <a:lnTo>
                      <a:pt x="434" y="447"/>
                    </a:lnTo>
                    <a:lnTo>
                      <a:pt x="434" y="451"/>
                    </a:lnTo>
                    <a:lnTo>
                      <a:pt x="436" y="452"/>
                    </a:lnTo>
                    <a:lnTo>
                      <a:pt x="440" y="454"/>
                    </a:lnTo>
                    <a:lnTo>
                      <a:pt x="442" y="451"/>
                    </a:lnTo>
                    <a:lnTo>
                      <a:pt x="446" y="447"/>
                    </a:lnTo>
                    <a:lnTo>
                      <a:pt x="447" y="445"/>
                    </a:lnTo>
                    <a:lnTo>
                      <a:pt x="451" y="445"/>
                    </a:lnTo>
                    <a:lnTo>
                      <a:pt x="451" y="447"/>
                    </a:lnTo>
                    <a:lnTo>
                      <a:pt x="455" y="449"/>
                    </a:lnTo>
                    <a:lnTo>
                      <a:pt x="459" y="439"/>
                    </a:lnTo>
                    <a:lnTo>
                      <a:pt x="465" y="429"/>
                    </a:lnTo>
                    <a:lnTo>
                      <a:pt x="472" y="426"/>
                    </a:lnTo>
                    <a:lnTo>
                      <a:pt x="480" y="424"/>
                    </a:lnTo>
                    <a:lnTo>
                      <a:pt x="484" y="418"/>
                    </a:lnTo>
                    <a:lnTo>
                      <a:pt x="488" y="412"/>
                    </a:lnTo>
                    <a:lnTo>
                      <a:pt x="492" y="410"/>
                    </a:lnTo>
                    <a:lnTo>
                      <a:pt x="497" y="410"/>
                    </a:lnTo>
                    <a:lnTo>
                      <a:pt x="497" y="405"/>
                    </a:lnTo>
                    <a:lnTo>
                      <a:pt x="499" y="401"/>
                    </a:lnTo>
                    <a:lnTo>
                      <a:pt x="495" y="397"/>
                    </a:lnTo>
                    <a:lnTo>
                      <a:pt x="494" y="391"/>
                    </a:lnTo>
                    <a:lnTo>
                      <a:pt x="499" y="395"/>
                    </a:lnTo>
                    <a:lnTo>
                      <a:pt x="505" y="397"/>
                    </a:lnTo>
                    <a:lnTo>
                      <a:pt x="513" y="399"/>
                    </a:lnTo>
                    <a:lnTo>
                      <a:pt x="524" y="399"/>
                    </a:lnTo>
                    <a:lnTo>
                      <a:pt x="522" y="393"/>
                    </a:lnTo>
                    <a:lnTo>
                      <a:pt x="526" y="393"/>
                    </a:lnTo>
                    <a:lnTo>
                      <a:pt x="532" y="397"/>
                    </a:lnTo>
                    <a:lnTo>
                      <a:pt x="534" y="393"/>
                    </a:lnTo>
                    <a:lnTo>
                      <a:pt x="536" y="391"/>
                    </a:lnTo>
                    <a:lnTo>
                      <a:pt x="538" y="393"/>
                    </a:lnTo>
                    <a:lnTo>
                      <a:pt x="541" y="395"/>
                    </a:lnTo>
                    <a:lnTo>
                      <a:pt x="549" y="393"/>
                    </a:lnTo>
                    <a:lnTo>
                      <a:pt x="557" y="391"/>
                    </a:lnTo>
                    <a:lnTo>
                      <a:pt x="557" y="389"/>
                    </a:lnTo>
                    <a:lnTo>
                      <a:pt x="559" y="387"/>
                    </a:lnTo>
                    <a:lnTo>
                      <a:pt x="563" y="387"/>
                    </a:lnTo>
                    <a:lnTo>
                      <a:pt x="568" y="387"/>
                    </a:lnTo>
                    <a:lnTo>
                      <a:pt x="570" y="385"/>
                    </a:lnTo>
                    <a:lnTo>
                      <a:pt x="574" y="383"/>
                    </a:lnTo>
                    <a:lnTo>
                      <a:pt x="574" y="380"/>
                    </a:lnTo>
                    <a:lnTo>
                      <a:pt x="574" y="378"/>
                    </a:lnTo>
                    <a:lnTo>
                      <a:pt x="578" y="378"/>
                    </a:lnTo>
                    <a:lnTo>
                      <a:pt x="584" y="380"/>
                    </a:lnTo>
                    <a:lnTo>
                      <a:pt x="584" y="376"/>
                    </a:lnTo>
                    <a:lnTo>
                      <a:pt x="584" y="374"/>
                    </a:lnTo>
                    <a:lnTo>
                      <a:pt x="586" y="372"/>
                    </a:lnTo>
                    <a:lnTo>
                      <a:pt x="588" y="372"/>
                    </a:lnTo>
                    <a:lnTo>
                      <a:pt x="591" y="372"/>
                    </a:lnTo>
                    <a:lnTo>
                      <a:pt x="595" y="374"/>
                    </a:lnTo>
                    <a:lnTo>
                      <a:pt x="597" y="370"/>
                    </a:lnTo>
                    <a:lnTo>
                      <a:pt x="599" y="368"/>
                    </a:lnTo>
                    <a:lnTo>
                      <a:pt x="607" y="368"/>
                    </a:lnTo>
                    <a:lnTo>
                      <a:pt x="614" y="368"/>
                    </a:lnTo>
                    <a:lnTo>
                      <a:pt x="614" y="364"/>
                    </a:lnTo>
                    <a:lnTo>
                      <a:pt x="614" y="362"/>
                    </a:lnTo>
                    <a:lnTo>
                      <a:pt x="616" y="360"/>
                    </a:lnTo>
                    <a:lnTo>
                      <a:pt x="620" y="360"/>
                    </a:lnTo>
                    <a:lnTo>
                      <a:pt x="622" y="355"/>
                    </a:lnTo>
                    <a:lnTo>
                      <a:pt x="624" y="351"/>
                    </a:lnTo>
                    <a:lnTo>
                      <a:pt x="628" y="349"/>
                    </a:lnTo>
                    <a:lnTo>
                      <a:pt x="634" y="349"/>
                    </a:lnTo>
                    <a:lnTo>
                      <a:pt x="634" y="345"/>
                    </a:lnTo>
                    <a:lnTo>
                      <a:pt x="624" y="345"/>
                    </a:lnTo>
                    <a:lnTo>
                      <a:pt x="612" y="345"/>
                    </a:lnTo>
                    <a:lnTo>
                      <a:pt x="609" y="341"/>
                    </a:lnTo>
                    <a:lnTo>
                      <a:pt x="603" y="339"/>
                    </a:lnTo>
                    <a:lnTo>
                      <a:pt x="595" y="341"/>
                    </a:lnTo>
                    <a:lnTo>
                      <a:pt x="591" y="345"/>
                    </a:lnTo>
                    <a:lnTo>
                      <a:pt x="584" y="345"/>
                    </a:lnTo>
                    <a:lnTo>
                      <a:pt x="578" y="343"/>
                    </a:lnTo>
                    <a:lnTo>
                      <a:pt x="580" y="341"/>
                    </a:lnTo>
                    <a:lnTo>
                      <a:pt x="580" y="339"/>
                    </a:lnTo>
                    <a:lnTo>
                      <a:pt x="580" y="339"/>
                    </a:lnTo>
                    <a:lnTo>
                      <a:pt x="580" y="337"/>
                    </a:lnTo>
                    <a:lnTo>
                      <a:pt x="580" y="335"/>
                    </a:lnTo>
                    <a:lnTo>
                      <a:pt x="589" y="335"/>
                    </a:lnTo>
                    <a:lnTo>
                      <a:pt x="589" y="332"/>
                    </a:lnTo>
                    <a:lnTo>
                      <a:pt x="589" y="328"/>
                    </a:lnTo>
                    <a:lnTo>
                      <a:pt x="572" y="328"/>
                    </a:lnTo>
                    <a:lnTo>
                      <a:pt x="555" y="330"/>
                    </a:lnTo>
                    <a:lnTo>
                      <a:pt x="557" y="326"/>
                    </a:lnTo>
                    <a:lnTo>
                      <a:pt x="559" y="324"/>
                    </a:lnTo>
                    <a:lnTo>
                      <a:pt x="574" y="324"/>
                    </a:lnTo>
                    <a:lnTo>
                      <a:pt x="591" y="324"/>
                    </a:lnTo>
                    <a:lnTo>
                      <a:pt x="591" y="320"/>
                    </a:lnTo>
                    <a:lnTo>
                      <a:pt x="591" y="318"/>
                    </a:lnTo>
                    <a:lnTo>
                      <a:pt x="588" y="318"/>
                    </a:lnTo>
                    <a:lnTo>
                      <a:pt x="584" y="318"/>
                    </a:lnTo>
                    <a:lnTo>
                      <a:pt x="582" y="316"/>
                    </a:lnTo>
                    <a:lnTo>
                      <a:pt x="582" y="314"/>
                    </a:lnTo>
                    <a:lnTo>
                      <a:pt x="566" y="314"/>
                    </a:lnTo>
                    <a:lnTo>
                      <a:pt x="553" y="316"/>
                    </a:lnTo>
                    <a:lnTo>
                      <a:pt x="557" y="310"/>
                    </a:lnTo>
                    <a:lnTo>
                      <a:pt x="559" y="307"/>
                    </a:lnTo>
                    <a:lnTo>
                      <a:pt x="561" y="309"/>
                    </a:lnTo>
                    <a:lnTo>
                      <a:pt x="563" y="310"/>
                    </a:lnTo>
                    <a:lnTo>
                      <a:pt x="568" y="310"/>
                    </a:lnTo>
                    <a:lnTo>
                      <a:pt x="574" y="309"/>
                    </a:lnTo>
                    <a:lnTo>
                      <a:pt x="588" y="312"/>
                    </a:lnTo>
                    <a:lnTo>
                      <a:pt x="601" y="318"/>
                    </a:lnTo>
                    <a:lnTo>
                      <a:pt x="603" y="322"/>
                    </a:lnTo>
                    <a:lnTo>
                      <a:pt x="605" y="326"/>
                    </a:lnTo>
                    <a:lnTo>
                      <a:pt x="611" y="332"/>
                    </a:lnTo>
                    <a:lnTo>
                      <a:pt x="616" y="337"/>
                    </a:lnTo>
                    <a:lnTo>
                      <a:pt x="624" y="339"/>
                    </a:lnTo>
                    <a:lnTo>
                      <a:pt x="632" y="341"/>
                    </a:lnTo>
                    <a:lnTo>
                      <a:pt x="634" y="341"/>
                    </a:lnTo>
                    <a:lnTo>
                      <a:pt x="634" y="341"/>
                    </a:lnTo>
                    <a:lnTo>
                      <a:pt x="636" y="341"/>
                    </a:lnTo>
                    <a:lnTo>
                      <a:pt x="639" y="343"/>
                    </a:lnTo>
                    <a:lnTo>
                      <a:pt x="641" y="337"/>
                    </a:lnTo>
                    <a:lnTo>
                      <a:pt x="637" y="337"/>
                    </a:lnTo>
                    <a:lnTo>
                      <a:pt x="637" y="335"/>
                    </a:lnTo>
                    <a:lnTo>
                      <a:pt x="639" y="330"/>
                    </a:lnTo>
                    <a:lnTo>
                      <a:pt x="641" y="326"/>
                    </a:lnTo>
                    <a:lnTo>
                      <a:pt x="637" y="326"/>
                    </a:lnTo>
                    <a:lnTo>
                      <a:pt x="636" y="322"/>
                    </a:lnTo>
                    <a:lnTo>
                      <a:pt x="636" y="316"/>
                    </a:lnTo>
                    <a:lnTo>
                      <a:pt x="632" y="316"/>
                    </a:lnTo>
                    <a:lnTo>
                      <a:pt x="630" y="316"/>
                    </a:lnTo>
                    <a:lnTo>
                      <a:pt x="630" y="312"/>
                    </a:lnTo>
                    <a:lnTo>
                      <a:pt x="626" y="312"/>
                    </a:lnTo>
                    <a:lnTo>
                      <a:pt x="624" y="312"/>
                    </a:lnTo>
                    <a:lnTo>
                      <a:pt x="624" y="310"/>
                    </a:lnTo>
                    <a:lnTo>
                      <a:pt x="626" y="309"/>
                    </a:lnTo>
                    <a:lnTo>
                      <a:pt x="624" y="307"/>
                    </a:lnTo>
                    <a:lnTo>
                      <a:pt x="622" y="305"/>
                    </a:lnTo>
                    <a:lnTo>
                      <a:pt x="618" y="303"/>
                    </a:lnTo>
                    <a:lnTo>
                      <a:pt x="614" y="303"/>
                    </a:lnTo>
                    <a:lnTo>
                      <a:pt x="612" y="301"/>
                    </a:lnTo>
                    <a:lnTo>
                      <a:pt x="616" y="301"/>
                    </a:lnTo>
                    <a:lnTo>
                      <a:pt x="622" y="303"/>
                    </a:lnTo>
                    <a:lnTo>
                      <a:pt x="628" y="307"/>
                    </a:lnTo>
                    <a:lnTo>
                      <a:pt x="634" y="307"/>
                    </a:lnTo>
                    <a:lnTo>
                      <a:pt x="637" y="307"/>
                    </a:lnTo>
                    <a:lnTo>
                      <a:pt x="637" y="305"/>
                    </a:lnTo>
                    <a:lnTo>
                      <a:pt x="632" y="303"/>
                    </a:lnTo>
                    <a:lnTo>
                      <a:pt x="634" y="301"/>
                    </a:lnTo>
                    <a:lnTo>
                      <a:pt x="636" y="299"/>
                    </a:lnTo>
                    <a:lnTo>
                      <a:pt x="636" y="299"/>
                    </a:lnTo>
                    <a:lnTo>
                      <a:pt x="630" y="297"/>
                    </a:lnTo>
                    <a:lnTo>
                      <a:pt x="634" y="295"/>
                    </a:lnTo>
                    <a:lnTo>
                      <a:pt x="637" y="293"/>
                    </a:lnTo>
                    <a:lnTo>
                      <a:pt x="636" y="291"/>
                    </a:lnTo>
                    <a:lnTo>
                      <a:pt x="637" y="287"/>
                    </a:lnTo>
                    <a:lnTo>
                      <a:pt x="634" y="286"/>
                    </a:lnTo>
                    <a:lnTo>
                      <a:pt x="630" y="286"/>
                    </a:lnTo>
                    <a:lnTo>
                      <a:pt x="630" y="284"/>
                    </a:lnTo>
                    <a:lnTo>
                      <a:pt x="628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2"/>
                    </a:lnTo>
                    <a:lnTo>
                      <a:pt x="628" y="280"/>
                    </a:lnTo>
                    <a:lnTo>
                      <a:pt x="622" y="278"/>
                    </a:lnTo>
                    <a:lnTo>
                      <a:pt x="616" y="276"/>
                    </a:lnTo>
                    <a:lnTo>
                      <a:pt x="612" y="274"/>
                    </a:lnTo>
                    <a:lnTo>
                      <a:pt x="609" y="272"/>
                    </a:lnTo>
                    <a:lnTo>
                      <a:pt x="622" y="272"/>
                    </a:lnTo>
                    <a:lnTo>
                      <a:pt x="641" y="272"/>
                    </a:lnTo>
                    <a:lnTo>
                      <a:pt x="641" y="268"/>
                    </a:lnTo>
                    <a:lnTo>
                      <a:pt x="645" y="268"/>
                    </a:lnTo>
                    <a:lnTo>
                      <a:pt x="651" y="266"/>
                    </a:lnTo>
                    <a:lnTo>
                      <a:pt x="651" y="261"/>
                    </a:lnTo>
                    <a:lnTo>
                      <a:pt x="651" y="257"/>
                    </a:lnTo>
                    <a:lnTo>
                      <a:pt x="643" y="255"/>
                    </a:lnTo>
                    <a:lnTo>
                      <a:pt x="639" y="255"/>
                    </a:lnTo>
                    <a:lnTo>
                      <a:pt x="637" y="259"/>
                    </a:lnTo>
                    <a:lnTo>
                      <a:pt x="636" y="263"/>
                    </a:lnTo>
                    <a:lnTo>
                      <a:pt x="636" y="259"/>
                    </a:lnTo>
                    <a:lnTo>
                      <a:pt x="636" y="257"/>
                    </a:lnTo>
                    <a:lnTo>
                      <a:pt x="632" y="255"/>
                    </a:lnTo>
                    <a:lnTo>
                      <a:pt x="630" y="255"/>
                    </a:lnTo>
                    <a:lnTo>
                      <a:pt x="630" y="251"/>
                    </a:lnTo>
                    <a:lnTo>
                      <a:pt x="632" y="249"/>
                    </a:lnTo>
                    <a:lnTo>
                      <a:pt x="632" y="245"/>
                    </a:lnTo>
                    <a:lnTo>
                      <a:pt x="632" y="241"/>
                    </a:lnTo>
                    <a:lnTo>
                      <a:pt x="636" y="241"/>
                    </a:lnTo>
                    <a:lnTo>
                      <a:pt x="637" y="245"/>
                    </a:lnTo>
                    <a:lnTo>
                      <a:pt x="634" y="245"/>
                    </a:lnTo>
                    <a:lnTo>
                      <a:pt x="634" y="247"/>
                    </a:lnTo>
                    <a:lnTo>
                      <a:pt x="634" y="249"/>
                    </a:lnTo>
                    <a:lnTo>
                      <a:pt x="634" y="253"/>
                    </a:lnTo>
                    <a:lnTo>
                      <a:pt x="639" y="253"/>
                    </a:lnTo>
                    <a:lnTo>
                      <a:pt x="647" y="253"/>
                    </a:lnTo>
                    <a:lnTo>
                      <a:pt x="647" y="249"/>
                    </a:lnTo>
                    <a:lnTo>
                      <a:pt x="639" y="247"/>
                    </a:lnTo>
                    <a:lnTo>
                      <a:pt x="637" y="245"/>
                    </a:lnTo>
                    <a:lnTo>
                      <a:pt x="637" y="243"/>
                    </a:lnTo>
                    <a:lnTo>
                      <a:pt x="639" y="243"/>
                    </a:lnTo>
                    <a:lnTo>
                      <a:pt x="649" y="245"/>
                    </a:lnTo>
                    <a:lnTo>
                      <a:pt x="657" y="247"/>
                    </a:lnTo>
                    <a:lnTo>
                      <a:pt x="659" y="251"/>
                    </a:lnTo>
                    <a:lnTo>
                      <a:pt x="664" y="249"/>
                    </a:lnTo>
                    <a:lnTo>
                      <a:pt x="670" y="249"/>
                    </a:lnTo>
                    <a:lnTo>
                      <a:pt x="668" y="243"/>
                    </a:lnTo>
                    <a:lnTo>
                      <a:pt x="659" y="243"/>
                    </a:lnTo>
                    <a:lnTo>
                      <a:pt x="649" y="245"/>
                    </a:lnTo>
                    <a:lnTo>
                      <a:pt x="651" y="239"/>
                    </a:lnTo>
                    <a:lnTo>
                      <a:pt x="651" y="236"/>
                    </a:lnTo>
                    <a:lnTo>
                      <a:pt x="647" y="236"/>
                    </a:lnTo>
                    <a:lnTo>
                      <a:pt x="645" y="239"/>
                    </a:lnTo>
                    <a:lnTo>
                      <a:pt x="643" y="239"/>
                    </a:lnTo>
                    <a:lnTo>
                      <a:pt x="643" y="238"/>
                    </a:lnTo>
                    <a:lnTo>
                      <a:pt x="643" y="236"/>
                    </a:lnTo>
                    <a:lnTo>
                      <a:pt x="645" y="236"/>
                    </a:lnTo>
                    <a:lnTo>
                      <a:pt x="645" y="232"/>
                    </a:lnTo>
                    <a:lnTo>
                      <a:pt x="645" y="226"/>
                    </a:lnTo>
                    <a:lnTo>
                      <a:pt x="637" y="224"/>
                    </a:lnTo>
                    <a:lnTo>
                      <a:pt x="637" y="222"/>
                    </a:lnTo>
                    <a:lnTo>
                      <a:pt x="641" y="222"/>
                    </a:lnTo>
                    <a:lnTo>
                      <a:pt x="653" y="222"/>
                    </a:lnTo>
                    <a:lnTo>
                      <a:pt x="655" y="224"/>
                    </a:lnTo>
                    <a:lnTo>
                      <a:pt x="657" y="228"/>
                    </a:lnTo>
                    <a:lnTo>
                      <a:pt x="660" y="226"/>
                    </a:lnTo>
                    <a:lnTo>
                      <a:pt x="662" y="224"/>
                    </a:lnTo>
                    <a:lnTo>
                      <a:pt x="660" y="215"/>
                    </a:lnTo>
                    <a:lnTo>
                      <a:pt x="659" y="207"/>
                    </a:lnTo>
                    <a:lnTo>
                      <a:pt x="655" y="207"/>
                    </a:lnTo>
                    <a:lnTo>
                      <a:pt x="655" y="205"/>
                    </a:lnTo>
                    <a:lnTo>
                      <a:pt x="657" y="201"/>
                    </a:lnTo>
                    <a:lnTo>
                      <a:pt x="655" y="199"/>
                    </a:lnTo>
                    <a:lnTo>
                      <a:pt x="647" y="197"/>
                    </a:lnTo>
                    <a:lnTo>
                      <a:pt x="647" y="201"/>
                    </a:lnTo>
                    <a:lnTo>
                      <a:pt x="643" y="201"/>
                    </a:lnTo>
                    <a:lnTo>
                      <a:pt x="643" y="201"/>
                    </a:lnTo>
                    <a:lnTo>
                      <a:pt x="636" y="203"/>
                    </a:lnTo>
                    <a:lnTo>
                      <a:pt x="634" y="203"/>
                    </a:lnTo>
                    <a:lnTo>
                      <a:pt x="634" y="203"/>
                    </a:lnTo>
                    <a:lnTo>
                      <a:pt x="636" y="201"/>
                    </a:lnTo>
                    <a:lnTo>
                      <a:pt x="643" y="195"/>
                    </a:lnTo>
                    <a:lnTo>
                      <a:pt x="647" y="193"/>
                    </a:lnTo>
                    <a:lnTo>
                      <a:pt x="645" y="190"/>
                    </a:lnTo>
                    <a:lnTo>
                      <a:pt x="643" y="184"/>
                    </a:lnTo>
                    <a:lnTo>
                      <a:pt x="660" y="186"/>
                    </a:lnTo>
                    <a:lnTo>
                      <a:pt x="678" y="190"/>
                    </a:lnTo>
                    <a:lnTo>
                      <a:pt x="678" y="184"/>
                    </a:lnTo>
                    <a:lnTo>
                      <a:pt x="678" y="180"/>
                    </a:lnTo>
                    <a:lnTo>
                      <a:pt x="674" y="180"/>
                    </a:lnTo>
                    <a:lnTo>
                      <a:pt x="672" y="172"/>
                    </a:lnTo>
                    <a:lnTo>
                      <a:pt x="666" y="172"/>
                    </a:lnTo>
                    <a:lnTo>
                      <a:pt x="666" y="174"/>
                    </a:lnTo>
                    <a:lnTo>
                      <a:pt x="662" y="174"/>
                    </a:lnTo>
                    <a:lnTo>
                      <a:pt x="662" y="174"/>
                    </a:lnTo>
                    <a:lnTo>
                      <a:pt x="653" y="172"/>
                    </a:lnTo>
                    <a:lnTo>
                      <a:pt x="653" y="170"/>
                    </a:lnTo>
                    <a:lnTo>
                      <a:pt x="653" y="165"/>
                    </a:lnTo>
                    <a:lnTo>
                      <a:pt x="659" y="167"/>
                    </a:lnTo>
                    <a:lnTo>
                      <a:pt x="664" y="167"/>
                    </a:lnTo>
                    <a:lnTo>
                      <a:pt x="662" y="163"/>
                    </a:lnTo>
                    <a:lnTo>
                      <a:pt x="662" y="161"/>
                    </a:lnTo>
                    <a:lnTo>
                      <a:pt x="657" y="159"/>
                    </a:lnTo>
                    <a:lnTo>
                      <a:pt x="653" y="159"/>
                    </a:lnTo>
                    <a:lnTo>
                      <a:pt x="643" y="157"/>
                    </a:lnTo>
                    <a:lnTo>
                      <a:pt x="636" y="157"/>
                    </a:lnTo>
                    <a:lnTo>
                      <a:pt x="636" y="153"/>
                    </a:lnTo>
                    <a:lnTo>
                      <a:pt x="636" y="149"/>
                    </a:lnTo>
                    <a:lnTo>
                      <a:pt x="643" y="149"/>
                    </a:lnTo>
                    <a:lnTo>
                      <a:pt x="651" y="151"/>
                    </a:lnTo>
                    <a:lnTo>
                      <a:pt x="651" y="153"/>
                    </a:lnTo>
                    <a:lnTo>
                      <a:pt x="655" y="155"/>
                    </a:lnTo>
                    <a:lnTo>
                      <a:pt x="655" y="149"/>
                    </a:lnTo>
                    <a:lnTo>
                      <a:pt x="657" y="145"/>
                    </a:lnTo>
                    <a:lnTo>
                      <a:pt x="660" y="142"/>
                    </a:lnTo>
                    <a:lnTo>
                      <a:pt x="666" y="138"/>
                    </a:lnTo>
                    <a:lnTo>
                      <a:pt x="666" y="130"/>
                    </a:lnTo>
                    <a:lnTo>
                      <a:pt x="666" y="120"/>
                    </a:lnTo>
                    <a:lnTo>
                      <a:pt x="674" y="120"/>
                    </a:lnTo>
                    <a:lnTo>
                      <a:pt x="683" y="120"/>
                    </a:lnTo>
                    <a:lnTo>
                      <a:pt x="683" y="117"/>
                    </a:lnTo>
                    <a:lnTo>
                      <a:pt x="683" y="113"/>
                    </a:lnTo>
                    <a:lnTo>
                      <a:pt x="687" y="111"/>
                    </a:lnTo>
                    <a:lnTo>
                      <a:pt x="689" y="109"/>
                    </a:lnTo>
                    <a:lnTo>
                      <a:pt x="687" y="107"/>
                    </a:lnTo>
                    <a:lnTo>
                      <a:pt x="685" y="105"/>
                    </a:lnTo>
                    <a:lnTo>
                      <a:pt x="678" y="103"/>
                    </a:lnTo>
                    <a:lnTo>
                      <a:pt x="668" y="103"/>
                    </a:lnTo>
                    <a:lnTo>
                      <a:pt x="664" y="105"/>
                    </a:lnTo>
                    <a:lnTo>
                      <a:pt x="660" y="107"/>
                    </a:lnTo>
                    <a:lnTo>
                      <a:pt x="659" y="109"/>
                    </a:lnTo>
                    <a:lnTo>
                      <a:pt x="657" y="107"/>
                    </a:lnTo>
                    <a:lnTo>
                      <a:pt x="655" y="107"/>
                    </a:lnTo>
                    <a:lnTo>
                      <a:pt x="655" y="103"/>
                    </a:lnTo>
                    <a:lnTo>
                      <a:pt x="655" y="101"/>
                    </a:lnTo>
                    <a:lnTo>
                      <a:pt x="653" y="99"/>
                    </a:lnTo>
                    <a:lnTo>
                      <a:pt x="655" y="96"/>
                    </a:lnTo>
                    <a:lnTo>
                      <a:pt x="657" y="97"/>
                    </a:lnTo>
                    <a:lnTo>
                      <a:pt x="660" y="96"/>
                    </a:lnTo>
                    <a:lnTo>
                      <a:pt x="668" y="96"/>
                    </a:lnTo>
                    <a:lnTo>
                      <a:pt x="676" y="97"/>
                    </a:lnTo>
                    <a:lnTo>
                      <a:pt x="685" y="99"/>
                    </a:lnTo>
                    <a:lnTo>
                      <a:pt x="695" y="99"/>
                    </a:lnTo>
                    <a:lnTo>
                      <a:pt x="703" y="97"/>
                    </a:lnTo>
                    <a:lnTo>
                      <a:pt x="705" y="94"/>
                    </a:lnTo>
                    <a:lnTo>
                      <a:pt x="707" y="92"/>
                    </a:lnTo>
                    <a:lnTo>
                      <a:pt x="708" y="92"/>
                    </a:lnTo>
                    <a:lnTo>
                      <a:pt x="710" y="90"/>
                    </a:lnTo>
                    <a:lnTo>
                      <a:pt x="710" y="86"/>
                    </a:lnTo>
                    <a:lnTo>
                      <a:pt x="707" y="84"/>
                    </a:lnTo>
                    <a:lnTo>
                      <a:pt x="703" y="84"/>
                    </a:lnTo>
                    <a:lnTo>
                      <a:pt x="693" y="86"/>
                    </a:lnTo>
                    <a:lnTo>
                      <a:pt x="683" y="90"/>
                    </a:lnTo>
                    <a:lnTo>
                      <a:pt x="674" y="90"/>
                    </a:lnTo>
                    <a:lnTo>
                      <a:pt x="670" y="88"/>
                    </a:lnTo>
                    <a:lnTo>
                      <a:pt x="674" y="86"/>
                    </a:lnTo>
                    <a:lnTo>
                      <a:pt x="682" y="84"/>
                    </a:lnTo>
                    <a:lnTo>
                      <a:pt x="697" y="84"/>
                    </a:lnTo>
                    <a:lnTo>
                      <a:pt x="714" y="84"/>
                    </a:lnTo>
                    <a:lnTo>
                      <a:pt x="714" y="80"/>
                    </a:lnTo>
                    <a:lnTo>
                      <a:pt x="720" y="78"/>
                    </a:lnTo>
                    <a:lnTo>
                      <a:pt x="728" y="78"/>
                    </a:lnTo>
                    <a:lnTo>
                      <a:pt x="728" y="74"/>
                    </a:lnTo>
                    <a:lnTo>
                      <a:pt x="730" y="73"/>
                    </a:lnTo>
                    <a:lnTo>
                      <a:pt x="739" y="71"/>
                    </a:lnTo>
                    <a:lnTo>
                      <a:pt x="749" y="69"/>
                    </a:lnTo>
                    <a:lnTo>
                      <a:pt x="751" y="65"/>
                    </a:lnTo>
                    <a:lnTo>
                      <a:pt x="747" y="61"/>
                    </a:lnTo>
                    <a:lnTo>
                      <a:pt x="745" y="59"/>
                    </a:lnTo>
                    <a:lnTo>
                      <a:pt x="733" y="57"/>
                    </a:lnTo>
                    <a:lnTo>
                      <a:pt x="714" y="57"/>
                    </a:lnTo>
                    <a:lnTo>
                      <a:pt x="695" y="57"/>
                    </a:lnTo>
                    <a:lnTo>
                      <a:pt x="685" y="57"/>
                    </a:lnTo>
                    <a:lnTo>
                      <a:pt x="685" y="61"/>
                    </a:lnTo>
                    <a:lnTo>
                      <a:pt x="676" y="63"/>
                    </a:lnTo>
                    <a:lnTo>
                      <a:pt x="670" y="63"/>
                    </a:lnTo>
                    <a:lnTo>
                      <a:pt x="666" y="63"/>
                    </a:lnTo>
                    <a:lnTo>
                      <a:pt x="659" y="63"/>
                    </a:lnTo>
                    <a:lnTo>
                      <a:pt x="659" y="65"/>
                    </a:lnTo>
                    <a:lnTo>
                      <a:pt x="657" y="67"/>
                    </a:lnTo>
                    <a:lnTo>
                      <a:pt x="655" y="61"/>
                    </a:lnTo>
                    <a:lnTo>
                      <a:pt x="653" y="59"/>
                    </a:lnTo>
                    <a:lnTo>
                      <a:pt x="647" y="63"/>
                    </a:lnTo>
                    <a:lnTo>
                      <a:pt x="643" y="69"/>
                    </a:lnTo>
                    <a:lnTo>
                      <a:pt x="639" y="69"/>
                    </a:lnTo>
                    <a:lnTo>
                      <a:pt x="636" y="69"/>
                    </a:lnTo>
                    <a:lnTo>
                      <a:pt x="632" y="73"/>
                    </a:lnTo>
                    <a:lnTo>
                      <a:pt x="630" y="76"/>
                    </a:lnTo>
                    <a:lnTo>
                      <a:pt x="614" y="78"/>
                    </a:lnTo>
                    <a:lnTo>
                      <a:pt x="601" y="78"/>
                    </a:lnTo>
                    <a:lnTo>
                      <a:pt x="599" y="76"/>
                    </a:lnTo>
                    <a:lnTo>
                      <a:pt x="599" y="74"/>
                    </a:lnTo>
                    <a:lnTo>
                      <a:pt x="603" y="73"/>
                    </a:lnTo>
                    <a:lnTo>
                      <a:pt x="605" y="71"/>
                    </a:lnTo>
                    <a:lnTo>
                      <a:pt x="609" y="71"/>
                    </a:lnTo>
                    <a:lnTo>
                      <a:pt x="614" y="73"/>
                    </a:lnTo>
                    <a:lnTo>
                      <a:pt x="616" y="69"/>
                    </a:lnTo>
                    <a:lnTo>
                      <a:pt x="622" y="65"/>
                    </a:lnTo>
                    <a:lnTo>
                      <a:pt x="626" y="63"/>
                    </a:lnTo>
                    <a:lnTo>
                      <a:pt x="628" y="59"/>
                    </a:lnTo>
                    <a:lnTo>
                      <a:pt x="632" y="53"/>
                    </a:lnTo>
                    <a:lnTo>
                      <a:pt x="620" y="51"/>
                    </a:lnTo>
                    <a:lnTo>
                      <a:pt x="607" y="51"/>
                    </a:lnTo>
                    <a:lnTo>
                      <a:pt x="605" y="53"/>
                    </a:lnTo>
                    <a:lnTo>
                      <a:pt x="607" y="55"/>
                    </a:lnTo>
                    <a:lnTo>
                      <a:pt x="605" y="59"/>
                    </a:lnTo>
                    <a:lnTo>
                      <a:pt x="601" y="61"/>
                    </a:lnTo>
                    <a:lnTo>
                      <a:pt x="589" y="61"/>
                    </a:lnTo>
                    <a:lnTo>
                      <a:pt x="578" y="61"/>
                    </a:lnTo>
                    <a:lnTo>
                      <a:pt x="580" y="55"/>
                    </a:lnTo>
                    <a:lnTo>
                      <a:pt x="578" y="51"/>
                    </a:lnTo>
                    <a:lnTo>
                      <a:pt x="561" y="51"/>
                    </a:lnTo>
                    <a:lnTo>
                      <a:pt x="545" y="53"/>
                    </a:lnTo>
                    <a:lnTo>
                      <a:pt x="534" y="51"/>
                    </a:lnTo>
                    <a:lnTo>
                      <a:pt x="526" y="51"/>
                    </a:lnTo>
                    <a:lnTo>
                      <a:pt x="515" y="55"/>
                    </a:lnTo>
                    <a:lnTo>
                      <a:pt x="505" y="59"/>
                    </a:lnTo>
                    <a:lnTo>
                      <a:pt x="499" y="59"/>
                    </a:lnTo>
                    <a:lnTo>
                      <a:pt x="494" y="59"/>
                    </a:lnTo>
                    <a:lnTo>
                      <a:pt x="505" y="55"/>
                    </a:lnTo>
                    <a:lnTo>
                      <a:pt x="517" y="51"/>
                    </a:lnTo>
                    <a:lnTo>
                      <a:pt x="517" y="48"/>
                    </a:lnTo>
                    <a:lnTo>
                      <a:pt x="520" y="46"/>
                    </a:lnTo>
                    <a:lnTo>
                      <a:pt x="524" y="46"/>
                    </a:lnTo>
                    <a:lnTo>
                      <a:pt x="551" y="44"/>
                    </a:lnTo>
                    <a:lnTo>
                      <a:pt x="574" y="48"/>
                    </a:lnTo>
                    <a:lnTo>
                      <a:pt x="578" y="46"/>
                    </a:lnTo>
                    <a:lnTo>
                      <a:pt x="582" y="46"/>
                    </a:lnTo>
                    <a:lnTo>
                      <a:pt x="591" y="46"/>
                    </a:lnTo>
                    <a:lnTo>
                      <a:pt x="597" y="48"/>
                    </a:lnTo>
                    <a:lnTo>
                      <a:pt x="607" y="46"/>
                    </a:lnTo>
                    <a:lnTo>
                      <a:pt x="612" y="46"/>
                    </a:lnTo>
                    <a:lnTo>
                      <a:pt x="624" y="46"/>
                    </a:lnTo>
                    <a:lnTo>
                      <a:pt x="637" y="46"/>
                    </a:lnTo>
                    <a:lnTo>
                      <a:pt x="643" y="40"/>
                    </a:lnTo>
                    <a:lnTo>
                      <a:pt x="651" y="36"/>
                    </a:lnTo>
                    <a:lnTo>
                      <a:pt x="645" y="32"/>
                    </a:lnTo>
                    <a:lnTo>
                      <a:pt x="639" y="28"/>
                    </a:lnTo>
                    <a:lnTo>
                      <a:pt x="630" y="28"/>
                    </a:lnTo>
                    <a:lnTo>
                      <a:pt x="624" y="30"/>
                    </a:lnTo>
                    <a:lnTo>
                      <a:pt x="622" y="28"/>
                    </a:lnTo>
                    <a:lnTo>
                      <a:pt x="622" y="25"/>
                    </a:lnTo>
                    <a:lnTo>
                      <a:pt x="607" y="25"/>
                    </a:lnTo>
                    <a:lnTo>
                      <a:pt x="591" y="28"/>
                    </a:lnTo>
                    <a:lnTo>
                      <a:pt x="595" y="26"/>
                    </a:lnTo>
                    <a:lnTo>
                      <a:pt x="603" y="25"/>
                    </a:lnTo>
                    <a:lnTo>
                      <a:pt x="601" y="15"/>
                    </a:lnTo>
                    <a:lnTo>
                      <a:pt x="597" y="13"/>
                    </a:lnTo>
                    <a:lnTo>
                      <a:pt x="595" y="11"/>
                    </a:lnTo>
                    <a:lnTo>
                      <a:pt x="589" y="11"/>
                    </a:lnTo>
                    <a:lnTo>
                      <a:pt x="588" y="13"/>
                    </a:lnTo>
                    <a:lnTo>
                      <a:pt x="586" y="15"/>
                    </a:lnTo>
                    <a:lnTo>
                      <a:pt x="584" y="17"/>
                    </a:lnTo>
                    <a:lnTo>
                      <a:pt x="576" y="17"/>
                    </a:lnTo>
                    <a:lnTo>
                      <a:pt x="568" y="19"/>
                    </a:lnTo>
                    <a:lnTo>
                      <a:pt x="574" y="13"/>
                    </a:lnTo>
                    <a:lnTo>
                      <a:pt x="582" y="9"/>
                    </a:lnTo>
                    <a:lnTo>
                      <a:pt x="582" y="5"/>
                    </a:lnTo>
                    <a:lnTo>
                      <a:pt x="568" y="5"/>
                    </a:lnTo>
                    <a:lnTo>
                      <a:pt x="555" y="5"/>
                    </a:lnTo>
                    <a:lnTo>
                      <a:pt x="549" y="3"/>
                    </a:lnTo>
                    <a:lnTo>
                      <a:pt x="543" y="2"/>
                    </a:lnTo>
                    <a:lnTo>
                      <a:pt x="534" y="3"/>
                    </a:lnTo>
                    <a:lnTo>
                      <a:pt x="522" y="5"/>
                    </a:lnTo>
                    <a:lnTo>
                      <a:pt x="522" y="3"/>
                    </a:lnTo>
                    <a:lnTo>
                      <a:pt x="517" y="3"/>
                    </a:lnTo>
                    <a:lnTo>
                      <a:pt x="513" y="3"/>
                    </a:lnTo>
                    <a:lnTo>
                      <a:pt x="511" y="0"/>
                    </a:lnTo>
                    <a:lnTo>
                      <a:pt x="484" y="0"/>
                    </a:lnTo>
                    <a:lnTo>
                      <a:pt x="455" y="2"/>
                    </a:lnTo>
                    <a:lnTo>
                      <a:pt x="449" y="0"/>
                    </a:lnTo>
                    <a:lnTo>
                      <a:pt x="442" y="0"/>
                    </a:lnTo>
                    <a:lnTo>
                      <a:pt x="440" y="2"/>
                    </a:lnTo>
                    <a:lnTo>
                      <a:pt x="440" y="5"/>
                    </a:lnTo>
                    <a:lnTo>
                      <a:pt x="434" y="3"/>
                    </a:lnTo>
                    <a:lnTo>
                      <a:pt x="428" y="2"/>
                    </a:lnTo>
                    <a:lnTo>
                      <a:pt x="428" y="5"/>
                    </a:lnTo>
                    <a:lnTo>
                      <a:pt x="428" y="9"/>
                    </a:lnTo>
                    <a:lnTo>
                      <a:pt x="421" y="7"/>
                    </a:lnTo>
                    <a:lnTo>
                      <a:pt x="413" y="7"/>
                    </a:lnTo>
                    <a:lnTo>
                      <a:pt x="411" y="13"/>
                    </a:lnTo>
                    <a:lnTo>
                      <a:pt x="413" y="13"/>
                    </a:lnTo>
                    <a:lnTo>
                      <a:pt x="415" y="15"/>
                    </a:lnTo>
                    <a:lnTo>
                      <a:pt x="409" y="15"/>
                    </a:lnTo>
                    <a:lnTo>
                      <a:pt x="405" y="15"/>
                    </a:lnTo>
                    <a:lnTo>
                      <a:pt x="403" y="19"/>
                    </a:lnTo>
                    <a:lnTo>
                      <a:pt x="405" y="21"/>
                    </a:lnTo>
                    <a:lnTo>
                      <a:pt x="405" y="23"/>
                    </a:lnTo>
                    <a:lnTo>
                      <a:pt x="407" y="25"/>
                    </a:lnTo>
                    <a:lnTo>
                      <a:pt x="401" y="23"/>
                    </a:lnTo>
                    <a:lnTo>
                      <a:pt x="399" y="19"/>
                    </a:lnTo>
                    <a:lnTo>
                      <a:pt x="396" y="21"/>
                    </a:lnTo>
                    <a:lnTo>
                      <a:pt x="392" y="23"/>
                    </a:lnTo>
                    <a:lnTo>
                      <a:pt x="392" y="25"/>
                    </a:lnTo>
                    <a:lnTo>
                      <a:pt x="394" y="28"/>
                    </a:lnTo>
                    <a:lnTo>
                      <a:pt x="388" y="26"/>
                    </a:lnTo>
                    <a:lnTo>
                      <a:pt x="382" y="25"/>
                    </a:lnTo>
                    <a:lnTo>
                      <a:pt x="380" y="19"/>
                    </a:lnTo>
                    <a:lnTo>
                      <a:pt x="380" y="15"/>
                    </a:lnTo>
                    <a:lnTo>
                      <a:pt x="363" y="17"/>
                    </a:lnTo>
                    <a:lnTo>
                      <a:pt x="353" y="17"/>
                    </a:lnTo>
                    <a:lnTo>
                      <a:pt x="353" y="21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5" y="23"/>
                    </a:lnTo>
                    <a:lnTo>
                      <a:pt x="357" y="25"/>
                    </a:lnTo>
                    <a:lnTo>
                      <a:pt x="353" y="25"/>
                    </a:lnTo>
                    <a:lnTo>
                      <a:pt x="353" y="26"/>
                    </a:lnTo>
                    <a:lnTo>
                      <a:pt x="353" y="30"/>
                    </a:lnTo>
                    <a:lnTo>
                      <a:pt x="357" y="30"/>
                    </a:lnTo>
                    <a:lnTo>
                      <a:pt x="344" y="32"/>
                    </a:lnTo>
                    <a:lnTo>
                      <a:pt x="344" y="36"/>
                    </a:lnTo>
                    <a:lnTo>
                      <a:pt x="346" y="40"/>
                    </a:lnTo>
                    <a:lnTo>
                      <a:pt x="338" y="36"/>
                    </a:lnTo>
                    <a:lnTo>
                      <a:pt x="332" y="34"/>
                    </a:lnTo>
                    <a:lnTo>
                      <a:pt x="327" y="36"/>
                    </a:lnTo>
                    <a:lnTo>
                      <a:pt x="323" y="38"/>
                    </a:lnTo>
                    <a:lnTo>
                      <a:pt x="319" y="36"/>
                    </a:lnTo>
                    <a:lnTo>
                      <a:pt x="313" y="36"/>
                    </a:lnTo>
                    <a:lnTo>
                      <a:pt x="313" y="38"/>
                    </a:lnTo>
                    <a:lnTo>
                      <a:pt x="313" y="42"/>
                    </a:lnTo>
                    <a:lnTo>
                      <a:pt x="317" y="42"/>
                    </a:lnTo>
                    <a:lnTo>
                      <a:pt x="319" y="46"/>
                    </a:lnTo>
                    <a:lnTo>
                      <a:pt x="321" y="49"/>
                    </a:lnTo>
                    <a:lnTo>
                      <a:pt x="336" y="61"/>
                    </a:lnTo>
                    <a:lnTo>
                      <a:pt x="353" y="71"/>
                    </a:lnTo>
                    <a:lnTo>
                      <a:pt x="344" y="69"/>
                    </a:lnTo>
                    <a:lnTo>
                      <a:pt x="338" y="67"/>
                    </a:lnTo>
                    <a:lnTo>
                      <a:pt x="334" y="71"/>
                    </a:lnTo>
                    <a:lnTo>
                      <a:pt x="332" y="74"/>
                    </a:lnTo>
                    <a:lnTo>
                      <a:pt x="327" y="73"/>
                    </a:lnTo>
                    <a:lnTo>
                      <a:pt x="325" y="71"/>
                    </a:lnTo>
                    <a:lnTo>
                      <a:pt x="321" y="71"/>
                    </a:lnTo>
                    <a:lnTo>
                      <a:pt x="319" y="71"/>
                    </a:lnTo>
                    <a:lnTo>
                      <a:pt x="311" y="65"/>
                    </a:lnTo>
                    <a:lnTo>
                      <a:pt x="307" y="57"/>
                    </a:lnTo>
                    <a:lnTo>
                      <a:pt x="307" y="53"/>
                    </a:lnTo>
                    <a:lnTo>
                      <a:pt x="307" y="51"/>
                    </a:lnTo>
                    <a:lnTo>
                      <a:pt x="302" y="46"/>
                    </a:lnTo>
                    <a:lnTo>
                      <a:pt x="296" y="42"/>
                    </a:lnTo>
                    <a:lnTo>
                      <a:pt x="288" y="38"/>
                    </a:lnTo>
                    <a:lnTo>
                      <a:pt x="280" y="36"/>
                    </a:lnTo>
                    <a:lnTo>
                      <a:pt x="277" y="36"/>
                    </a:lnTo>
                    <a:lnTo>
                      <a:pt x="275" y="53"/>
                    </a:lnTo>
                    <a:lnTo>
                      <a:pt x="275" y="71"/>
                    </a:lnTo>
                    <a:close/>
                    <a:moveTo>
                      <a:pt x="351" y="571"/>
                    </a:moveTo>
                    <a:lnTo>
                      <a:pt x="351" y="573"/>
                    </a:lnTo>
                    <a:lnTo>
                      <a:pt x="353" y="577"/>
                    </a:lnTo>
                    <a:lnTo>
                      <a:pt x="355" y="577"/>
                    </a:lnTo>
                    <a:lnTo>
                      <a:pt x="355" y="575"/>
                    </a:lnTo>
                    <a:lnTo>
                      <a:pt x="355" y="573"/>
                    </a:lnTo>
                    <a:lnTo>
                      <a:pt x="351" y="571"/>
                    </a:lnTo>
                    <a:close/>
                    <a:moveTo>
                      <a:pt x="436" y="437"/>
                    </a:moveTo>
                    <a:lnTo>
                      <a:pt x="438" y="435"/>
                    </a:lnTo>
                    <a:lnTo>
                      <a:pt x="440" y="437"/>
                    </a:lnTo>
                    <a:lnTo>
                      <a:pt x="440" y="437"/>
                    </a:lnTo>
                    <a:lnTo>
                      <a:pt x="440" y="439"/>
                    </a:lnTo>
                    <a:lnTo>
                      <a:pt x="438" y="441"/>
                    </a:lnTo>
                    <a:lnTo>
                      <a:pt x="436" y="443"/>
                    </a:lnTo>
                    <a:lnTo>
                      <a:pt x="434" y="443"/>
                    </a:lnTo>
                    <a:lnTo>
                      <a:pt x="434" y="441"/>
                    </a:lnTo>
                    <a:lnTo>
                      <a:pt x="434" y="439"/>
                    </a:lnTo>
                    <a:lnTo>
                      <a:pt x="436" y="437"/>
                    </a:lnTo>
                    <a:close/>
                    <a:moveTo>
                      <a:pt x="355" y="71"/>
                    </a:moveTo>
                    <a:lnTo>
                      <a:pt x="355" y="71"/>
                    </a:lnTo>
                    <a:lnTo>
                      <a:pt x="357" y="73"/>
                    </a:lnTo>
                    <a:lnTo>
                      <a:pt x="357" y="74"/>
                    </a:lnTo>
                    <a:lnTo>
                      <a:pt x="355" y="74"/>
                    </a:lnTo>
                    <a:lnTo>
                      <a:pt x="353" y="73"/>
                    </a:lnTo>
                    <a:lnTo>
                      <a:pt x="353" y="73"/>
                    </a:lnTo>
                    <a:lnTo>
                      <a:pt x="353" y="71"/>
                    </a:lnTo>
                    <a:lnTo>
                      <a:pt x="355" y="71"/>
                    </a:lnTo>
                    <a:close/>
                    <a:moveTo>
                      <a:pt x="488" y="59"/>
                    </a:moveTo>
                    <a:lnTo>
                      <a:pt x="490" y="59"/>
                    </a:lnTo>
                    <a:lnTo>
                      <a:pt x="490" y="61"/>
                    </a:lnTo>
                    <a:lnTo>
                      <a:pt x="488" y="63"/>
                    </a:lnTo>
                    <a:lnTo>
                      <a:pt x="488" y="65"/>
                    </a:lnTo>
                    <a:lnTo>
                      <a:pt x="484" y="65"/>
                    </a:lnTo>
                    <a:lnTo>
                      <a:pt x="484" y="63"/>
                    </a:lnTo>
                    <a:lnTo>
                      <a:pt x="486" y="61"/>
                    </a:lnTo>
                    <a:lnTo>
                      <a:pt x="488" y="59"/>
                    </a:lnTo>
                    <a:close/>
                    <a:moveTo>
                      <a:pt x="282" y="426"/>
                    </a:moveTo>
                    <a:lnTo>
                      <a:pt x="280" y="431"/>
                    </a:lnTo>
                    <a:lnTo>
                      <a:pt x="277" y="431"/>
                    </a:lnTo>
                    <a:lnTo>
                      <a:pt x="273" y="431"/>
                    </a:lnTo>
                    <a:lnTo>
                      <a:pt x="273" y="431"/>
                    </a:lnTo>
                    <a:lnTo>
                      <a:pt x="275" y="429"/>
                    </a:lnTo>
                    <a:lnTo>
                      <a:pt x="279" y="428"/>
                    </a:lnTo>
                    <a:lnTo>
                      <a:pt x="282" y="426"/>
                    </a:lnTo>
                    <a:close/>
                    <a:moveTo>
                      <a:pt x="267" y="406"/>
                    </a:moveTo>
                    <a:lnTo>
                      <a:pt x="269" y="405"/>
                    </a:lnTo>
                    <a:lnTo>
                      <a:pt x="271" y="406"/>
                    </a:lnTo>
                    <a:lnTo>
                      <a:pt x="271" y="408"/>
                    </a:lnTo>
                    <a:lnTo>
                      <a:pt x="271" y="410"/>
                    </a:lnTo>
                    <a:lnTo>
                      <a:pt x="267" y="414"/>
                    </a:lnTo>
                    <a:lnTo>
                      <a:pt x="267" y="418"/>
                    </a:lnTo>
                    <a:lnTo>
                      <a:pt x="254" y="416"/>
                    </a:lnTo>
                    <a:lnTo>
                      <a:pt x="240" y="414"/>
                    </a:lnTo>
                    <a:lnTo>
                      <a:pt x="246" y="412"/>
                    </a:lnTo>
                    <a:lnTo>
                      <a:pt x="254" y="410"/>
                    </a:lnTo>
                    <a:lnTo>
                      <a:pt x="254" y="412"/>
                    </a:lnTo>
                    <a:lnTo>
                      <a:pt x="257" y="414"/>
                    </a:lnTo>
                    <a:lnTo>
                      <a:pt x="259" y="416"/>
                    </a:lnTo>
                    <a:lnTo>
                      <a:pt x="265" y="416"/>
                    </a:lnTo>
                    <a:lnTo>
                      <a:pt x="265" y="410"/>
                    </a:lnTo>
                    <a:lnTo>
                      <a:pt x="265" y="406"/>
                    </a:lnTo>
                    <a:lnTo>
                      <a:pt x="267" y="406"/>
                    </a:lnTo>
                    <a:close/>
                    <a:moveTo>
                      <a:pt x="568" y="345"/>
                    </a:moveTo>
                    <a:lnTo>
                      <a:pt x="570" y="345"/>
                    </a:lnTo>
                    <a:lnTo>
                      <a:pt x="572" y="347"/>
                    </a:lnTo>
                    <a:lnTo>
                      <a:pt x="570" y="349"/>
                    </a:lnTo>
                    <a:lnTo>
                      <a:pt x="570" y="349"/>
                    </a:lnTo>
                    <a:lnTo>
                      <a:pt x="568" y="347"/>
                    </a:lnTo>
                    <a:lnTo>
                      <a:pt x="566" y="347"/>
                    </a:lnTo>
                    <a:lnTo>
                      <a:pt x="566" y="345"/>
                    </a:lnTo>
                    <a:lnTo>
                      <a:pt x="568" y="345"/>
                    </a:lnTo>
                    <a:close/>
                    <a:moveTo>
                      <a:pt x="555" y="330"/>
                    </a:moveTo>
                    <a:lnTo>
                      <a:pt x="555" y="334"/>
                    </a:lnTo>
                    <a:lnTo>
                      <a:pt x="555" y="337"/>
                    </a:lnTo>
                    <a:lnTo>
                      <a:pt x="565" y="337"/>
                    </a:lnTo>
                    <a:lnTo>
                      <a:pt x="576" y="337"/>
                    </a:lnTo>
                    <a:lnTo>
                      <a:pt x="563" y="337"/>
                    </a:lnTo>
                    <a:lnTo>
                      <a:pt x="553" y="339"/>
                    </a:lnTo>
                    <a:lnTo>
                      <a:pt x="553" y="337"/>
                    </a:lnTo>
                    <a:lnTo>
                      <a:pt x="551" y="334"/>
                    </a:lnTo>
                    <a:lnTo>
                      <a:pt x="551" y="332"/>
                    </a:lnTo>
                    <a:lnTo>
                      <a:pt x="551" y="330"/>
                    </a:lnTo>
                    <a:lnTo>
                      <a:pt x="553" y="330"/>
                    </a:lnTo>
                    <a:lnTo>
                      <a:pt x="555" y="330"/>
                    </a:lnTo>
                    <a:close/>
                    <a:moveTo>
                      <a:pt x="232" y="316"/>
                    </a:moveTo>
                    <a:lnTo>
                      <a:pt x="232" y="318"/>
                    </a:lnTo>
                    <a:lnTo>
                      <a:pt x="234" y="322"/>
                    </a:lnTo>
                    <a:lnTo>
                      <a:pt x="236" y="322"/>
                    </a:lnTo>
                    <a:lnTo>
                      <a:pt x="236" y="320"/>
                    </a:lnTo>
                    <a:lnTo>
                      <a:pt x="234" y="318"/>
                    </a:lnTo>
                    <a:lnTo>
                      <a:pt x="232" y="316"/>
                    </a:lnTo>
                    <a:close/>
                    <a:moveTo>
                      <a:pt x="624" y="291"/>
                    </a:moveTo>
                    <a:lnTo>
                      <a:pt x="626" y="291"/>
                    </a:lnTo>
                    <a:lnTo>
                      <a:pt x="628" y="293"/>
                    </a:lnTo>
                    <a:lnTo>
                      <a:pt x="628" y="295"/>
                    </a:lnTo>
                    <a:lnTo>
                      <a:pt x="626" y="295"/>
                    </a:lnTo>
                    <a:lnTo>
                      <a:pt x="622" y="293"/>
                    </a:lnTo>
                    <a:lnTo>
                      <a:pt x="624" y="291"/>
                    </a:lnTo>
                    <a:close/>
                    <a:moveTo>
                      <a:pt x="599" y="282"/>
                    </a:moveTo>
                    <a:lnTo>
                      <a:pt x="601" y="284"/>
                    </a:lnTo>
                    <a:lnTo>
                      <a:pt x="603" y="286"/>
                    </a:lnTo>
                    <a:lnTo>
                      <a:pt x="609" y="286"/>
                    </a:lnTo>
                    <a:lnTo>
                      <a:pt x="614" y="286"/>
                    </a:lnTo>
                    <a:lnTo>
                      <a:pt x="612" y="287"/>
                    </a:lnTo>
                    <a:lnTo>
                      <a:pt x="611" y="289"/>
                    </a:lnTo>
                    <a:lnTo>
                      <a:pt x="612" y="291"/>
                    </a:lnTo>
                    <a:lnTo>
                      <a:pt x="612" y="293"/>
                    </a:lnTo>
                    <a:lnTo>
                      <a:pt x="612" y="295"/>
                    </a:lnTo>
                    <a:lnTo>
                      <a:pt x="612" y="299"/>
                    </a:lnTo>
                    <a:lnTo>
                      <a:pt x="601" y="295"/>
                    </a:lnTo>
                    <a:lnTo>
                      <a:pt x="603" y="295"/>
                    </a:lnTo>
                    <a:lnTo>
                      <a:pt x="601" y="291"/>
                    </a:lnTo>
                    <a:lnTo>
                      <a:pt x="601" y="289"/>
                    </a:lnTo>
                    <a:lnTo>
                      <a:pt x="595" y="287"/>
                    </a:lnTo>
                    <a:lnTo>
                      <a:pt x="593" y="287"/>
                    </a:lnTo>
                    <a:lnTo>
                      <a:pt x="588" y="291"/>
                    </a:lnTo>
                    <a:lnTo>
                      <a:pt x="589" y="289"/>
                    </a:lnTo>
                    <a:lnTo>
                      <a:pt x="593" y="286"/>
                    </a:lnTo>
                    <a:lnTo>
                      <a:pt x="599" y="282"/>
                    </a:lnTo>
                    <a:close/>
                    <a:moveTo>
                      <a:pt x="605" y="263"/>
                    </a:moveTo>
                    <a:lnTo>
                      <a:pt x="607" y="263"/>
                    </a:lnTo>
                    <a:lnTo>
                      <a:pt x="607" y="263"/>
                    </a:lnTo>
                    <a:lnTo>
                      <a:pt x="607" y="264"/>
                    </a:lnTo>
                    <a:lnTo>
                      <a:pt x="605" y="264"/>
                    </a:lnTo>
                    <a:lnTo>
                      <a:pt x="605" y="266"/>
                    </a:lnTo>
                    <a:lnTo>
                      <a:pt x="607" y="268"/>
                    </a:lnTo>
                    <a:lnTo>
                      <a:pt x="599" y="272"/>
                    </a:lnTo>
                    <a:lnTo>
                      <a:pt x="593" y="276"/>
                    </a:lnTo>
                    <a:lnTo>
                      <a:pt x="593" y="278"/>
                    </a:lnTo>
                    <a:lnTo>
                      <a:pt x="595" y="280"/>
                    </a:lnTo>
                    <a:lnTo>
                      <a:pt x="588" y="278"/>
                    </a:lnTo>
                    <a:lnTo>
                      <a:pt x="580" y="278"/>
                    </a:lnTo>
                    <a:lnTo>
                      <a:pt x="578" y="280"/>
                    </a:lnTo>
                    <a:lnTo>
                      <a:pt x="576" y="282"/>
                    </a:lnTo>
                    <a:lnTo>
                      <a:pt x="576" y="284"/>
                    </a:lnTo>
                    <a:lnTo>
                      <a:pt x="576" y="287"/>
                    </a:lnTo>
                    <a:lnTo>
                      <a:pt x="578" y="287"/>
                    </a:lnTo>
                    <a:lnTo>
                      <a:pt x="582" y="287"/>
                    </a:lnTo>
                    <a:lnTo>
                      <a:pt x="584" y="289"/>
                    </a:lnTo>
                    <a:lnTo>
                      <a:pt x="586" y="293"/>
                    </a:lnTo>
                    <a:lnTo>
                      <a:pt x="582" y="293"/>
                    </a:lnTo>
                    <a:lnTo>
                      <a:pt x="580" y="293"/>
                    </a:lnTo>
                    <a:lnTo>
                      <a:pt x="580" y="289"/>
                    </a:lnTo>
                    <a:lnTo>
                      <a:pt x="576" y="289"/>
                    </a:lnTo>
                    <a:lnTo>
                      <a:pt x="574" y="289"/>
                    </a:lnTo>
                    <a:lnTo>
                      <a:pt x="572" y="286"/>
                    </a:lnTo>
                    <a:lnTo>
                      <a:pt x="570" y="282"/>
                    </a:lnTo>
                    <a:lnTo>
                      <a:pt x="572" y="280"/>
                    </a:lnTo>
                    <a:lnTo>
                      <a:pt x="576" y="280"/>
                    </a:lnTo>
                    <a:lnTo>
                      <a:pt x="574" y="278"/>
                    </a:lnTo>
                    <a:lnTo>
                      <a:pt x="574" y="276"/>
                    </a:lnTo>
                    <a:lnTo>
                      <a:pt x="580" y="276"/>
                    </a:lnTo>
                    <a:lnTo>
                      <a:pt x="588" y="276"/>
                    </a:lnTo>
                    <a:lnTo>
                      <a:pt x="588" y="274"/>
                    </a:lnTo>
                    <a:lnTo>
                      <a:pt x="591" y="272"/>
                    </a:lnTo>
                    <a:lnTo>
                      <a:pt x="595" y="272"/>
                    </a:lnTo>
                    <a:lnTo>
                      <a:pt x="595" y="268"/>
                    </a:lnTo>
                    <a:lnTo>
                      <a:pt x="599" y="268"/>
                    </a:lnTo>
                    <a:lnTo>
                      <a:pt x="603" y="268"/>
                    </a:lnTo>
                    <a:lnTo>
                      <a:pt x="603" y="264"/>
                    </a:lnTo>
                    <a:lnTo>
                      <a:pt x="605" y="263"/>
                    </a:lnTo>
                    <a:close/>
                    <a:moveTo>
                      <a:pt x="190" y="241"/>
                    </a:moveTo>
                    <a:lnTo>
                      <a:pt x="186" y="241"/>
                    </a:lnTo>
                    <a:lnTo>
                      <a:pt x="185" y="243"/>
                    </a:lnTo>
                    <a:lnTo>
                      <a:pt x="185" y="245"/>
                    </a:lnTo>
                    <a:lnTo>
                      <a:pt x="190" y="245"/>
                    </a:lnTo>
                    <a:lnTo>
                      <a:pt x="190" y="243"/>
                    </a:lnTo>
                    <a:lnTo>
                      <a:pt x="192" y="241"/>
                    </a:lnTo>
                    <a:lnTo>
                      <a:pt x="192" y="241"/>
                    </a:lnTo>
                    <a:lnTo>
                      <a:pt x="190" y="241"/>
                    </a:lnTo>
                    <a:close/>
                    <a:moveTo>
                      <a:pt x="655" y="232"/>
                    </a:moveTo>
                    <a:lnTo>
                      <a:pt x="655" y="234"/>
                    </a:lnTo>
                    <a:lnTo>
                      <a:pt x="655" y="238"/>
                    </a:lnTo>
                    <a:lnTo>
                      <a:pt x="657" y="238"/>
                    </a:lnTo>
                    <a:lnTo>
                      <a:pt x="662" y="239"/>
                    </a:lnTo>
                    <a:lnTo>
                      <a:pt x="662" y="236"/>
                    </a:lnTo>
                    <a:lnTo>
                      <a:pt x="662" y="234"/>
                    </a:lnTo>
                    <a:lnTo>
                      <a:pt x="659" y="234"/>
                    </a:lnTo>
                    <a:lnTo>
                      <a:pt x="655" y="232"/>
                    </a:lnTo>
                    <a:close/>
                    <a:moveTo>
                      <a:pt x="630" y="224"/>
                    </a:moveTo>
                    <a:lnTo>
                      <a:pt x="632" y="224"/>
                    </a:lnTo>
                    <a:lnTo>
                      <a:pt x="634" y="224"/>
                    </a:lnTo>
                    <a:lnTo>
                      <a:pt x="634" y="226"/>
                    </a:lnTo>
                    <a:lnTo>
                      <a:pt x="632" y="228"/>
                    </a:lnTo>
                    <a:lnTo>
                      <a:pt x="630" y="230"/>
                    </a:lnTo>
                    <a:lnTo>
                      <a:pt x="628" y="232"/>
                    </a:lnTo>
                    <a:lnTo>
                      <a:pt x="628" y="226"/>
                    </a:lnTo>
                    <a:lnTo>
                      <a:pt x="630" y="224"/>
                    </a:lnTo>
                    <a:close/>
                    <a:moveTo>
                      <a:pt x="674" y="215"/>
                    </a:moveTo>
                    <a:lnTo>
                      <a:pt x="672" y="216"/>
                    </a:lnTo>
                    <a:lnTo>
                      <a:pt x="668" y="218"/>
                    </a:lnTo>
                    <a:lnTo>
                      <a:pt x="668" y="224"/>
                    </a:lnTo>
                    <a:lnTo>
                      <a:pt x="668" y="230"/>
                    </a:lnTo>
                    <a:lnTo>
                      <a:pt x="674" y="228"/>
                    </a:lnTo>
                    <a:lnTo>
                      <a:pt x="680" y="228"/>
                    </a:lnTo>
                    <a:lnTo>
                      <a:pt x="683" y="226"/>
                    </a:lnTo>
                    <a:lnTo>
                      <a:pt x="685" y="224"/>
                    </a:lnTo>
                    <a:lnTo>
                      <a:pt x="685" y="224"/>
                    </a:lnTo>
                    <a:lnTo>
                      <a:pt x="680" y="224"/>
                    </a:lnTo>
                    <a:lnTo>
                      <a:pt x="676" y="218"/>
                    </a:lnTo>
                    <a:lnTo>
                      <a:pt x="674" y="215"/>
                    </a:lnTo>
                    <a:close/>
                    <a:moveTo>
                      <a:pt x="664" y="193"/>
                    </a:moveTo>
                    <a:lnTo>
                      <a:pt x="666" y="201"/>
                    </a:lnTo>
                    <a:lnTo>
                      <a:pt x="670" y="205"/>
                    </a:lnTo>
                    <a:lnTo>
                      <a:pt x="670" y="201"/>
                    </a:lnTo>
                    <a:lnTo>
                      <a:pt x="666" y="197"/>
                    </a:lnTo>
                    <a:lnTo>
                      <a:pt x="664" y="193"/>
                    </a:lnTo>
                    <a:close/>
                    <a:moveTo>
                      <a:pt x="0" y="168"/>
                    </a:moveTo>
                    <a:lnTo>
                      <a:pt x="4" y="172"/>
                    </a:lnTo>
                    <a:lnTo>
                      <a:pt x="4" y="170"/>
                    </a:lnTo>
                    <a:lnTo>
                      <a:pt x="0" y="168"/>
                    </a:lnTo>
                    <a:close/>
                    <a:moveTo>
                      <a:pt x="659" y="97"/>
                    </a:moveTo>
                    <a:lnTo>
                      <a:pt x="659" y="101"/>
                    </a:lnTo>
                    <a:lnTo>
                      <a:pt x="660" y="101"/>
                    </a:lnTo>
                    <a:lnTo>
                      <a:pt x="662" y="99"/>
                    </a:lnTo>
                    <a:lnTo>
                      <a:pt x="660" y="97"/>
                    </a:lnTo>
                    <a:lnTo>
                      <a:pt x="659" y="97"/>
                    </a:lnTo>
                    <a:close/>
                    <a:moveTo>
                      <a:pt x="657" y="49"/>
                    </a:moveTo>
                    <a:lnTo>
                      <a:pt x="659" y="57"/>
                    </a:lnTo>
                    <a:lnTo>
                      <a:pt x="659" y="51"/>
                    </a:lnTo>
                    <a:lnTo>
                      <a:pt x="657" y="49"/>
                    </a:lnTo>
                    <a:close/>
                    <a:moveTo>
                      <a:pt x="234" y="44"/>
                    </a:moveTo>
                    <a:lnTo>
                      <a:pt x="240" y="51"/>
                    </a:lnTo>
                    <a:lnTo>
                      <a:pt x="248" y="55"/>
                    </a:lnTo>
                    <a:lnTo>
                      <a:pt x="256" y="57"/>
                    </a:lnTo>
                    <a:lnTo>
                      <a:pt x="267" y="61"/>
                    </a:lnTo>
                    <a:lnTo>
                      <a:pt x="265" y="57"/>
                    </a:lnTo>
                    <a:lnTo>
                      <a:pt x="263" y="55"/>
                    </a:lnTo>
                    <a:lnTo>
                      <a:pt x="248" y="49"/>
                    </a:lnTo>
                    <a:lnTo>
                      <a:pt x="234" y="44"/>
                    </a:lnTo>
                    <a:close/>
                    <a:moveTo>
                      <a:pt x="371" y="30"/>
                    </a:moveTo>
                    <a:lnTo>
                      <a:pt x="375" y="32"/>
                    </a:lnTo>
                    <a:lnTo>
                      <a:pt x="378" y="36"/>
                    </a:lnTo>
                    <a:lnTo>
                      <a:pt x="376" y="38"/>
                    </a:lnTo>
                    <a:lnTo>
                      <a:pt x="376" y="40"/>
                    </a:lnTo>
                    <a:lnTo>
                      <a:pt x="376" y="42"/>
                    </a:lnTo>
                    <a:lnTo>
                      <a:pt x="376" y="38"/>
                    </a:lnTo>
                    <a:lnTo>
                      <a:pt x="373" y="36"/>
                    </a:lnTo>
                    <a:lnTo>
                      <a:pt x="373" y="34"/>
                    </a:lnTo>
                    <a:lnTo>
                      <a:pt x="367" y="32"/>
                    </a:lnTo>
                    <a:lnTo>
                      <a:pt x="361" y="32"/>
                    </a:lnTo>
                    <a:lnTo>
                      <a:pt x="361" y="32"/>
                    </a:lnTo>
                    <a:lnTo>
                      <a:pt x="371" y="30"/>
                    </a:lnTo>
                    <a:close/>
                    <a:moveTo>
                      <a:pt x="459" y="25"/>
                    </a:moveTo>
                    <a:lnTo>
                      <a:pt x="465" y="25"/>
                    </a:lnTo>
                    <a:lnTo>
                      <a:pt x="465" y="26"/>
                    </a:lnTo>
                    <a:lnTo>
                      <a:pt x="463" y="26"/>
                    </a:lnTo>
                    <a:lnTo>
                      <a:pt x="459" y="26"/>
                    </a:lnTo>
                    <a:lnTo>
                      <a:pt x="459" y="30"/>
                    </a:lnTo>
                    <a:lnTo>
                      <a:pt x="457" y="28"/>
                    </a:lnTo>
                    <a:lnTo>
                      <a:pt x="457" y="26"/>
                    </a:lnTo>
                    <a:lnTo>
                      <a:pt x="457" y="25"/>
                    </a:lnTo>
                    <a:lnTo>
                      <a:pt x="459" y="25"/>
                    </a:lnTo>
                    <a:close/>
                    <a:moveTo>
                      <a:pt x="524" y="19"/>
                    </a:moveTo>
                    <a:lnTo>
                      <a:pt x="545" y="19"/>
                    </a:lnTo>
                    <a:lnTo>
                      <a:pt x="565" y="21"/>
                    </a:lnTo>
                    <a:lnTo>
                      <a:pt x="549" y="21"/>
                    </a:lnTo>
                    <a:lnTo>
                      <a:pt x="536" y="23"/>
                    </a:lnTo>
                    <a:lnTo>
                      <a:pt x="520" y="23"/>
                    </a:lnTo>
                    <a:lnTo>
                      <a:pt x="507" y="25"/>
                    </a:lnTo>
                    <a:lnTo>
                      <a:pt x="515" y="21"/>
                    </a:lnTo>
                    <a:lnTo>
                      <a:pt x="524" y="19"/>
                    </a:lnTo>
                    <a:close/>
                    <a:moveTo>
                      <a:pt x="482" y="15"/>
                    </a:moveTo>
                    <a:lnTo>
                      <a:pt x="484" y="19"/>
                    </a:lnTo>
                    <a:lnTo>
                      <a:pt x="486" y="23"/>
                    </a:lnTo>
                    <a:lnTo>
                      <a:pt x="492" y="21"/>
                    </a:lnTo>
                    <a:lnTo>
                      <a:pt x="501" y="21"/>
                    </a:lnTo>
                    <a:lnTo>
                      <a:pt x="503" y="21"/>
                    </a:lnTo>
                    <a:lnTo>
                      <a:pt x="503" y="23"/>
                    </a:lnTo>
                    <a:lnTo>
                      <a:pt x="501" y="23"/>
                    </a:lnTo>
                    <a:lnTo>
                      <a:pt x="497" y="25"/>
                    </a:lnTo>
                    <a:lnTo>
                      <a:pt x="490" y="25"/>
                    </a:lnTo>
                    <a:lnTo>
                      <a:pt x="484" y="26"/>
                    </a:lnTo>
                    <a:lnTo>
                      <a:pt x="480" y="25"/>
                    </a:lnTo>
                    <a:lnTo>
                      <a:pt x="478" y="21"/>
                    </a:lnTo>
                    <a:lnTo>
                      <a:pt x="480" y="17"/>
                    </a:lnTo>
                    <a:lnTo>
                      <a:pt x="482" y="1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6" name="Freeform 174"/>
              <p:cNvSpPr>
                <a:spLocks noEditPoints="1"/>
              </p:cNvSpPr>
              <p:nvPr/>
            </p:nvSpPr>
            <p:spPr bwMode="gray">
              <a:xfrm>
                <a:off x="4722690" y="3390901"/>
                <a:ext cx="149208" cy="188913"/>
              </a:xfrm>
              <a:custGeom>
                <a:avLst/>
                <a:gdLst>
                  <a:gd name="T0" fmla="*/ 11 w 94"/>
                  <a:gd name="T1" fmla="*/ 48 h 119"/>
                  <a:gd name="T2" fmla="*/ 17 w 94"/>
                  <a:gd name="T3" fmla="*/ 50 h 119"/>
                  <a:gd name="T4" fmla="*/ 15 w 94"/>
                  <a:gd name="T5" fmla="*/ 58 h 119"/>
                  <a:gd name="T6" fmla="*/ 19 w 94"/>
                  <a:gd name="T7" fmla="*/ 60 h 119"/>
                  <a:gd name="T8" fmla="*/ 34 w 94"/>
                  <a:gd name="T9" fmla="*/ 66 h 119"/>
                  <a:gd name="T10" fmla="*/ 19 w 94"/>
                  <a:gd name="T11" fmla="*/ 66 h 119"/>
                  <a:gd name="T12" fmla="*/ 29 w 94"/>
                  <a:gd name="T13" fmla="*/ 83 h 119"/>
                  <a:gd name="T14" fmla="*/ 36 w 94"/>
                  <a:gd name="T15" fmla="*/ 77 h 119"/>
                  <a:gd name="T16" fmla="*/ 44 w 94"/>
                  <a:gd name="T17" fmla="*/ 71 h 119"/>
                  <a:gd name="T18" fmla="*/ 48 w 94"/>
                  <a:gd name="T19" fmla="*/ 70 h 119"/>
                  <a:gd name="T20" fmla="*/ 54 w 94"/>
                  <a:gd name="T21" fmla="*/ 64 h 119"/>
                  <a:gd name="T22" fmla="*/ 54 w 94"/>
                  <a:gd name="T23" fmla="*/ 62 h 119"/>
                  <a:gd name="T24" fmla="*/ 61 w 94"/>
                  <a:gd name="T25" fmla="*/ 66 h 119"/>
                  <a:gd name="T26" fmla="*/ 56 w 94"/>
                  <a:gd name="T27" fmla="*/ 56 h 119"/>
                  <a:gd name="T28" fmla="*/ 46 w 94"/>
                  <a:gd name="T29" fmla="*/ 48 h 119"/>
                  <a:gd name="T30" fmla="*/ 40 w 94"/>
                  <a:gd name="T31" fmla="*/ 48 h 119"/>
                  <a:gd name="T32" fmla="*/ 42 w 94"/>
                  <a:gd name="T33" fmla="*/ 43 h 119"/>
                  <a:gd name="T34" fmla="*/ 42 w 94"/>
                  <a:gd name="T35" fmla="*/ 39 h 119"/>
                  <a:gd name="T36" fmla="*/ 34 w 94"/>
                  <a:gd name="T37" fmla="*/ 29 h 119"/>
                  <a:gd name="T38" fmla="*/ 38 w 94"/>
                  <a:gd name="T39" fmla="*/ 20 h 119"/>
                  <a:gd name="T40" fmla="*/ 40 w 94"/>
                  <a:gd name="T41" fmla="*/ 20 h 119"/>
                  <a:gd name="T42" fmla="*/ 44 w 94"/>
                  <a:gd name="T43" fmla="*/ 29 h 119"/>
                  <a:gd name="T44" fmla="*/ 52 w 94"/>
                  <a:gd name="T45" fmla="*/ 25 h 119"/>
                  <a:gd name="T46" fmla="*/ 50 w 94"/>
                  <a:gd name="T47" fmla="*/ 14 h 119"/>
                  <a:gd name="T48" fmla="*/ 79 w 94"/>
                  <a:gd name="T49" fmla="*/ 18 h 119"/>
                  <a:gd name="T50" fmla="*/ 86 w 94"/>
                  <a:gd name="T51" fmla="*/ 10 h 119"/>
                  <a:gd name="T52" fmla="*/ 94 w 94"/>
                  <a:gd name="T53" fmla="*/ 6 h 119"/>
                  <a:gd name="T54" fmla="*/ 86 w 94"/>
                  <a:gd name="T55" fmla="*/ 0 h 119"/>
                  <a:gd name="T56" fmla="*/ 84 w 94"/>
                  <a:gd name="T57" fmla="*/ 6 h 119"/>
                  <a:gd name="T58" fmla="*/ 75 w 94"/>
                  <a:gd name="T59" fmla="*/ 6 h 119"/>
                  <a:gd name="T60" fmla="*/ 69 w 94"/>
                  <a:gd name="T61" fmla="*/ 2 h 119"/>
                  <a:gd name="T62" fmla="*/ 59 w 94"/>
                  <a:gd name="T63" fmla="*/ 6 h 119"/>
                  <a:gd name="T64" fmla="*/ 46 w 94"/>
                  <a:gd name="T65" fmla="*/ 6 h 119"/>
                  <a:gd name="T66" fmla="*/ 44 w 94"/>
                  <a:gd name="T67" fmla="*/ 12 h 119"/>
                  <a:gd name="T68" fmla="*/ 34 w 94"/>
                  <a:gd name="T69" fmla="*/ 14 h 119"/>
                  <a:gd name="T70" fmla="*/ 29 w 94"/>
                  <a:gd name="T71" fmla="*/ 20 h 119"/>
                  <a:gd name="T72" fmla="*/ 15 w 94"/>
                  <a:gd name="T73" fmla="*/ 22 h 119"/>
                  <a:gd name="T74" fmla="*/ 10 w 94"/>
                  <a:gd name="T75" fmla="*/ 35 h 119"/>
                  <a:gd name="T76" fmla="*/ 8 w 94"/>
                  <a:gd name="T77" fmla="*/ 37 h 119"/>
                  <a:gd name="T78" fmla="*/ 46 w 94"/>
                  <a:gd name="T79" fmla="*/ 56 h 119"/>
                  <a:gd name="T80" fmla="*/ 44 w 94"/>
                  <a:gd name="T81" fmla="*/ 60 h 119"/>
                  <a:gd name="T82" fmla="*/ 40 w 94"/>
                  <a:gd name="T83" fmla="*/ 50 h 119"/>
                  <a:gd name="T84" fmla="*/ 40 w 94"/>
                  <a:gd name="T85" fmla="*/ 54 h 119"/>
                  <a:gd name="T86" fmla="*/ 40 w 94"/>
                  <a:gd name="T87" fmla="*/ 50 h 119"/>
                  <a:gd name="T88" fmla="*/ 2 w 94"/>
                  <a:gd name="T89" fmla="*/ 37 h 119"/>
                  <a:gd name="T90" fmla="*/ 46 w 94"/>
                  <a:gd name="T91" fmla="*/ 114 h 119"/>
                  <a:gd name="T92" fmla="*/ 77 w 94"/>
                  <a:gd name="T93" fmla="*/ 116 h 119"/>
                  <a:gd name="T94" fmla="*/ 48 w 94"/>
                  <a:gd name="T95" fmla="*/ 108 h 119"/>
                  <a:gd name="T96" fmla="*/ 11 w 94"/>
                  <a:gd name="T97" fmla="*/ 68 h 119"/>
                  <a:gd name="T98" fmla="*/ 6 w 94"/>
                  <a:gd name="T99" fmla="*/ 64 h 119"/>
                  <a:gd name="T100" fmla="*/ 79 w 94"/>
                  <a:gd name="T101" fmla="*/ 60 h 119"/>
                  <a:gd name="T102" fmla="*/ 79 w 94"/>
                  <a:gd name="T103" fmla="*/ 48 h 119"/>
                  <a:gd name="T104" fmla="*/ 84 w 94"/>
                  <a:gd name="T105" fmla="*/ 48 h 119"/>
                  <a:gd name="T106" fmla="*/ 79 w 94"/>
                  <a:gd name="T107" fmla="*/ 4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4" h="119">
                    <a:moveTo>
                      <a:pt x="2" y="37"/>
                    </a:moveTo>
                    <a:lnTo>
                      <a:pt x="8" y="45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3" y="50"/>
                    </a:lnTo>
                    <a:lnTo>
                      <a:pt x="17" y="50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5" y="58"/>
                    </a:lnTo>
                    <a:lnTo>
                      <a:pt x="15" y="64"/>
                    </a:lnTo>
                    <a:lnTo>
                      <a:pt x="17" y="62"/>
                    </a:lnTo>
                    <a:lnTo>
                      <a:pt x="19" y="60"/>
                    </a:lnTo>
                    <a:lnTo>
                      <a:pt x="25" y="60"/>
                    </a:lnTo>
                    <a:lnTo>
                      <a:pt x="31" y="62"/>
                    </a:lnTo>
                    <a:lnTo>
                      <a:pt x="34" y="66"/>
                    </a:lnTo>
                    <a:lnTo>
                      <a:pt x="38" y="68"/>
                    </a:lnTo>
                    <a:lnTo>
                      <a:pt x="29" y="66"/>
                    </a:lnTo>
                    <a:lnTo>
                      <a:pt x="19" y="66"/>
                    </a:lnTo>
                    <a:lnTo>
                      <a:pt x="21" y="75"/>
                    </a:lnTo>
                    <a:lnTo>
                      <a:pt x="23" y="83"/>
                    </a:lnTo>
                    <a:lnTo>
                      <a:pt x="29" y="83"/>
                    </a:lnTo>
                    <a:lnTo>
                      <a:pt x="38" y="83"/>
                    </a:lnTo>
                    <a:lnTo>
                      <a:pt x="36" y="81"/>
                    </a:lnTo>
                    <a:lnTo>
                      <a:pt x="36" y="77"/>
                    </a:lnTo>
                    <a:lnTo>
                      <a:pt x="40" y="77"/>
                    </a:lnTo>
                    <a:lnTo>
                      <a:pt x="46" y="77"/>
                    </a:lnTo>
                    <a:lnTo>
                      <a:pt x="44" y="71"/>
                    </a:lnTo>
                    <a:lnTo>
                      <a:pt x="40" y="71"/>
                    </a:lnTo>
                    <a:lnTo>
                      <a:pt x="42" y="70"/>
                    </a:lnTo>
                    <a:lnTo>
                      <a:pt x="48" y="70"/>
                    </a:lnTo>
                    <a:lnTo>
                      <a:pt x="54" y="71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54" y="62"/>
                    </a:lnTo>
                    <a:lnTo>
                      <a:pt x="58" y="62"/>
                    </a:lnTo>
                    <a:lnTo>
                      <a:pt x="59" y="66"/>
                    </a:lnTo>
                    <a:lnTo>
                      <a:pt x="61" y="66"/>
                    </a:lnTo>
                    <a:lnTo>
                      <a:pt x="61" y="62"/>
                    </a:lnTo>
                    <a:lnTo>
                      <a:pt x="59" y="58"/>
                    </a:lnTo>
                    <a:lnTo>
                      <a:pt x="56" y="56"/>
                    </a:lnTo>
                    <a:lnTo>
                      <a:pt x="52" y="56"/>
                    </a:lnTo>
                    <a:lnTo>
                      <a:pt x="48" y="52"/>
                    </a:lnTo>
                    <a:lnTo>
                      <a:pt x="46" y="48"/>
                    </a:lnTo>
                    <a:lnTo>
                      <a:pt x="42" y="48"/>
                    </a:lnTo>
                    <a:lnTo>
                      <a:pt x="40" y="50"/>
                    </a:lnTo>
                    <a:lnTo>
                      <a:pt x="40" y="48"/>
                    </a:lnTo>
                    <a:lnTo>
                      <a:pt x="38" y="47"/>
                    </a:lnTo>
                    <a:lnTo>
                      <a:pt x="38" y="43"/>
                    </a:lnTo>
                    <a:lnTo>
                      <a:pt x="42" y="43"/>
                    </a:lnTo>
                    <a:lnTo>
                      <a:pt x="42" y="43"/>
                    </a:lnTo>
                    <a:lnTo>
                      <a:pt x="42" y="41"/>
                    </a:lnTo>
                    <a:lnTo>
                      <a:pt x="42" y="39"/>
                    </a:lnTo>
                    <a:lnTo>
                      <a:pt x="38" y="35"/>
                    </a:lnTo>
                    <a:lnTo>
                      <a:pt x="36" y="31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6" y="25"/>
                    </a:lnTo>
                    <a:lnTo>
                      <a:pt x="38" y="20"/>
                    </a:lnTo>
                    <a:lnTo>
                      <a:pt x="40" y="20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40" y="24"/>
                    </a:lnTo>
                    <a:lnTo>
                      <a:pt x="42" y="25"/>
                    </a:lnTo>
                    <a:lnTo>
                      <a:pt x="44" y="29"/>
                    </a:lnTo>
                    <a:lnTo>
                      <a:pt x="46" y="27"/>
                    </a:lnTo>
                    <a:lnTo>
                      <a:pt x="46" y="25"/>
                    </a:lnTo>
                    <a:lnTo>
                      <a:pt x="52" y="25"/>
                    </a:lnTo>
                    <a:lnTo>
                      <a:pt x="56" y="24"/>
                    </a:lnTo>
                    <a:lnTo>
                      <a:pt x="56" y="22"/>
                    </a:lnTo>
                    <a:lnTo>
                      <a:pt x="50" y="14"/>
                    </a:lnTo>
                    <a:lnTo>
                      <a:pt x="65" y="14"/>
                    </a:lnTo>
                    <a:lnTo>
                      <a:pt x="79" y="14"/>
                    </a:lnTo>
                    <a:lnTo>
                      <a:pt x="79" y="18"/>
                    </a:lnTo>
                    <a:lnTo>
                      <a:pt x="81" y="20"/>
                    </a:lnTo>
                    <a:lnTo>
                      <a:pt x="82" y="16"/>
                    </a:lnTo>
                    <a:lnTo>
                      <a:pt x="86" y="10"/>
                    </a:lnTo>
                    <a:lnTo>
                      <a:pt x="88" y="8"/>
                    </a:lnTo>
                    <a:lnTo>
                      <a:pt x="92" y="8"/>
                    </a:lnTo>
                    <a:lnTo>
                      <a:pt x="94" y="6"/>
                    </a:lnTo>
                    <a:lnTo>
                      <a:pt x="94" y="4"/>
                    </a:lnTo>
                    <a:lnTo>
                      <a:pt x="88" y="0"/>
                    </a:lnTo>
                    <a:lnTo>
                      <a:pt x="86" y="0"/>
                    </a:lnTo>
                    <a:lnTo>
                      <a:pt x="84" y="4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2" y="6"/>
                    </a:lnTo>
                    <a:lnTo>
                      <a:pt x="81" y="6"/>
                    </a:lnTo>
                    <a:lnTo>
                      <a:pt x="75" y="6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69" y="2"/>
                    </a:lnTo>
                    <a:lnTo>
                      <a:pt x="65" y="0"/>
                    </a:lnTo>
                    <a:lnTo>
                      <a:pt x="61" y="4"/>
                    </a:lnTo>
                    <a:lnTo>
                      <a:pt x="59" y="6"/>
                    </a:lnTo>
                    <a:lnTo>
                      <a:pt x="54" y="8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4" y="10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38" y="12"/>
                    </a:lnTo>
                    <a:lnTo>
                      <a:pt x="34" y="14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19" y="22"/>
                    </a:lnTo>
                    <a:lnTo>
                      <a:pt x="15" y="22"/>
                    </a:lnTo>
                    <a:lnTo>
                      <a:pt x="15" y="27"/>
                    </a:lnTo>
                    <a:lnTo>
                      <a:pt x="13" y="33"/>
                    </a:lnTo>
                    <a:lnTo>
                      <a:pt x="10" y="35"/>
                    </a:lnTo>
                    <a:lnTo>
                      <a:pt x="10" y="35"/>
                    </a:lnTo>
                    <a:lnTo>
                      <a:pt x="10" y="37"/>
                    </a:lnTo>
                    <a:lnTo>
                      <a:pt x="8" y="37"/>
                    </a:lnTo>
                    <a:lnTo>
                      <a:pt x="2" y="37"/>
                    </a:lnTo>
                    <a:close/>
                    <a:moveTo>
                      <a:pt x="44" y="54"/>
                    </a:moveTo>
                    <a:lnTo>
                      <a:pt x="46" y="56"/>
                    </a:lnTo>
                    <a:lnTo>
                      <a:pt x="46" y="58"/>
                    </a:lnTo>
                    <a:lnTo>
                      <a:pt x="46" y="60"/>
                    </a:lnTo>
                    <a:lnTo>
                      <a:pt x="44" y="60"/>
                    </a:lnTo>
                    <a:lnTo>
                      <a:pt x="42" y="56"/>
                    </a:lnTo>
                    <a:lnTo>
                      <a:pt x="44" y="54"/>
                    </a:lnTo>
                    <a:close/>
                    <a:moveTo>
                      <a:pt x="40" y="50"/>
                    </a:moveTo>
                    <a:lnTo>
                      <a:pt x="42" y="50"/>
                    </a:lnTo>
                    <a:lnTo>
                      <a:pt x="42" y="52"/>
                    </a:lnTo>
                    <a:lnTo>
                      <a:pt x="40" y="54"/>
                    </a:lnTo>
                    <a:lnTo>
                      <a:pt x="38" y="54"/>
                    </a:lnTo>
                    <a:lnTo>
                      <a:pt x="38" y="50"/>
                    </a:lnTo>
                    <a:lnTo>
                      <a:pt x="40" y="50"/>
                    </a:lnTo>
                    <a:close/>
                    <a:moveTo>
                      <a:pt x="0" y="37"/>
                    </a:moveTo>
                    <a:lnTo>
                      <a:pt x="2" y="41"/>
                    </a:lnTo>
                    <a:lnTo>
                      <a:pt x="2" y="37"/>
                    </a:lnTo>
                    <a:lnTo>
                      <a:pt x="0" y="37"/>
                    </a:lnTo>
                    <a:close/>
                    <a:moveTo>
                      <a:pt x="48" y="108"/>
                    </a:moveTo>
                    <a:lnTo>
                      <a:pt x="46" y="114"/>
                    </a:lnTo>
                    <a:lnTo>
                      <a:pt x="61" y="118"/>
                    </a:lnTo>
                    <a:lnTo>
                      <a:pt x="79" y="119"/>
                    </a:lnTo>
                    <a:lnTo>
                      <a:pt x="77" y="116"/>
                    </a:lnTo>
                    <a:lnTo>
                      <a:pt x="77" y="112"/>
                    </a:lnTo>
                    <a:lnTo>
                      <a:pt x="61" y="112"/>
                    </a:lnTo>
                    <a:lnTo>
                      <a:pt x="48" y="108"/>
                    </a:lnTo>
                    <a:close/>
                    <a:moveTo>
                      <a:pt x="6" y="64"/>
                    </a:moveTo>
                    <a:lnTo>
                      <a:pt x="8" y="66"/>
                    </a:lnTo>
                    <a:lnTo>
                      <a:pt x="11" y="68"/>
                    </a:lnTo>
                    <a:lnTo>
                      <a:pt x="11" y="64"/>
                    </a:lnTo>
                    <a:lnTo>
                      <a:pt x="8" y="64"/>
                    </a:lnTo>
                    <a:lnTo>
                      <a:pt x="6" y="64"/>
                    </a:lnTo>
                    <a:close/>
                    <a:moveTo>
                      <a:pt x="77" y="60"/>
                    </a:moveTo>
                    <a:lnTo>
                      <a:pt x="79" y="64"/>
                    </a:lnTo>
                    <a:lnTo>
                      <a:pt x="79" y="60"/>
                    </a:lnTo>
                    <a:lnTo>
                      <a:pt x="77" y="60"/>
                    </a:lnTo>
                    <a:close/>
                    <a:moveTo>
                      <a:pt x="77" y="45"/>
                    </a:moveTo>
                    <a:lnTo>
                      <a:pt x="79" y="48"/>
                    </a:lnTo>
                    <a:lnTo>
                      <a:pt x="81" y="50"/>
                    </a:lnTo>
                    <a:lnTo>
                      <a:pt x="84" y="50"/>
                    </a:lnTo>
                    <a:lnTo>
                      <a:pt x="84" y="48"/>
                    </a:lnTo>
                    <a:lnTo>
                      <a:pt x="82" y="47"/>
                    </a:lnTo>
                    <a:lnTo>
                      <a:pt x="82" y="45"/>
                    </a:lnTo>
                    <a:lnTo>
                      <a:pt x="79" y="45"/>
                    </a:lnTo>
                    <a:lnTo>
                      <a:pt x="77" y="4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7" name="Freeform 175"/>
              <p:cNvSpPr>
                <a:spLocks/>
              </p:cNvSpPr>
              <p:nvPr/>
            </p:nvSpPr>
            <p:spPr bwMode="gray">
              <a:xfrm>
                <a:off x="4256017" y="4162426"/>
                <a:ext cx="92065" cy="179388"/>
              </a:xfrm>
              <a:custGeom>
                <a:avLst/>
                <a:gdLst>
                  <a:gd name="T0" fmla="*/ 0 w 58"/>
                  <a:gd name="T1" fmla="*/ 113 h 113"/>
                  <a:gd name="T2" fmla="*/ 2 w 58"/>
                  <a:gd name="T3" fmla="*/ 113 h 113"/>
                  <a:gd name="T4" fmla="*/ 6 w 58"/>
                  <a:gd name="T5" fmla="*/ 113 h 113"/>
                  <a:gd name="T6" fmla="*/ 10 w 58"/>
                  <a:gd name="T7" fmla="*/ 111 h 113"/>
                  <a:gd name="T8" fmla="*/ 16 w 58"/>
                  <a:gd name="T9" fmla="*/ 107 h 113"/>
                  <a:gd name="T10" fmla="*/ 19 w 58"/>
                  <a:gd name="T11" fmla="*/ 107 h 113"/>
                  <a:gd name="T12" fmla="*/ 23 w 58"/>
                  <a:gd name="T13" fmla="*/ 107 h 113"/>
                  <a:gd name="T14" fmla="*/ 25 w 58"/>
                  <a:gd name="T15" fmla="*/ 106 h 113"/>
                  <a:gd name="T16" fmla="*/ 29 w 58"/>
                  <a:gd name="T17" fmla="*/ 102 h 113"/>
                  <a:gd name="T18" fmla="*/ 41 w 58"/>
                  <a:gd name="T19" fmla="*/ 102 h 113"/>
                  <a:gd name="T20" fmla="*/ 52 w 58"/>
                  <a:gd name="T21" fmla="*/ 100 h 113"/>
                  <a:gd name="T22" fmla="*/ 54 w 58"/>
                  <a:gd name="T23" fmla="*/ 96 h 113"/>
                  <a:gd name="T24" fmla="*/ 58 w 58"/>
                  <a:gd name="T25" fmla="*/ 92 h 113"/>
                  <a:gd name="T26" fmla="*/ 58 w 58"/>
                  <a:gd name="T27" fmla="*/ 92 h 113"/>
                  <a:gd name="T28" fmla="*/ 56 w 58"/>
                  <a:gd name="T29" fmla="*/ 86 h 113"/>
                  <a:gd name="T30" fmla="*/ 50 w 58"/>
                  <a:gd name="T31" fmla="*/ 81 h 113"/>
                  <a:gd name="T32" fmla="*/ 50 w 58"/>
                  <a:gd name="T33" fmla="*/ 79 h 113"/>
                  <a:gd name="T34" fmla="*/ 50 w 58"/>
                  <a:gd name="T35" fmla="*/ 77 h 113"/>
                  <a:gd name="T36" fmla="*/ 50 w 58"/>
                  <a:gd name="T37" fmla="*/ 73 h 113"/>
                  <a:gd name="T38" fmla="*/ 50 w 58"/>
                  <a:gd name="T39" fmla="*/ 71 h 113"/>
                  <a:gd name="T40" fmla="*/ 52 w 58"/>
                  <a:gd name="T41" fmla="*/ 65 h 113"/>
                  <a:gd name="T42" fmla="*/ 52 w 58"/>
                  <a:gd name="T43" fmla="*/ 58 h 113"/>
                  <a:gd name="T44" fmla="*/ 52 w 58"/>
                  <a:gd name="T45" fmla="*/ 54 h 113"/>
                  <a:gd name="T46" fmla="*/ 48 w 58"/>
                  <a:gd name="T47" fmla="*/ 50 h 113"/>
                  <a:gd name="T48" fmla="*/ 46 w 58"/>
                  <a:gd name="T49" fmla="*/ 42 h 113"/>
                  <a:gd name="T50" fmla="*/ 50 w 58"/>
                  <a:gd name="T51" fmla="*/ 38 h 113"/>
                  <a:gd name="T52" fmla="*/ 48 w 58"/>
                  <a:gd name="T53" fmla="*/ 36 h 113"/>
                  <a:gd name="T54" fmla="*/ 48 w 58"/>
                  <a:gd name="T55" fmla="*/ 33 h 113"/>
                  <a:gd name="T56" fmla="*/ 48 w 58"/>
                  <a:gd name="T57" fmla="*/ 27 h 113"/>
                  <a:gd name="T58" fmla="*/ 48 w 58"/>
                  <a:gd name="T59" fmla="*/ 21 h 113"/>
                  <a:gd name="T60" fmla="*/ 46 w 58"/>
                  <a:gd name="T61" fmla="*/ 15 h 113"/>
                  <a:gd name="T62" fmla="*/ 44 w 58"/>
                  <a:gd name="T63" fmla="*/ 13 h 113"/>
                  <a:gd name="T64" fmla="*/ 43 w 58"/>
                  <a:gd name="T65" fmla="*/ 8 h 113"/>
                  <a:gd name="T66" fmla="*/ 44 w 58"/>
                  <a:gd name="T67" fmla="*/ 2 h 113"/>
                  <a:gd name="T68" fmla="*/ 35 w 58"/>
                  <a:gd name="T69" fmla="*/ 0 h 113"/>
                  <a:gd name="T70" fmla="*/ 35 w 58"/>
                  <a:gd name="T71" fmla="*/ 4 h 113"/>
                  <a:gd name="T72" fmla="*/ 25 w 58"/>
                  <a:gd name="T73" fmla="*/ 2 h 113"/>
                  <a:gd name="T74" fmla="*/ 16 w 58"/>
                  <a:gd name="T75" fmla="*/ 2 h 113"/>
                  <a:gd name="T76" fmla="*/ 14 w 58"/>
                  <a:gd name="T77" fmla="*/ 6 h 113"/>
                  <a:gd name="T78" fmla="*/ 12 w 58"/>
                  <a:gd name="T79" fmla="*/ 10 h 113"/>
                  <a:gd name="T80" fmla="*/ 12 w 58"/>
                  <a:gd name="T81" fmla="*/ 13 h 113"/>
                  <a:gd name="T82" fmla="*/ 14 w 58"/>
                  <a:gd name="T83" fmla="*/ 17 h 113"/>
                  <a:gd name="T84" fmla="*/ 12 w 58"/>
                  <a:gd name="T85" fmla="*/ 23 h 113"/>
                  <a:gd name="T86" fmla="*/ 12 w 58"/>
                  <a:gd name="T87" fmla="*/ 25 h 113"/>
                  <a:gd name="T88" fmla="*/ 12 w 58"/>
                  <a:gd name="T89" fmla="*/ 29 h 113"/>
                  <a:gd name="T90" fmla="*/ 12 w 58"/>
                  <a:gd name="T91" fmla="*/ 35 h 113"/>
                  <a:gd name="T92" fmla="*/ 14 w 58"/>
                  <a:gd name="T93" fmla="*/ 36 h 113"/>
                  <a:gd name="T94" fmla="*/ 16 w 58"/>
                  <a:gd name="T95" fmla="*/ 42 h 113"/>
                  <a:gd name="T96" fmla="*/ 14 w 58"/>
                  <a:gd name="T97" fmla="*/ 50 h 113"/>
                  <a:gd name="T98" fmla="*/ 14 w 58"/>
                  <a:gd name="T99" fmla="*/ 52 h 113"/>
                  <a:gd name="T100" fmla="*/ 12 w 58"/>
                  <a:gd name="T101" fmla="*/ 54 h 113"/>
                  <a:gd name="T102" fmla="*/ 10 w 58"/>
                  <a:gd name="T103" fmla="*/ 59 h 113"/>
                  <a:gd name="T104" fmla="*/ 8 w 58"/>
                  <a:gd name="T105" fmla="*/ 65 h 113"/>
                  <a:gd name="T106" fmla="*/ 8 w 58"/>
                  <a:gd name="T107" fmla="*/ 69 h 113"/>
                  <a:gd name="T108" fmla="*/ 4 w 58"/>
                  <a:gd name="T109" fmla="*/ 77 h 113"/>
                  <a:gd name="T110" fmla="*/ 2 w 58"/>
                  <a:gd name="T111" fmla="*/ 79 h 113"/>
                  <a:gd name="T112" fmla="*/ 0 w 58"/>
                  <a:gd name="T113" fmla="*/ 88 h 113"/>
                  <a:gd name="T114" fmla="*/ 2 w 58"/>
                  <a:gd name="T115" fmla="*/ 98 h 113"/>
                  <a:gd name="T116" fmla="*/ 2 w 58"/>
                  <a:gd name="T117" fmla="*/ 100 h 113"/>
                  <a:gd name="T118" fmla="*/ 2 w 58"/>
                  <a:gd name="T119" fmla="*/ 104 h 113"/>
                  <a:gd name="T120" fmla="*/ 0 w 58"/>
                  <a:gd name="T121" fmla="*/ 109 h 113"/>
                  <a:gd name="T122" fmla="*/ 0 w 58"/>
                  <a:gd name="T123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" h="113">
                    <a:moveTo>
                      <a:pt x="0" y="113"/>
                    </a:moveTo>
                    <a:lnTo>
                      <a:pt x="2" y="113"/>
                    </a:lnTo>
                    <a:lnTo>
                      <a:pt x="6" y="113"/>
                    </a:lnTo>
                    <a:lnTo>
                      <a:pt x="10" y="111"/>
                    </a:lnTo>
                    <a:lnTo>
                      <a:pt x="16" y="107"/>
                    </a:lnTo>
                    <a:lnTo>
                      <a:pt x="19" y="107"/>
                    </a:lnTo>
                    <a:lnTo>
                      <a:pt x="23" y="107"/>
                    </a:lnTo>
                    <a:lnTo>
                      <a:pt x="25" y="106"/>
                    </a:lnTo>
                    <a:lnTo>
                      <a:pt x="29" y="102"/>
                    </a:lnTo>
                    <a:lnTo>
                      <a:pt x="41" y="102"/>
                    </a:lnTo>
                    <a:lnTo>
                      <a:pt x="52" y="100"/>
                    </a:lnTo>
                    <a:lnTo>
                      <a:pt x="54" y="96"/>
                    </a:lnTo>
                    <a:lnTo>
                      <a:pt x="58" y="92"/>
                    </a:lnTo>
                    <a:lnTo>
                      <a:pt x="58" y="92"/>
                    </a:lnTo>
                    <a:lnTo>
                      <a:pt x="56" y="86"/>
                    </a:lnTo>
                    <a:lnTo>
                      <a:pt x="50" y="81"/>
                    </a:lnTo>
                    <a:lnTo>
                      <a:pt x="50" y="79"/>
                    </a:lnTo>
                    <a:lnTo>
                      <a:pt x="50" y="77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52" y="65"/>
                    </a:lnTo>
                    <a:lnTo>
                      <a:pt x="52" y="58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6" y="42"/>
                    </a:lnTo>
                    <a:lnTo>
                      <a:pt x="50" y="38"/>
                    </a:lnTo>
                    <a:lnTo>
                      <a:pt x="48" y="36"/>
                    </a:lnTo>
                    <a:lnTo>
                      <a:pt x="48" y="33"/>
                    </a:lnTo>
                    <a:lnTo>
                      <a:pt x="48" y="27"/>
                    </a:lnTo>
                    <a:lnTo>
                      <a:pt x="48" y="21"/>
                    </a:lnTo>
                    <a:lnTo>
                      <a:pt x="46" y="15"/>
                    </a:lnTo>
                    <a:lnTo>
                      <a:pt x="44" y="13"/>
                    </a:lnTo>
                    <a:lnTo>
                      <a:pt x="43" y="8"/>
                    </a:lnTo>
                    <a:lnTo>
                      <a:pt x="44" y="2"/>
                    </a:lnTo>
                    <a:lnTo>
                      <a:pt x="35" y="0"/>
                    </a:lnTo>
                    <a:lnTo>
                      <a:pt x="35" y="4"/>
                    </a:lnTo>
                    <a:lnTo>
                      <a:pt x="25" y="2"/>
                    </a:lnTo>
                    <a:lnTo>
                      <a:pt x="16" y="2"/>
                    </a:lnTo>
                    <a:lnTo>
                      <a:pt x="14" y="6"/>
                    </a:lnTo>
                    <a:lnTo>
                      <a:pt x="12" y="10"/>
                    </a:lnTo>
                    <a:lnTo>
                      <a:pt x="12" y="13"/>
                    </a:lnTo>
                    <a:lnTo>
                      <a:pt x="14" y="17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2" y="29"/>
                    </a:lnTo>
                    <a:lnTo>
                      <a:pt x="12" y="35"/>
                    </a:lnTo>
                    <a:lnTo>
                      <a:pt x="14" y="36"/>
                    </a:lnTo>
                    <a:lnTo>
                      <a:pt x="16" y="42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2" y="54"/>
                    </a:lnTo>
                    <a:lnTo>
                      <a:pt x="10" y="59"/>
                    </a:lnTo>
                    <a:lnTo>
                      <a:pt x="8" y="65"/>
                    </a:lnTo>
                    <a:lnTo>
                      <a:pt x="8" y="69"/>
                    </a:lnTo>
                    <a:lnTo>
                      <a:pt x="4" y="77"/>
                    </a:lnTo>
                    <a:lnTo>
                      <a:pt x="2" y="79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2" y="100"/>
                    </a:lnTo>
                    <a:lnTo>
                      <a:pt x="2" y="104"/>
                    </a:lnTo>
                    <a:lnTo>
                      <a:pt x="0" y="109"/>
                    </a:lnTo>
                    <a:lnTo>
                      <a:pt x="0" y="11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8" name="Freeform 176"/>
              <p:cNvSpPr>
                <a:spLocks/>
              </p:cNvSpPr>
              <p:nvPr/>
            </p:nvSpPr>
            <p:spPr bwMode="gray">
              <a:xfrm>
                <a:off x="4438559" y="2998789"/>
                <a:ext cx="180955" cy="231775"/>
              </a:xfrm>
              <a:custGeom>
                <a:avLst/>
                <a:gdLst>
                  <a:gd name="T0" fmla="*/ 23 w 114"/>
                  <a:gd name="T1" fmla="*/ 52 h 146"/>
                  <a:gd name="T2" fmla="*/ 22 w 114"/>
                  <a:gd name="T3" fmla="*/ 54 h 146"/>
                  <a:gd name="T4" fmla="*/ 20 w 114"/>
                  <a:gd name="T5" fmla="*/ 59 h 146"/>
                  <a:gd name="T6" fmla="*/ 8 w 114"/>
                  <a:gd name="T7" fmla="*/ 61 h 146"/>
                  <a:gd name="T8" fmla="*/ 6 w 114"/>
                  <a:gd name="T9" fmla="*/ 65 h 146"/>
                  <a:gd name="T10" fmla="*/ 2 w 114"/>
                  <a:gd name="T11" fmla="*/ 79 h 146"/>
                  <a:gd name="T12" fmla="*/ 6 w 114"/>
                  <a:gd name="T13" fmla="*/ 84 h 146"/>
                  <a:gd name="T14" fmla="*/ 6 w 114"/>
                  <a:gd name="T15" fmla="*/ 94 h 146"/>
                  <a:gd name="T16" fmla="*/ 10 w 114"/>
                  <a:gd name="T17" fmla="*/ 102 h 146"/>
                  <a:gd name="T18" fmla="*/ 14 w 114"/>
                  <a:gd name="T19" fmla="*/ 107 h 146"/>
                  <a:gd name="T20" fmla="*/ 27 w 114"/>
                  <a:gd name="T21" fmla="*/ 111 h 146"/>
                  <a:gd name="T22" fmla="*/ 33 w 114"/>
                  <a:gd name="T23" fmla="*/ 115 h 146"/>
                  <a:gd name="T24" fmla="*/ 31 w 114"/>
                  <a:gd name="T25" fmla="*/ 129 h 146"/>
                  <a:gd name="T26" fmla="*/ 35 w 114"/>
                  <a:gd name="T27" fmla="*/ 140 h 146"/>
                  <a:gd name="T28" fmla="*/ 45 w 114"/>
                  <a:gd name="T29" fmla="*/ 136 h 146"/>
                  <a:gd name="T30" fmla="*/ 58 w 114"/>
                  <a:gd name="T31" fmla="*/ 146 h 146"/>
                  <a:gd name="T32" fmla="*/ 68 w 114"/>
                  <a:gd name="T33" fmla="*/ 140 h 146"/>
                  <a:gd name="T34" fmla="*/ 75 w 114"/>
                  <a:gd name="T35" fmla="*/ 134 h 146"/>
                  <a:gd name="T36" fmla="*/ 87 w 114"/>
                  <a:gd name="T37" fmla="*/ 136 h 146"/>
                  <a:gd name="T38" fmla="*/ 93 w 114"/>
                  <a:gd name="T39" fmla="*/ 138 h 146"/>
                  <a:gd name="T40" fmla="*/ 91 w 114"/>
                  <a:gd name="T41" fmla="*/ 130 h 146"/>
                  <a:gd name="T42" fmla="*/ 93 w 114"/>
                  <a:gd name="T43" fmla="*/ 127 h 146"/>
                  <a:gd name="T44" fmla="*/ 96 w 114"/>
                  <a:gd name="T45" fmla="*/ 125 h 146"/>
                  <a:gd name="T46" fmla="*/ 102 w 114"/>
                  <a:gd name="T47" fmla="*/ 115 h 146"/>
                  <a:gd name="T48" fmla="*/ 94 w 114"/>
                  <a:gd name="T49" fmla="*/ 109 h 146"/>
                  <a:gd name="T50" fmla="*/ 89 w 114"/>
                  <a:gd name="T51" fmla="*/ 98 h 146"/>
                  <a:gd name="T52" fmla="*/ 83 w 114"/>
                  <a:gd name="T53" fmla="*/ 88 h 146"/>
                  <a:gd name="T54" fmla="*/ 85 w 114"/>
                  <a:gd name="T55" fmla="*/ 86 h 146"/>
                  <a:gd name="T56" fmla="*/ 94 w 114"/>
                  <a:gd name="T57" fmla="*/ 81 h 146"/>
                  <a:gd name="T58" fmla="*/ 108 w 114"/>
                  <a:gd name="T59" fmla="*/ 73 h 146"/>
                  <a:gd name="T60" fmla="*/ 112 w 114"/>
                  <a:gd name="T61" fmla="*/ 59 h 146"/>
                  <a:gd name="T62" fmla="*/ 110 w 114"/>
                  <a:gd name="T63" fmla="*/ 46 h 146"/>
                  <a:gd name="T64" fmla="*/ 108 w 114"/>
                  <a:gd name="T65" fmla="*/ 34 h 146"/>
                  <a:gd name="T66" fmla="*/ 104 w 114"/>
                  <a:gd name="T67" fmla="*/ 21 h 146"/>
                  <a:gd name="T68" fmla="*/ 91 w 114"/>
                  <a:gd name="T69" fmla="*/ 15 h 146"/>
                  <a:gd name="T70" fmla="*/ 81 w 114"/>
                  <a:gd name="T71" fmla="*/ 21 h 146"/>
                  <a:gd name="T72" fmla="*/ 75 w 114"/>
                  <a:gd name="T73" fmla="*/ 25 h 146"/>
                  <a:gd name="T74" fmla="*/ 70 w 114"/>
                  <a:gd name="T75" fmla="*/ 19 h 146"/>
                  <a:gd name="T76" fmla="*/ 60 w 114"/>
                  <a:gd name="T77" fmla="*/ 15 h 146"/>
                  <a:gd name="T78" fmla="*/ 56 w 114"/>
                  <a:gd name="T79" fmla="*/ 6 h 146"/>
                  <a:gd name="T80" fmla="*/ 52 w 114"/>
                  <a:gd name="T81" fmla="*/ 2 h 146"/>
                  <a:gd name="T82" fmla="*/ 41 w 114"/>
                  <a:gd name="T83" fmla="*/ 0 h 146"/>
                  <a:gd name="T84" fmla="*/ 43 w 114"/>
                  <a:gd name="T85" fmla="*/ 8 h 146"/>
                  <a:gd name="T86" fmla="*/ 45 w 114"/>
                  <a:gd name="T87" fmla="*/ 29 h 146"/>
                  <a:gd name="T88" fmla="*/ 41 w 114"/>
                  <a:gd name="T89" fmla="*/ 31 h 146"/>
                  <a:gd name="T90" fmla="*/ 29 w 114"/>
                  <a:gd name="T91" fmla="*/ 33 h 146"/>
                  <a:gd name="T92" fmla="*/ 23 w 114"/>
                  <a:gd name="T93" fmla="*/ 36 h 146"/>
                  <a:gd name="T94" fmla="*/ 25 w 114"/>
                  <a:gd name="T95" fmla="*/ 3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4" h="146">
                    <a:moveTo>
                      <a:pt x="23" y="42"/>
                    </a:moveTo>
                    <a:lnTo>
                      <a:pt x="25" y="46"/>
                    </a:lnTo>
                    <a:lnTo>
                      <a:pt x="23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4"/>
                    </a:lnTo>
                    <a:lnTo>
                      <a:pt x="23" y="56"/>
                    </a:lnTo>
                    <a:lnTo>
                      <a:pt x="22" y="58"/>
                    </a:lnTo>
                    <a:lnTo>
                      <a:pt x="20" y="59"/>
                    </a:lnTo>
                    <a:lnTo>
                      <a:pt x="18" y="61"/>
                    </a:lnTo>
                    <a:lnTo>
                      <a:pt x="12" y="61"/>
                    </a:lnTo>
                    <a:lnTo>
                      <a:pt x="8" y="61"/>
                    </a:lnTo>
                    <a:lnTo>
                      <a:pt x="8" y="61"/>
                    </a:lnTo>
                    <a:lnTo>
                      <a:pt x="6" y="63"/>
                    </a:lnTo>
                    <a:lnTo>
                      <a:pt x="6" y="65"/>
                    </a:lnTo>
                    <a:lnTo>
                      <a:pt x="2" y="73"/>
                    </a:lnTo>
                    <a:lnTo>
                      <a:pt x="0" y="77"/>
                    </a:lnTo>
                    <a:lnTo>
                      <a:pt x="2" y="79"/>
                    </a:lnTo>
                    <a:lnTo>
                      <a:pt x="6" y="81"/>
                    </a:lnTo>
                    <a:lnTo>
                      <a:pt x="6" y="82"/>
                    </a:lnTo>
                    <a:lnTo>
                      <a:pt x="6" y="84"/>
                    </a:lnTo>
                    <a:lnTo>
                      <a:pt x="8" y="90"/>
                    </a:lnTo>
                    <a:lnTo>
                      <a:pt x="6" y="94"/>
                    </a:lnTo>
                    <a:lnTo>
                      <a:pt x="6" y="94"/>
                    </a:lnTo>
                    <a:lnTo>
                      <a:pt x="8" y="98"/>
                    </a:lnTo>
                    <a:lnTo>
                      <a:pt x="12" y="100"/>
                    </a:lnTo>
                    <a:lnTo>
                      <a:pt x="10" y="102"/>
                    </a:lnTo>
                    <a:lnTo>
                      <a:pt x="10" y="107"/>
                    </a:lnTo>
                    <a:lnTo>
                      <a:pt x="10" y="109"/>
                    </a:lnTo>
                    <a:lnTo>
                      <a:pt x="14" y="107"/>
                    </a:lnTo>
                    <a:lnTo>
                      <a:pt x="20" y="109"/>
                    </a:lnTo>
                    <a:lnTo>
                      <a:pt x="23" y="113"/>
                    </a:lnTo>
                    <a:lnTo>
                      <a:pt x="27" y="111"/>
                    </a:lnTo>
                    <a:lnTo>
                      <a:pt x="31" y="113"/>
                    </a:lnTo>
                    <a:lnTo>
                      <a:pt x="33" y="113"/>
                    </a:lnTo>
                    <a:lnTo>
                      <a:pt x="33" y="115"/>
                    </a:lnTo>
                    <a:lnTo>
                      <a:pt x="31" y="121"/>
                    </a:lnTo>
                    <a:lnTo>
                      <a:pt x="31" y="125"/>
                    </a:lnTo>
                    <a:lnTo>
                      <a:pt x="31" y="129"/>
                    </a:lnTo>
                    <a:lnTo>
                      <a:pt x="31" y="134"/>
                    </a:lnTo>
                    <a:lnTo>
                      <a:pt x="33" y="140"/>
                    </a:lnTo>
                    <a:lnTo>
                      <a:pt x="35" y="140"/>
                    </a:lnTo>
                    <a:lnTo>
                      <a:pt x="39" y="138"/>
                    </a:lnTo>
                    <a:lnTo>
                      <a:pt x="41" y="136"/>
                    </a:lnTo>
                    <a:lnTo>
                      <a:pt x="45" y="136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8" y="146"/>
                    </a:lnTo>
                    <a:lnTo>
                      <a:pt x="60" y="142"/>
                    </a:lnTo>
                    <a:lnTo>
                      <a:pt x="64" y="140"/>
                    </a:lnTo>
                    <a:lnTo>
                      <a:pt x="68" y="140"/>
                    </a:lnTo>
                    <a:lnTo>
                      <a:pt x="71" y="138"/>
                    </a:lnTo>
                    <a:lnTo>
                      <a:pt x="73" y="136"/>
                    </a:lnTo>
                    <a:lnTo>
                      <a:pt x="75" y="134"/>
                    </a:lnTo>
                    <a:lnTo>
                      <a:pt x="79" y="134"/>
                    </a:lnTo>
                    <a:lnTo>
                      <a:pt x="83" y="134"/>
                    </a:lnTo>
                    <a:lnTo>
                      <a:pt x="87" y="136"/>
                    </a:lnTo>
                    <a:lnTo>
                      <a:pt x="89" y="138"/>
                    </a:lnTo>
                    <a:lnTo>
                      <a:pt x="91" y="140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3" y="134"/>
                    </a:lnTo>
                    <a:lnTo>
                      <a:pt x="91" y="130"/>
                    </a:lnTo>
                    <a:lnTo>
                      <a:pt x="89" y="129"/>
                    </a:lnTo>
                    <a:lnTo>
                      <a:pt x="89" y="129"/>
                    </a:lnTo>
                    <a:lnTo>
                      <a:pt x="93" y="127"/>
                    </a:lnTo>
                    <a:lnTo>
                      <a:pt x="94" y="125"/>
                    </a:lnTo>
                    <a:lnTo>
                      <a:pt x="96" y="125"/>
                    </a:lnTo>
                    <a:lnTo>
                      <a:pt x="96" y="125"/>
                    </a:lnTo>
                    <a:lnTo>
                      <a:pt x="96" y="121"/>
                    </a:lnTo>
                    <a:lnTo>
                      <a:pt x="100" y="117"/>
                    </a:lnTo>
                    <a:lnTo>
                      <a:pt x="102" y="115"/>
                    </a:lnTo>
                    <a:lnTo>
                      <a:pt x="102" y="115"/>
                    </a:lnTo>
                    <a:lnTo>
                      <a:pt x="98" y="111"/>
                    </a:lnTo>
                    <a:lnTo>
                      <a:pt x="94" y="109"/>
                    </a:lnTo>
                    <a:lnTo>
                      <a:pt x="91" y="107"/>
                    </a:lnTo>
                    <a:lnTo>
                      <a:pt x="91" y="102"/>
                    </a:lnTo>
                    <a:lnTo>
                      <a:pt x="89" y="98"/>
                    </a:lnTo>
                    <a:lnTo>
                      <a:pt x="87" y="96"/>
                    </a:lnTo>
                    <a:lnTo>
                      <a:pt x="85" y="90"/>
                    </a:lnTo>
                    <a:lnTo>
                      <a:pt x="83" y="88"/>
                    </a:lnTo>
                    <a:lnTo>
                      <a:pt x="83" y="86"/>
                    </a:lnTo>
                    <a:lnTo>
                      <a:pt x="83" y="86"/>
                    </a:lnTo>
                    <a:lnTo>
                      <a:pt x="85" y="86"/>
                    </a:lnTo>
                    <a:lnTo>
                      <a:pt x="89" y="86"/>
                    </a:lnTo>
                    <a:lnTo>
                      <a:pt x="93" y="82"/>
                    </a:lnTo>
                    <a:lnTo>
                      <a:pt x="94" y="81"/>
                    </a:lnTo>
                    <a:lnTo>
                      <a:pt x="100" y="77"/>
                    </a:lnTo>
                    <a:lnTo>
                      <a:pt x="106" y="75"/>
                    </a:lnTo>
                    <a:lnTo>
                      <a:pt x="108" y="73"/>
                    </a:lnTo>
                    <a:lnTo>
                      <a:pt x="114" y="75"/>
                    </a:lnTo>
                    <a:lnTo>
                      <a:pt x="112" y="69"/>
                    </a:lnTo>
                    <a:lnTo>
                      <a:pt x="112" y="59"/>
                    </a:lnTo>
                    <a:lnTo>
                      <a:pt x="112" y="56"/>
                    </a:lnTo>
                    <a:lnTo>
                      <a:pt x="110" y="52"/>
                    </a:lnTo>
                    <a:lnTo>
                      <a:pt x="110" y="46"/>
                    </a:lnTo>
                    <a:lnTo>
                      <a:pt x="110" y="42"/>
                    </a:lnTo>
                    <a:lnTo>
                      <a:pt x="108" y="40"/>
                    </a:lnTo>
                    <a:lnTo>
                      <a:pt x="108" y="34"/>
                    </a:lnTo>
                    <a:lnTo>
                      <a:pt x="108" y="29"/>
                    </a:lnTo>
                    <a:lnTo>
                      <a:pt x="110" y="23"/>
                    </a:lnTo>
                    <a:lnTo>
                      <a:pt x="104" y="21"/>
                    </a:lnTo>
                    <a:lnTo>
                      <a:pt x="98" y="19"/>
                    </a:lnTo>
                    <a:lnTo>
                      <a:pt x="96" y="15"/>
                    </a:lnTo>
                    <a:lnTo>
                      <a:pt x="91" y="15"/>
                    </a:lnTo>
                    <a:lnTo>
                      <a:pt x="85" y="15"/>
                    </a:lnTo>
                    <a:lnTo>
                      <a:pt x="83" y="19"/>
                    </a:lnTo>
                    <a:lnTo>
                      <a:pt x="81" y="21"/>
                    </a:lnTo>
                    <a:lnTo>
                      <a:pt x="77" y="21"/>
                    </a:lnTo>
                    <a:lnTo>
                      <a:pt x="75" y="21"/>
                    </a:lnTo>
                    <a:lnTo>
                      <a:pt x="75" y="25"/>
                    </a:lnTo>
                    <a:lnTo>
                      <a:pt x="73" y="27"/>
                    </a:lnTo>
                    <a:lnTo>
                      <a:pt x="71" y="23"/>
                    </a:lnTo>
                    <a:lnTo>
                      <a:pt x="70" y="19"/>
                    </a:lnTo>
                    <a:lnTo>
                      <a:pt x="64" y="19"/>
                    </a:lnTo>
                    <a:lnTo>
                      <a:pt x="60" y="19"/>
                    </a:lnTo>
                    <a:lnTo>
                      <a:pt x="60" y="15"/>
                    </a:lnTo>
                    <a:lnTo>
                      <a:pt x="56" y="11"/>
                    </a:lnTo>
                    <a:lnTo>
                      <a:pt x="54" y="8"/>
                    </a:lnTo>
                    <a:lnTo>
                      <a:pt x="56" y="6"/>
                    </a:lnTo>
                    <a:lnTo>
                      <a:pt x="58" y="2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1" y="0"/>
                    </a:lnTo>
                    <a:lnTo>
                      <a:pt x="39" y="4"/>
                    </a:lnTo>
                    <a:lnTo>
                      <a:pt x="39" y="8"/>
                    </a:lnTo>
                    <a:lnTo>
                      <a:pt x="43" y="8"/>
                    </a:lnTo>
                    <a:lnTo>
                      <a:pt x="43" y="11"/>
                    </a:lnTo>
                    <a:lnTo>
                      <a:pt x="45" y="19"/>
                    </a:lnTo>
                    <a:lnTo>
                      <a:pt x="45" y="29"/>
                    </a:lnTo>
                    <a:lnTo>
                      <a:pt x="43" y="29"/>
                    </a:lnTo>
                    <a:lnTo>
                      <a:pt x="43" y="27"/>
                    </a:lnTo>
                    <a:lnTo>
                      <a:pt x="41" y="31"/>
                    </a:lnTo>
                    <a:lnTo>
                      <a:pt x="39" y="34"/>
                    </a:lnTo>
                    <a:lnTo>
                      <a:pt x="33" y="33"/>
                    </a:lnTo>
                    <a:lnTo>
                      <a:pt x="29" y="33"/>
                    </a:lnTo>
                    <a:lnTo>
                      <a:pt x="27" y="34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8"/>
                    </a:lnTo>
                    <a:lnTo>
                      <a:pt x="23" y="38"/>
                    </a:lnTo>
                    <a:lnTo>
                      <a:pt x="25" y="38"/>
                    </a:lnTo>
                    <a:lnTo>
                      <a:pt x="25" y="40"/>
                    </a:lnTo>
                    <a:lnTo>
                      <a:pt x="23" y="4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79" name="Freeform 177"/>
              <p:cNvSpPr>
                <a:spLocks/>
              </p:cNvSpPr>
              <p:nvPr/>
            </p:nvSpPr>
            <p:spPr bwMode="gray">
              <a:xfrm>
                <a:off x="5121108" y="3327401"/>
                <a:ext cx="141272" cy="73025"/>
              </a:xfrm>
              <a:custGeom>
                <a:avLst/>
                <a:gdLst>
                  <a:gd name="T0" fmla="*/ 8 w 89"/>
                  <a:gd name="T1" fmla="*/ 16 h 46"/>
                  <a:gd name="T2" fmla="*/ 16 w 89"/>
                  <a:gd name="T3" fmla="*/ 25 h 46"/>
                  <a:gd name="T4" fmla="*/ 18 w 89"/>
                  <a:gd name="T5" fmla="*/ 29 h 46"/>
                  <a:gd name="T6" fmla="*/ 20 w 89"/>
                  <a:gd name="T7" fmla="*/ 35 h 46"/>
                  <a:gd name="T8" fmla="*/ 21 w 89"/>
                  <a:gd name="T9" fmla="*/ 42 h 46"/>
                  <a:gd name="T10" fmla="*/ 29 w 89"/>
                  <a:gd name="T11" fmla="*/ 40 h 46"/>
                  <a:gd name="T12" fmla="*/ 35 w 89"/>
                  <a:gd name="T13" fmla="*/ 42 h 46"/>
                  <a:gd name="T14" fmla="*/ 41 w 89"/>
                  <a:gd name="T15" fmla="*/ 44 h 46"/>
                  <a:gd name="T16" fmla="*/ 46 w 89"/>
                  <a:gd name="T17" fmla="*/ 44 h 46"/>
                  <a:gd name="T18" fmla="*/ 50 w 89"/>
                  <a:gd name="T19" fmla="*/ 46 h 46"/>
                  <a:gd name="T20" fmla="*/ 60 w 89"/>
                  <a:gd name="T21" fmla="*/ 44 h 46"/>
                  <a:gd name="T22" fmla="*/ 66 w 89"/>
                  <a:gd name="T23" fmla="*/ 46 h 46"/>
                  <a:gd name="T24" fmla="*/ 71 w 89"/>
                  <a:gd name="T25" fmla="*/ 40 h 46"/>
                  <a:gd name="T26" fmla="*/ 75 w 89"/>
                  <a:gd name="T27" fmla="*/ 39 h 46"/>
                  <a:gd name="T28" fmla="*/ 83 w 89"/>
                  <a:gd name="T29" fmla="*/ 42 h 46"/>
                  <a:gd name="T30" fmla="*/ 89 w 89"/>
                  <a:gd name="T31" fmla="*/ 46 h 46"/>
                  <a:gd name="T32" fmla="*/ 87 w 89"/>
                  <a:gd name="T33" fmla="*/ 40 h 46"/>
                  <a:gd name="T34" fmla="*/ 89 w 89"/>
                  <a:gd name="T35" fmla="*/ 35 h 46"/>
                  <a:gd name="T36" fmla="*/ 85 w 89"/>
                  <a:gd name="T37" fmla="*/ 31 h 46"/>
                  <a:gd name="T38" fmla="*/ 79 w 89"/>
                  <a:gd name="T39" fmla="*/ 29 h 46"/>
                  <a:gd name="T40" fmla="*/ 77 w 89"/>
                  <a:gd name="T41" fmla="*/ 23 h 46"/>
                  <a:gd name="T42" fmla="*/ 73 w 89"/>
                  <a:gd name="T43" fmla="*/ 21 h 46"/>
                  <a:gd name="T44" fmla="*/ 68 w 89"/>
                  <a:gd name="T45" fmla="*/ 16 h 46"/>
                  <a:gd name="T46" fmla="*/ 62 w 89"/>
                  <a:gd name="T47" fmla="*/ 14 h 46"/>
                  <a:gd name="T48" fmla="*/ 56 w 89"/>
                  <a:gd name="T49" fmla="*/ 16 h 46"/>
                  <a:gd name="T50" fmla="*/ 46 w 89"/>
                  <a:gd name="T51" fmla="*/ 17 h 46"/>
                  <a:gd name="T52" fmla="*/ 37 w 89"/>
                  <a:gd name="T53" fmla="*/ 10 h 46"/>
                  <a:gd name="T54" fmla="*/ 31 w 89"/>
                  <a:gd name="T55" fmla="*/ 6 h 46"/>
                  <a:gd name="T56" fmla="*/ 21 w 89"/>
                  <a:gd name="T57" fmla="*/ 6 h 46"/>
                  <a:gd name="T58" fmla="*/ 12 w 89"/>
                  <a:gd name="T59" fmla="*/ 2 h 46"/>
                  <a:gd name="T60" fmla="*/ 2 w 89"/>
                  <a:gd name="T61" fmla="*/ 2 h 46"/>
                  <a:gd name="T62" fmla="*/ 0 w 89"/>
                  <a:gd name="T63" fmla="*/ 1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9" h="46">
                    <a:moveTo>
                      <a:pt x="0" y="14"/>
                    </a:moveTo>
                    <a:lnTo>
                      <a:pt x="8" y="16"/>
                    </a:lnTo>
                    <a:lnTo>
                      <a:pt x="14" y="19"/>
                    </a:lnTo>
                    <a:lnTo>
                      <a:pt x="16" y="25"/>
                    </a:lnTo>
                    <a:lnTo>
                      <a:pt x="18" y="29"/>
                    </a:lnTo>
                    <a:lnTo>
                      <a:pt x="18" y="29"/>
                    </a:lnTo>
                    <a:lnTo>
                      <a:pt x="20" y="29"/>
                    </a:lnTo>
                    <a:lnTo>
                      <a:pt x="20" y="35"/>
                    </a:lnTo>
                    <a:lnTo>
                      <a:pt x="18" y="40"/>
                    </a:lnTo>
                    <a:lnTo>
                      <a:pt x="21" y="42"/>
                    </a:lnTo>
                    <a:lnTo>
                      <a:pt x="25" y="40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5" y="42"/>
                    </a:lnTo>
                    <a:lnTo>
                      <a:pt x="37" y="44"/>
                    </a:lnTo>
                    <a:lnTo>
                      <a:pt x="41" y="44"/>
                    </a:lnTo>
                    <a:lnTo>
                      <a:pt x="44" y="42"/>
                    </a:lnTo>
                    <a:lnTo>
                      <a:pt x="46" y="44"/>
                    </a:lnTo>
                    <a:lnTo>
                      <a:pt x="46" y="46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60" y="44"/>
                    </a:lnTo>
                    <a:lnTo>
                      <a:pt x="64" y="46"/>
                    </a:lnTo>
                    <a:lnTo>
                      <a:pt x="66" y="46"/>
                    </a:lnTo>
                    <a:lnTo>
                      <a:pt x="68" y="44"/>
                    </a:lnTo>
                    <a:lnTo>
                      <a:pt x="71" y="40"/>
                    </a:lnTo>
                    <a:lnTo>
                      <a:pt x="73" y="39"/>
                    </a:lnTo>
                    <a:lnTo>
                      <a:pt x="75" y="39"/>
                    </a:lnTo>
                    <a:lnTo>
                      <a:pt x="81" y="40"/>
                    </a:lnTo>
                    <a:lnTo>
                      <a:pt x="83" y="42"/>
                    </a:lnTo>
                    <a:lnTo>
                      <a:pt x="85" y="46"/>
                    </a:lnTo>
                    <a:lnTo>
                      <a:pt x="89" y="46"/>
                    </a:lnTo>
                    <a:lnTo>
                      <a:pt x="89" y="42"/>
                    </a:lnTo>
                    <a:lnTo>
                      <a:pt x="87" y="40"/>
                    </a:lnTo>
                    <a:lnTo>
                      <a:pt x="87" y="37"/>
                    </a:lnTo>
                    <a:lnTo>
                      <a:pt x="89" y="35"/>
                    </a:lnTo>
                    <a:lnTo>
                      <a:pt x="89" y="33"/>
                    </a:lnTo>
                    <a:lnTo>
                      <a:pt x="85" y="31"/>
                    </a:lnTo>
                    <a:lnTo>
                      <a:pt x="83" y="29"/>
                    </a:lnTo>
                    <a:lnTo>
                      <a:pt x="79" y="29"/>
                    </a:lnTo>
                    <a:lnTo>
                      <a:pt x="77" y="27"/>
                    </a:lnTo>
                    <a:lnTo>
                      <a:pt x="77" y="23"/>
                    </a:lnTo>
                    <a:lnTo>
                      <a:pt x="75" y="23"/>
                    </a:lnTo>
                    <a:lnTo>
                      <a:pt x="73" y="21"/>
                    </a:lnTo>
                    <a:lnTo>
                      <a:pt x="69" y="17"/>
                    </a:lnTo>
                    <a:lnTo>
                      <a:pt x="68" y="16"/>
                    </a:lnTo>
                    <a:lnTo>
                      <a:pt x="66" y="14"/>
                    </a:lnTo>
                    <a:lnTo>
                      <a:pt x="62" y="14"/>
                    </a:lnTo>
                    <a:lnTo>
                      <a:pt x="58" y="16"/>
                    </a:lnTo>
                    <a:lnTo>
                      <a:pt x="56" y="16"/>
                    </a:lnTo>
                    <a:lnTo>
                      <a:pt x="52" y="16"/>
                    </a:lnTo>
                    <a:lnTo>
                      <a:pt x="46" y="17"/>
                    </a:lnTo>
                    <a:lnTo>
                      <a:pt x="41" y="14"/>
                    </a:lnTo>
                    <a:lnTo>
                      <a:pt x="37" y="10"/>
                    </a:lnTo>
                    <a:lnTo>
                      <a:pt x="33" y="6"/>
                    </a:lnTo>
                    <a:lnTo>
                      <a:pt x="31" y="6"/>
                    </a:lnTo>
                    <a:lnTo>
                      <a:pt x="25" y="6"/>
                    </a:lnTo>
                    <a:lnTo>
                      <a:pt x="21" y="6"/>
                    </a:lnTo>
                    <a:lnTo>
                      <a:pt x="16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0" name="Freeform 178"/>
              <p:cNvSpPr>
                <a:spLocks/>
              </p:cNvSpPr>
              <p:nvPr/>
            </p:nvSpPr>
            <p:spPr bwMode="gray">
              <a:xfrm>
                <a:off x="3990934" y="4113214"/>
                <a:ext cx="69842" cy="19050"/>
              </a:xfrm>
              <a:custGeom>
                <a:avLst/>
                <a:gdLst>
                  <a:gd name="T0" fmla="*/ 4 w 44"/>
                  <a:gd name="T1" fmla="*/ 12 h 12"/>
                  <a:gd name="T2" fmla="*/ 14 w 44"/>
                  <a:gd name="T3" fmla="*/ 12 h 12"/>
                  <a:gd name="T4" fmla="*/ 16 w 44"/>
                  <a:gd name="T5" fmla="*/ 10 h 12"/>
                  <a:gd name="T6" fmla="*/ 20 w 44"/>
                  <a:gd name="T7" fmla="*/ 8 h 12"/>
                  <a:gd name="T8" fmla="*/ 29 w 44"/>
                  <a:gd name="T9" fmla="*/ 8 h 12"/>
                  <a:gd name="T10" fmla="*/ 39 w 44"/>
                  <a:gd name="T11" fmla="*/ 8 h 12"/>
                  <a:gd name="T12" fmla="*/ 41 w 44"/>
                  <a:gd name="T13" fmla="*/ 8 h 12"/>
                  <a:gd name="T14" fmla="*/ 43 w 44"/>
                  <a:gd name="T15" fmla="*/ 6 h 12"/>
                  <a:gd name="T16" fmla="*/ 44 w 44"/>
                  <a:gd name="T17" fmla="*/ 6 h 12"/>
                  <a:gd name="T18" fmla="*/ 44 w 44"/>
                  <a:gd name="T19" fmla="*/ 2 h 12"/>
                  <a:gd name="T20" fmla="*/ 43 w 44"/>
                  <a:gd name="T21" fmla="*/ 0 h 12"/>
                  <a:gd name="T22" fmla="*/ 39 w 44"/>
                  <a:gd name="T23" fmla="*/ 0 h 12"/>
                  <a:gd name="T24" fmla="*/ 35 w 44"/>
                  <a:gd name="T25" fmla="*/ 0 h 12"/>
                  <a:gd name="T26" fmla="*/ 31 w 44"/>
                  <a:gd name="T27" fmla="*/ 0 h 12"/>
                  <a:gd name="T28" fmla="*/ 25 w 44"/>
                  <a:gd name="T29" fmla="*/ 2 h 12"/>
                  <a:gd name="T30" fmla="*/ 20 w 44"/>
                  <a:gd name="T31" fmla="*/ 0 h 12"/>
                  <a:gd name="T32" fmla="*/ 18 w 44"/>
                  <a:gd name="T33" fmla="*/ 0 h 12"/>
                  <a:gd name="T34" fmla="*/ 16 w 44"/>
                  <a:gd name="T35" fmla="*/ 0 h 12"/>
                  <a:gd name="T36" fmla="*/ 12 w 44"/>
                  <a:gd name="T37" fmla="*/ 2 h 12"/>
                  <a:gd name="T38" fmla="*/ 10 w 44"/>
                  <a:gd name="T39" fmla="*/ 2 h 12"/>
                  <a:gd name="T40" fmla="*/ 4 w 44"/>
                  <a:gd name="T41" fmla="*/ 4 h 12"/>
                  <a:gd name="T42" fmla="*/ 0 w 44"/>
                  <a:gd name="T43" fmla="*/ 4 h 12"/>
                  <a:gd name="T44" fmla="*/ 2 w 44"/>
                  <a:gd name="T45" fmla="*/ 10 h 12"/>
                  <a:gd name="T46" fmla="*/ 4 w 44"/>
                  <a:gd name="T4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4" h="12">
                    <a:moveTo>
                      <a:pt x="4" y="12"/>
                    </a:moveTo>
                    <a:lnTo>
                      <a:pt x="14" y="12"/>
                    </a:lnTo>
                    <a:lnTo>
                      <a:pt x="16" y="10"/>
                    </a:lnTo>
                    <a:lnTo>
                      <a:pt x="20" y="8"/>
                    </a:lnTo>
                    <a:lnTo>
                      <a:pt x="29" y="8"/>
                    </a:lnTo>
                    <a:lnTo>
                      <a:pt x="39" y="8"/>
                    </a:lnTo>
                    <a:lnTo>
                      <a:pt x="41" y="8"/>
                    </a:lnTo>
                    <a:lnTo>
                      <a:pt x="43" y="6"/>
                    </a:lnTo>
                    <a:lnTo>
                      <a:pt x="44" y="6"/>
                    </a:lnTo>
                    <a:lnTo>
                      <a:pt x="44" y="2"/>
                    </a:lnTo>
                    <a:lnTo>
                      <a:pt x="43" y="0"/>
                    </a:lnTo>
                    <a:lnTo>
                      <a:pt x="39" y="0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5" y="2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2" y="10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1" name="Freeform 179"/>
              <p:cNvSpPr>
                <a:spLocks/>
              </p:cNvSpPr>
              <p:nvPr/>
            </p:nvSpPr>
            <p:spPr bwMode="gray">
              <a:xfrm>
                <a:off x="4500464" y="4387851"/>
                <a:ext cx="119049" cy="161925"/>
              </a:xfrm>
              <a:custGeom>
                <a:avLst/>
                <a:gdLst>
                  <a:gd name="T0" fmla="*/ 8 w 75"/>
                  <a:gd name="T1" fmla="*/ 23 h 102"/>
                  <a:gd name="T2" fmla="*/ 8 w 75"/>
                  <a:gd name="T3" fmla="*/ 31 h 102"/>
                  <a:gd name="T4" fmla="*/ 4 w 75"/>
                  <a:gd name="T5" fmla="*/ 48 h 102"/>
                  <a:gd name="T6" fmla="*/ 2 w 75"/>
                  <a:gd name="T7" fmla="*/ 65 h 102"/>
                  <a:gd name="T8" fmla="*/ 8 w 75"/>
                  <a:gd name="T9" fmla="*/ 71 h 102"/>
                  <a:gd name="T10" fmla="*/ 6 w 75"/>
                  <a:gd name="T11" fmla="*/ 73 h 102"/>
                  <a:gd name="T12" fmla="*/ 15 w 75"/>
                  <a:gd name="T13" fmla="*/ 84 h 102"/>
                  <a:gd name="T14" fmla="*/ 23 w 75"/>
                  <a:gd name="T15" fmla="*/ 94 h 102"/>
                  <a:gd name="T16" fmla="*/ 25 w 75"/>
                  <a:gd name="T17" fmla="*/ 100 h 102"/>
                  <a:gd name="T18" fmla="*/ 31 w 75"/>
                  <a:gd name="T19" fmla="*/ 98 h 102"/>
                  <a:gd name="T20" fmla="*/ 36 w 75"/>
                  <a:gd name="T21" fmla="*/ 94 h 102"/>
                  <a:gd name="T22" fmla="*/ 42 w 75"/>
                  <a:gd name="T23" fmla="*/ 96 h 102"/>
                  <a:gd name="T24" fmla="*/ 44 w 75"/>
                  <a:gd name="T25" fmla="*/ 92 h 102"/>
                  <a:gd name="T26" fmla="*/ 40 w 75"/>
                  <a:gd name="T27" fmla="*/ 84 h 102"/>
                  <a:gd name="T28" fmla="*/ 42 w 75"/>
                  <a:gd name="T29" fmla="*/ 79 h 102"/>
                  <a:gd name="T30" fmla="*/ 42 w 75"/>
                  <a:gd name="T31" fmla="*/ 73 h 102"/>
                  <a:gd name="T32" fmla="*/ 50 w 75"/>
                  <a:gd name="T33" fmla="*/ 71 h 102"/>
                  <a:gd name="T34" fmla="*/ 54 w 75"/>
                  <a:gd name="T35" fmla="*/ 71 h 102"/>
                  <a:gd name="T36" fmla="*/ 57 w 75"/>
                  <a:gd name="T37" fmla="*/ 71 h 102"/>
                  <a:gd name="T38" fmla="*/ 65 w 75"/>
                  <a:gd name="T39" fmla="*/ 73 h 102"/>
                  <a:gd name="T40" fmla="*/ 71 w 75"/>
                  <a:gd name="T41" fmla="*/ 77 h 102"/>
                  <a:gd name="T42" fmla="*/ 73 w 75"/>
                  <a:gd name="T43" fmla="*/ 69 h 102"/>
                  <a:gd name="T44" fmla="*/ 71 w 75"/>
                  <a:gd name="T45" fmla="*/ 65 h 102"/>
                  <a:gd name="T46" fmla="*/ 69 w 75"/>
                  <a:gd name="T47" fmla="*/ 61 h 102"/>
                  <a:gd name="T48" fmla="*/ 67 w 75"/>
                  <a:gd name="T49" fmla="*/ 54 h 102"/>
                  <a:gd name="T50" fmla="*/ 69 w 75"/>
                  <a:gd name="T51" fmla="*/ 46 h 102"/>
                  <a:gd name="T52" fmla="*/ 65 w 75"/>
                  <a:gd name="T53" fmla="*/ 40 h 102"/>
                  <a:gd name="T54" fmla="*/ 63 w 75"/>
                  <a:gd name="T55" fmla="*/ 36 h 102"/>
                  <a:gd name="T56" fmla="*/ 63 w 75"/>
                  <a:gd name="T57" fmla="*/ 35 h 102"/>
                  <a:gd name="T58" fmla="*/ 65 w 75"/>
                  <a:gd name="T59" fmla="*/ 27 h 102"/>
                  <a:gd name="T60" fmla="*/ 73 w 75"/>
                  <a:gd name="T61" fmla="*/ 25 h 102"/>
                  <a:gd name="T62" fmla="*/ 75 w 75"/>
                  <a:gd name="T63" fmla="*/ 15 h 102"/>
                  <a:gd name="T64" fmla="*/ 69 w 75"/>
                  <a:gd name="T65" fmla="*/ 13 h 102"/>
                  <a:gd name="T66" fmla="*/ 61 w 75"/>
                  <a:gd name="T67" fmla="*/ 15 h 102"/>
                  <a:gd name="T68" fmla="*/ 59 w 75"/>
                  <a:gd name="T69" fmla="*/ 10 h 102"/>
                  <a:gd name="T70" fmla="*/ 59 w 75"/>
                  <a:gd name="T71" fmla="*/ 0 h 102"/>
                  <a:gd name="T72" fmla="*/ 50 w 75"/>
                  <a:gd name="T73" fmla="*/ 0 h 102"/>
                  <a:gd name="T74" fmla="*/ 44 w 75"/>
                  <a:gd name="T75" fmla="*/ 2 h 102"/>
                  <a:gd name="T76" fmla="*/ 36 w 75"/>
                  <a:gd name="T77" fmla="*/ 4 h 102"/>
                  <a:gd name="T78" fmla="*/ 9 w 75"/>
                  <a:gd name="T79" fmla="*/ 19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5" h="102">
                    <a:moveTo>
                      <a:pt x="9" y="19"/>
                    </a:moveTo>
                    <a:lnTo>
                      <a:pt x="8" y="23"/>
                    </a:lnTo>
                    <a:lnTo>
                      <a:pt x="6" y="25"/>
                    </a:lnTo>
                    <a:lnTo>
                      <a:pt x="8" y="31"/>
                    </a:lnTo>
                    <a:lnTo>
                      <a:pt x="9" y="36"/>
                    </a:lnTo>
                    <a:lnTo>
                      <a:pt x="4" y="48"/>
                    </a:lnTo>
                    <a:lnTo>
                      <a:pt x="0" y="63"/>
                    </a:lnTo>
                    <a:lnTo>
                      <a:pt x="2" y="65"/>
                    </a:lnTo>
                    <a:lnTo>
                      <a:pt x="6" y="69"/>
                    </a:lnTo>
                    <a:lnTo>
                      <a:pt x="8" y="71"/>
                    </a:lnTo>
                    <a:lnTo>
                      <a:pt x="8" y="71"/>
                    </a:lnTo>
                    <a:lnTo>
                      <a:pt x="6" y="73"/>
                    </a:lnTo>
                    <a:lnTo>
                      <a:pt x="4" y="75"/>
                    </a:lnTo>
                    <a:lnTo>
                      <a:pt x="15" y="84"/>
                    </a:lnTo>
                    <a:lnTo>
                      <a:pt x="25" y="92"/>
                    </a:lnTo>
                    <a:lnTo>
                      <a:pt x="23" y="94"/>
                    </a:lnTo>
                    <a:lnTo>
                      <a:pt x="23" y="98"/>
                    </a:lnTo>
                    <a:lnTo>
                      <a:pt x="25" y="100"/>
                    </a:lnTo>
                    <a:lnTo>
                      <a:pt x="29" y="102"/>
                    </a:lnTo>
                    <a:lnTo>
                      <a:pt x="31" y="98"/>
                    </a:lnTo>
                    <a:lnTo>
                      <a:pt x="32" y="92"/>
                    </a:lnTo>
                    <a:lnTo>
                      <a:pt x="36" y="94"/>
                    </a:lnTo>
                    <a:lnTo>
                      <a:pt x="40" y="96"/>
                    </a:lnTo>
                    <a:lnTo>
                      <a:pt x="42" y="96"/>
                    </a:lnTo>
                    <a:lnTo>
                      <a:pt x="44" y="94"/>
                    </a:lnTo>
                    <a:lnTo>
                      <a:pt x="44" y="92"/>
                    </a:lnTo>
                    <a:lnTo>
                      <a:pt x="44" y="90"/>
                    </a:lnTo>
                    <a:lnTo>
                      <a:pt x="40" y="84"/>
                    </a:lnTo>
                    <a:lnTo>
                      <a:pt x="40" y="81"/>
                    </a:lnTo>
                    <a:lnTo>
                      <a:pt x="42" y="79"/>
                    </a:lnTo>
                    <a:lnTo>
                      <a:pt x="40" y="77"/>
                    </a:lnTo>
                    <a:lnTo>
                      <a:pt x="42" y="73"/>
                    </a:lnTo>
                    <a:lnTo>
                      <a:pt x="48" y="73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54" y="71"/>
                    </a:lnTo>
                    <a:lnTo>
                      <a:pt x="54" y="73"/>
                    </a:lnTo>
                    <a:lnTo>
                      <a:pt x="57" y="71"/>
                    </a:lnTo>
                    <a:lnTo>
                      <a:pt x="61" y="71"/>
                    </a:lnTo>
                    <a:lnTo>
                      <a:pt x="65" y="73"/>
                    </a:lnTo>
                    <a:lnTo>
                      <a:pt x="69" y="77"/>
                    </a:lnTo>
                    <a:lnTo>
                      <a:pt x="71" y="77"/>
                    </a:lnTo>
                    <a:lnTo>
                      <a:pt x="71" y="71"/>
                    </a:lnTo>
                    <a:lnTo>
                      <a:pt x="73" y="69"/>
                    </a:lnTo>
                    <a:lnTo>
                      <a:pt x="73" y="67"/>
                    </a:lnTo>
                    <a:lnTo>
                      <a:pt x="71" y="65"/>
                    </a:lnTo>
                    <a:lnTo>
                      <a:pt x="69" y="63"/>
                    </a:lnTo>
                    <a:lnTo>
                      <a:pt x="69" y="61"/>
                    </a:lnTo>
                    <a:lnTo>
                      <a:pt x="69" y="58"/>
                    </a:lnTo>
                    <a:lnTo>
                      <a:pt x="67" y="54"/>
                    </a:lnTo>
                    <a:lnTo>
                      <a:pt x="69" y="50"/>
                    </a:lnTo>
                    <a:lnTo>
                      <a:pt x="69" y="46"/>
                    </a:lnTo>
                    <a:lnTo>
                      <a:pt x="69" y="44"/>
                    </a:lnTo>
                    <a:lnTo>
                      <a:pt x="65" y="40"/>
                    </a:lnTo>
                    <a:lnTo>
                      <a:pt x="63" y="38"/>
                    </a:lnTo>
                    <a:lnTo>
                      <a:pt x="63" y="36"/>
                    </a:lnTo>
                    <a:lnTo>
                      <a:pt x="65" y="36"/>
                    </a:lnTo>
                    <a:lnTo>
                      <a:pt x="63" y="35"/>
                    </a:lnTo>
                    <a:lnTo>
                      <a:pt x="63" y="29"/>
                    </a:lnTo>
                    <a:lnTo>
                      <a:pt x="65" y="27"/>
                    </a:lnTo>
                    <a:lnTo>
                      <a:pt x="69" y="25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5" y="15"/>
                    </a:lnTo>
                    <a:lnTo>
                      <a:pt x="73" y="15"/>
                    </a:lnTo>
                    <a:lnTo>
                      <a:pt x="69" y="13"/>
                    </a:lnTo>
                    <a:lnTo>
                      <a:pt x="65" y="13"/>
                    </a:lnTo>
                    <a:lnTo>
                      <a:pt x="61" y="15"/>
                    </a:lnTo>
                    <a:lnTo>
                      <a:pt x="59" y="13"/>
                    </a:lnTo>
                    <a:lnTo>
                      <a:pt x="59" y="10"/>
                    </a:lnTo>
                    <a:lnTo>
                      <a:pt x="59" y="4"/>
                    </a:lnTo>
                    <a:lnTo>
                      <a:pt x="59" y="0"/>
                    </a:lnTo>
                    <a:lnTo>
                      <a:pt x="55" y="0"/>
                    </a:lnTo>
                    <a:lnTo>
                      <a:pt x="50" y="0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38" y="2"/>
                    </a:lnTo>
                    <a:lnTo>
                      <a:pt x="36" y="4"/>
                    </a:lnTo>
                    <a:lnTo>
                      <a:pt x="34" y="21"/>
                    </a:lnTo>
                    <a:lnTo>
                      <a:pt x="9" y="1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2" name="Freeform 180"/>
              <p:cNvSpPr>
                <a:spLocks/>
              </p:cNvSpPr>
              <p:nvPr/>
            </p:nvSpPr>
            <p:spPr bwMode="gray">
              <a:xfrm>
                <a:off x="3244892" y="4314826"/>
                <a:ext cx="61906" cy="100013"/>
              </a:xfrm>
              <a:custGeom>
                <a:avLst/>
                <a:gdLst>
                  <a:gd name="T0" fmla="*/ 6 w 39"/>
                  <a:gd name="T1" fmla="*/ 0 h 63"/>
                  <a:gd name="T2" fmla="*/ 0 w 39"/>
                  <a:gd name="T3" fmla="*/ 10 h 63"/>
                  <a:gd name="T4" fmla="*/ 0 w 39"/>
                  <a:gd name="T5" fmla="*/ 17 h 63"/>
                  <a:gd name="T6" fmla="*/ 0 w 39"/>
                  <a:gd name="T7" fmla="*/ 27 h 63"/>
                  <a:gd name="T8" fmla="*/ 4 w 39"/>
                  <a:gd name="T9" fmla="*/ 33 h 63"/>
                  <a:gd name="T10" fmla="*/ 8 w 39"/>
                  <a:gd name="T11" fmla="*/ 36 h 63"/>
                  <a:gd name="T12" fmla="*/ 8 w 39"/>
                  <a:gd name="T13" fmla="*/ 40 h 63"/>
                  <a:gd name="T14" fmla="*/ 6 w 39"/>
                  <a:gd name="T15" fmla="*/ 48 h 63"/>
                  <a:gd name="T16" fmla="*/ 2 w 39"/>
                  <a:gd name="T17" fmla="*/ 54 h 63"/>
                  <a:gd name="T18" fmla="*/ 0 w 39"/>
                  <a:gd name="T19" fmla="*/ 56 h 63"/>
                  <a:gd name="T20" fmla="*/ 0 w 39"/>
                  <a:gd name="T21" fmla="*/ 59 h 63"/>
                  <a:gd name="T22" fmla="*/ 4 w 39"/>
                  <a:gd name="T23" fmla="*/ 63 h 63"/>
                  <a:gd name="T24" fmla="*/ 8 w 39"/>
                  <a:gd name="T25" fmla="*/ 63 h 63"/>
                  <a:gd name="T26" fmla="*/ 12 w 39"/>
                  <a:gd name="T27" fmla="*/ 61 h 63"/>
                  <a:gd name="T28" fmla="*/ 17 w 39"/>
                  <a:gd name="T29" fmla="*/ 59 h 63"/>
                  <a:gd name="T30" fmla="*/ 23 w 39"/>
                  <a:gd name="T31" fmla="*/ 63 h 63"/>
                  <a:gd name="T32" fmla="*/ 27 w 39"/>
                  <a:gd name="T33" fmla="*/ 59 h 63"/>
                  <a:gd name="T34" fmla="*/ 31 w 39"/>
                  <a:gd name="T35" fmla="*/ 52 h 63"/>
                  <a:gd name="T36" fmla="*/ 31 w 39"/>
                  <a:gd name="T37" fmla="*/ 44 h 63"/>
                  <a:gd name="T38" fmla="*/ 33 w 39"/>
                  <a:gd name="T39" fmla="*/ 38 h 63"/>
                  <a:gd name="T40" fmla="*/ 35 w 39"/>
                  <a:gd name="T41" fmla="*/ 31 h 63"/>
                  <a:gd name="T42" fmla="*/ 37 w 39"/>
                  <a:gd name="T43" fmla="*/ 29 h 63"/>
                  <a:gd name="T44" fmla="*/ 39 w 39"/>
                  <a:gd name="T45" fmla="*/ 23 h 63"/>
                  <a:gd name="T46" fmla="*/ 39 w 39"/>
                  <a:gd name="T47" fmla="*/ 21 h 63"/>
                  <a:gd name="T48" fmla="*/ 39 w 39"/>
                  <a:gd name="T49" fmla="*/ 19 h 63"/>
                  <a:gd name="T50" fmla="*/ 35 w 39"/>
                  <a:gd name="T51" fmla="*/ 17 h 63"/>
                  <a:gd name="T52" fmla="*/ 31 w 39"/>
                  <a:gd name="T53" fmla="*/ 15 h 63"/>
                  <a:gd name="T54" fmla="*/ 27 w 39"/>
                  <a:gd name="T55" fmla="*/ 10 h 63"/>
                  <a:gd name="T56" fmla="*/ 25 w 39"/>
                  <a:gd name="T57" fmla="*/ 4 h 63"/>
                  <a:gd name="T58" fmla="*/ 21 w 39"/>
                  <a:gd name="T59" fmla="*/ 2 h 63"/>
                  <a:gd name="T60" fmla="*/ 17 w 39"/>
                  <a:gd name="T61" fmla="*/ 0 h 63"/>
                  <a:gd name="T62" fmla="*/ 10 w 39"/>
                  <a:gd name="T63" fmla="*/ 0 h 63"/>
                  <a:gd name="T64" fmla="*/ 6 w 39"/>
                  <a:gd name="T65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" h="63">
                    <a:moveTo>
                      <a:pt x="6" y="0"/>
                    </a:moveTo>
                    <a:lnTo>
                      <a:pt x="0" y="10"/>
                    </a:lnTo>
                    <a:lnTo>
                      <a:pt x="0" y="17"/>
                    </a:lnTo>
                    <a:lnTo>
                      <a:pt x="0" y="27"/>
                    </a:lnTo>
                    <a:lnTo>
                      <a:pt x="4" y="33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6" y="48"/>
                    </a:lnTo>
                    <a:lnTo>
                      <a:pt x="2" y="54"/>
                    </a:lnTo>
                    <a:lnTo>
                      <a:pt x="0" y="56"/>
                    </a:lnTo>
                    <a:lnTo>
                      <a:pt x="0" y="59"/>
                    </a:lnTo>
                    <a:lnTo>
                      <a:pt x="4" y="63"/>
                    </a:lnTo>
                    <a:lnTo>
                      <a:pt x="8" y="63"/>
                    </a:lnTo>
                    <a:lnTo>
                      <a:pt x="12" y="61"/>
                    </a:lnTo>
                    <a:lnTo>
                      <a:pt x="17" y="59"/>
                    </a:lnTo>
                    <a:lnTo>
                      <a:pt x="23" y="63"/>
                    </a:lnTo>
                    <a:lnTo>
                      <a:pt x="27" y="59"/>
                    </a:lnTo>
                    <a:lnTo>
                      <a:pt x="31" y="52"/>
                    </a:lnTo>
                    <a:lnTo>
                      <a:pt x="31" y="44"/>
                    </a:lnTo>
                    <a:lnTo>
                      <a:pt x="33" y="38"/>
                    </a:lnTo>
                    <a:lnTo>
                      <a:pt x="35" y="31"/>
                    </a:lnTo>
                    <a:lnTo>
                      <a:pt x="37" y="29"/>
                    </a:lnTo>
                    <a:lnTo>
                      <a:pt x="39" y="23"/>
                    </a:lnTo>
                    <a:lnTo>
                      <a:pt x="39" y="21"/>
                    </a:lnTo>
                    <a:lnTo>
                      <a:pt x="39" y="19"/>
                    </a:lnTo>
                    <a:lnTo>
                      <a:pt x="35" y="17"/>
                    </a:lnTo>
                    <a:lnTo>
                      <a:pt x="31" y="15"/>
                    </a:lnTo>
                    <a:lnTo>
                      <a:pt x="27" y="10"/>
                    </a:lnTo>
                    <a:lnTo>
                      <a:pt x="25" y="4"/>
                    </a:lnTo>
                    <a:lnTo>
                      <a:pt x="21" y="2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3" name="Freeform 181"/>
              <p:cNvSpPr>
                <a:spLocks/>
              </p:cNvSpPr>
              <p:nvPr/>
            </p:nvSpPr>
            <p:spPr bwMode="gray">
              <a:xfrm>
                <a:off x="4497290" y="3352801"/>
                <a:ext cx="23810" cy="44450"/>
              </a:xfrm>
              <a:custGeom>
                <a:avLst/>
                <a:gdLst>
                  <a:gd name="T0" fmla="*/ 10 w 15"/>
                  <a:gd name="T1" fmla="*/ 0 h 28"/>
                  <a:gd name="T2" fmla="*/ 8 w 15"/>
                  <a:gd name="T3" fmla="*/ 1 h 28"/>
                  <a:gd name="T4" fmla="*/ 8 w 15"/>
                  <a:gd name="T5" fmla="*/ 5 h 28"/>
                  <a:gd name="T6" fmla="*/ 0 w 15"/>
                  <a:gd name="T7" fmla="*/ 11 h 28"/>
                  <a:gd name="T8" fmla="*/ 0 w 15"/>
                  <a:gd name="T9" fmla="*/ 17 h 28"/>
                  <a:gd name="T10" fmla="*/ 0 w 15"/>
                  <a:gd name="T11" fmla="*/ 21 h 28"/>
                  <a:gd name="T12" fmla="*/ 4 w 15"/>
                  <a:gd name="T13" fmla="*/ 28 h 28"/>
                  <a:gd name="T14" fmla="*/ 8 w 15"/>
                  <a:gd name="T15" fmla="*/ 28 h 28"/>
                  <a:gd name="T16" fmla="*/ 11 w 15"/>
                  <a:gd name="T17" fmla="*/ 28 h 28"/>
                  <a:gd name="T18" fmla="*/ 11 w 15"/>
                  <a:gd name="T19" fmla="*/ 23 h 28"/>
                  <a:gd name="T20" fmla="*/ 11 w 15"/>
                  <a:gd name="T21" fmla="*/ 17 h 28"/>
                  <a:gd name="T22" fmla="*/ 13 w 15"/>
                  <a:gd name="T23" fmla="*/ 17 h 28"/>
                  <a:gd name="T24" fmla="*/ 15 w 15"/>
                  <a:gd name="T25" fmla="*/ 15 h 28"/>
                  <a:gd name="T26" fmla="*/ 13 w 15"/>
                  <a:gd name="T27" fmla="*/ 11 h 28"/>
                  <a:gd name="T28" fmla="*/ 13 w 15"/>
                  <a:gd name="T29" fmla="*/ 9 h 28"/>
                  <a:gd name="T30" fmla="*/ 11 w 15"/>
                  <a:gd name="T31" fmla="*/ 3 h 28"/>
                  <a:gd name="T32" fmla="*/ 10 w 15"/>
                  <a:gd name="T3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28">
                    <a:moveTo>
                      <a:pt x="10" y="0"/>
                    </a:moveTo>
                    <a:lnTo>
                      <a:pt x="8" y="1"/>
                    </a:lnTo>
                    <a:lnTo>
                      <a:pt x="8" y="5"/>
                    </a:lnTo>
                    <a:lnTo>
                      <a:pt x="0" y="11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1" y="23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5" y="15"/>
                    </a:lnTo>
                    <a:lnTo>
                      <a:pt x="13" y="11"/>
                    </a:lnTo>
                    <a:lnTo>
                      <a:pt x="13" y="9"/>
                    </a:lnTo>
                    <a:lnTo>
                      <a:pt x="11" y="3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4" name="Freeform 182"/>
              <p:cNvSpPr>
                <a:spLocks/>
              </p:cNvSpPr>
              <p:nvPr/>
            </p:nvSpPr>
            <p:spPr bwMode="gray">
              <a:xfrm>
                <a:off x="5411588" y="4981576"/>
                <a:ext cx="11111" cy="15875"/>
              </a:xfrm>
              <a:custGeom>
                <a:avLst/>
                <a:gdLst>
                  <a:gd name="T0" fmla="*/ 2 w 7"/>
                  <a:gd name="T1" fmla="*/ 0 h 10"/>
                  <a:gd name="T2" fmla="*/ 0 w 7"/>
                  <a:gd name="T3" fmla="*/ 8 h 10"/>
                  <a:gd name="T4" fmla="*/ 3 w 7"/>
                  <a:gd name="T5" fmla="*/ 8 h 10"/>
                  <a:gd name="T6" fmla="*/ 7 w 7"/>
                  <a:gd name="T7" fmla="*/ 10 h 10"/>
                  <a:gd name="T8" fmla="*/ 7 w 7"/>
                  <a:gd name="T9" fmla="*/ 8 h 10"/>
                  <a:gd name="T10" fmla="*/ 7 w 7"/>
                  <a:gd name="T11" fmla="*/ 4 h 10"/>
                  <a:gd name="T12" fmla="*/ 3 w 7"/>
                  <a:gd name="T13" fmla="*/ 2 h 10"/>
                  <a:gd name="T14" fmla="*/ 2 w 7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0">
                    <a:moveTo>
                      <a:pt x="2" y="0"/>
                    </a:moveTo>
                    <a:lnTo>
                      <a:pt x="0" y="8"/>
                    </a:lnTo>
                    <a:lnTo>
                      <a:pt x="3" y="8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5" name="Freeform 183"/>
              <p:cNvSpPr>
                <a:spLocks/>
              </p:cNvSpPr>
              <p:nvPr/>
            </p:nvSpPr>
            <p:spPr bwMode="gray">
              <a:xfrm>
                <a:off x="7562411" y="4967289"/>
                <a:ext cx="57144" cy="60325"/>
              </a:xfrm>
              <a:custGeom>
                <a:avLst/>
                <a:gdLst>
                  <a:gd name="T0" fmla="*/ 0 w 36"/>
                  <a:gd name="T1" fmla="*/ 0 h 38"/>
                  <a:gd name="T2" fmla="*/ 3 w 36"/>
                  <a:gd name="T3" fmla="*/ 9 h 38"/>
                  <a:gd name="T4" fmla="*/ 7 w 36"/>
                  <a:gd name="T5" fmla="*/ 19 h 38"/>
                  <a:gd name="T6" fmla="*/ 13 w 36"/>
                  <a:gd name="T7" fmla="*/ 25 h 38"/>
                  <a:gd name="T8" fmla="*/ 19 w 36"/>
                  <a:gd name="T9" fmla="*/ 28 h 38"/>
                  <a:gd name="T10" fmla="*/ 19 w 36"/>
                  <a:gd name="T11" fmla="*/ 32 h 38"/>
                  <a:gd name="T12" fmla="*/ 26 w 36"/>
                  <a:gd name="T13" fmla="*/ 36 h 38"/>
                  <a:gd name="T14" fmla="*/ 36 w 36"/>
                  <a:gd name="T15" fmla="*/ 38 h 38"/>
                  <a:gd name="T16" fmla="*/ 36 w 36"/>
                  <a:gd name="T17" fmla="*/ 36 h 38"/>
                  <a:gd name="T18" fmla="*/ 36 w 36"/>
                  <a:gd name="T19" fmla="*/ 32 h 38"/>
                  <a:gd name="T20" fmla="*/ 32 w 36"/>
                  <a:gd name="T21" fmla="*/ 30 h 38"/>
                  <a:gd name="T22" fmla="*/ 30 w 36"/>
                  <a:gd name="T23" fmla="*/ 28 h 38"/>
                  <a:gd name="T24" fmla="*/ 21 w 36"/>
                  <a:gd name="T25" fmla="*/ 23 h 38"/>
                  <a:gd name="T26" fmla="*/ 13 w 36"/>
                  <a:gd name="T27" fmla="*/ 15 h 38"/>
                  <a:gd name="T28" fmla="*/ 9 w 36"/>
                  <a:gd name="T29" fmla="*/ 7 h 38"/>
                  <a:gd name="T30" fmla="*/ 7 w 36"/>
                  <a:gd name="T31" fmla="*/ 2 h 38"/>
                  <a:gd name="T32" fmla="*/ 3 w 36"/>
                  <a:gd name="T33" fmla="*/ 2 h 38"/>
                  <a:gd name="T34" fmla="*/ 0 w 36"/>
                  <a:gd name="T3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38">
                    <a:moveTo>
                      <a:pt x="0" y="0"/>
                    </a:moveTo>
                    <a:lnTo>
                      <a:pt x="3" y="9"/>
                    </a:lnTo>
                    <a:lnTo>
                      <a:pt x="7" y="19"/>
                    </a:lnTo>
                    <a:lnTo>
                      <a:pt x="13" y="25"/>
                    </a:lnTo>
                    <a:lnTo>
                      <a:pt x="19" y="28"/>
                    </a:lnTo>
                    <a:lnTo>
                      <a:pt x="19" y="32"/>
                    </a:lnTo>
                    <a:lnTo>
                      <a:pt x="26" y="36"/>
                    </a:lnTo>
                    <a:lnTo>
                      <a:pt x="36" y="38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2" y="30"/>
                    </a:lnTo>
                    <a:lnTo>
                      <a:pt x="30" y="28"/>
                    </a:lnTo>
                    <a:lnTo>
                      <a:pt x="21" y="23"/>
                    </a:lnTo>
                    <a:lnTo>
                      <a:pt x="13" y="15"/>
                    </a:lnTo>
                    <a:lnTo>
                      <a:pt x="9" y="7"/>
                    </a:lnTo>
                    <a:lnTo>
                      <a:pt x="7" y="2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6" name="Freeform 184"/>
              <p:cNvSpPr>
                <a:spLocks/>
              </p:cNvSpPr>
              <p:nvPr/>
            </p:nvSpPr>
            <p:spPr bwMode="gray">
              <a:xfrm>
                <a:off x="7616380" y="4984751"/>
                <a:ext cx="6349" cy="9525"/>
              </a:xfrm>
              <a:custGeom>
                <a:avLst/>
                <a:gdLst>
                  <a:gd name="T0" fmla="*/ 0 w 4"/>
                  <a:gd name="T1" fmla="*/ 0 h 6"/>
                  <a:gd name="T2" fmla="*/ 0 w 4"/>
                  <a:gd name="T3" fmla="*/ 4 h 6"/>
                  <a:gd name="T4" fmla="*/ 0 w 4"/>
                  <a:gd name="T5" fmla="*/ 6 h 6"/>
                  <a:gd name="T6" fmla="*/ 4 w 4"/>
                  <a:gd name="T7" fmla="*/ 6 h 6"/>
                  <a:gd name="T8" fmla="*/ 4 w 4"/>
                  <a:gd name="T9" fmla="*/ 4 h 6"/>
                  <a:gd name="T10" fmla="*/ 2 w 4"/>
                  <a:gd name="T11" fmla="*/ 2 h 6"/>
                  <a:gd name="T12" fmla="*/ 0 w 4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7" name="Freeform 185"/>
              <p:cNvSpPr>
                <a:spLocks/>
              </p:cNvSpPr>
              <p:nvPr/>
            </p:nvSpPr>
            <p:spPr bwMode="gray">
              <a:xfrm>
                <a:off x="4235381" y="3114676"/>
                <a:ext cx="255559" cy="255588"/>
              </a:xfrm>
              <a:custGeom>
                <a:avLst/>
                <a:gdLst>
                  <a:gd name="T0" fmla="*/ 132 w 161"/>
                  <a:gd name="T1" fmla="*/ 34 h 161"/>
                  <a:gd name="T2" fmla="*/ 142 w 161"/>
                  <a:gd name="T3" fmla="*/ 34 h 161"/>
                  <a:gd name="T4" fmla="*/ 155 w 161"/>
                  <a:gd name="T5" fmla="*/ 38 h 161"/>
                  <a:gd name="T6" fmla="*/ 161 w 161"/>
                  <a:gd name="T7" fmla="*/ 42 h 161"/>
                  <a:gd name="T8" fmla="*/ 159 w 161"/>
                  <a:gd name="T9" fmla="*/ 56 h 161"/>
                  <a:gd name="T10" fmla="*/ 159 w 161"/>
                  <a:gd name="T11" fmla="*/ 69 h 161"/>
                  <a:gd name="T12" fmla="*/ 153 w 161"/>
                  <a:gd name="T13" fmla="*/ 71 h 161"/>
                  <a:gd name="T14" fmla="*/ 146 w 161"/>
                  <a:gd name="T15" fmla="*/ 77 h 161"/>
                  <a:gd name="T16" fmla="*/ 134 w 161"/>
                  <a:gd name="T17" fmla="*/ 92 h 161"/>
                  <a:gd name="T18" fmla="*/ 134 w 161"/>
                  <a:gd name="T19" fmla="*/ 98 h 161"/>
                  <a:gd name="T20" fmla="*/ 142 w 161"/>
                  <a:gd name="T21" fmla="*/ 98 h 161"/>
                  <a:gd name="T22" fmla="*/ 151 w 161"/>
                  <a:gd name="T23" fmla="*/ 103 h 161"/>
                  <a:gd name="T24" fmla="*/ 148 w 161"/>
                  <a:gd name="T25" fmla="*/ 111 h 161"/>
                  <a:gd name="T26" fmla="*/ 142 w 161"/>
                  <a:gd name="T27" fmla="*/ 117 h 161"/>
                  <a:gd name="T28" fmla="*/ 146 w 161"/>
                  <a:gd name="T29" fmla="*/ 125 h 161"/>
                  <a:gd name="T30" fmla="*/ 151 w 161"/>
                  <a:gd name="T31" fmla="*/ 132 h 161"/>
                  <a:gd name="T32" fmla="*/ 148 w 161"/>
                  <a:gd name="T33" fmla="*/ 136 h 161"/>
                  <a:gd name="T34" fmla="*/ 150 w 161"/>
                  <a:gd name="T35" fmla="*/ 138 h 161"/>
                  <a:gd name="T36" fmla="*/ 142 w 161"/>
                  <a:gd name="T37" fmla="*/ 136 h 161"/>
                  <a:gd name="T38" fmla="*/ 142 w 161"/>
                  <a:gd name="T39" fmla="*/ 148 h 161"/>
                  <a:gd name="T40" fmla="*/ 115 w 161"/>
                  <a:gd name="T41" fmla="*/ 142 h 161"/>
                  <a:gd name="T42" fmla="*/ 102 w 161"/>
                  <a:gd name="T43" fmla="*/ 148 h 161"/>
                  <a:gd name="T44" fmla="*/ 100 w 161"/>
                  <a:gd name="T45" fmla="*/ 157 h 161"/>
                  <a:gd name="T46" fmla="*/ 86 w 161"/>
                  <a:gd name="T47" fmla="*/ 161 h 161"/>
                  <a:gd name="T48" fmla="*/ 79 w 161"/>
                  <a:gd name="T49" fmla="*/ 159 h 161"/>
                  <a:gd name="T50" fmla="*/ 65 w 161"/>
                  <a:gd name="T51" fmla="*/ 157 h 161"/>
                  <a:gd name="T52" fmla="*/ 57 w 161"/>
                  <a:gd name="T53" fmla="*/ 153 h 161"/>
                  <a:gd name="T54" fmla="*/ 46 w 161"/>
                  <a:gd name="T55" fmla="*/ 151 h 161"/>
                  <a:gd name="T56" fmla="*/ 44 w 161"/>
                  <a:gd name="T57" fmla="*/ 144 h 161"/>
                  <a:gd name="T58" fmla="*/ 48 w 161"/>
                  <a:gd name="T59" fmla="*/ 111 h 161"/>
                  <a:gd name="T60" fmla="*/ 31 w 161"/>
                  <a:gd name="T61" fmla="*/ 88 h 161"/>
                  <a:gd name="T62" fmla="*/ 29 w 161"/>
                  <a:gd name="T63" fmla="*/ 77 h 161"/>
                  <a:gd name="T64" fmla="*/ 23 w 161"/>
                  <a:gd name="T65" fmla="*/ 73 h 161"/>
                  <a:gd name="T66" fmla="*/ 17 w 161"/>
                  <a:gd name="T67" fmla="*/ 67 h 161"/>
                  <a:gd name="T68" fmla="*/ 0 w 161"/>
                  <a:gd name="T69" fmla="*/ 59 h 161"/>
                  <a:gd name="T70" fmla="*/ 6 w 161"/>
                  <a:gd name="T71" fmla="*/ 54 h 161"/>
                  <a:gd name="T72" fmla="*/ 2 w 161"/>
                  <a:gd name="T73" fmla="*/ 50 h 161"/>
                  <a:gd name="T74" fmla="*/ 21 w 161"/>
                  <a:gd name="T75" fmla="*/ 48 h 161"/>
                  <a:gd name="T76" fmla="*/ 36 w 161"/>
                  <a:gd name="T77" fmla="*/ 46 h 161"/>
                  <a:gd name="T78" fmla="*/ 38 w 161"/>
                  <a:gd name="T79" fmla="*/ 36 h 161"/>
                  <a:gd name="T80" fmla="*/ 44 w 161"/>
                  <a:gd name="T81" fmla="*/ 25 h 161"/>
                  <a:gd name="T82" fmla="*/ 52 w 161"/>
                  <a:gd name="T83" fmla="*/ 32 h 161"/>
                  <a:gd name="T84" fmla="*/ 65 w 161"/>
                  <a:gd name="T85" fmla="*/ 23 h 161"/>
                  <a:gd name="T86" fmla="*/ 77 w 161"/>
                  <a:gd name="T87" fmla="*/ 9 h 161"/>
                  <a:gd name="T88" fmla="*/ 86 w 161"/>
                  <a:gd name="T89" fmla="*/ 0 h 161"/>
                  <a:gd name="T90" fmla="*/ 92 w 161"/>
                  <a:gd name="T91" fmla="*/ 6 h 161"/>
                  <a:gd name="T92" fmla="*/ 96 w 161"/>
                  <a:gd name="T93" fmla="*/ 11 h 161"/>
                  <a:gd name="T94" fmla="*/ 105 w 161"/>
                  <a:gd name="T95" fmla="*/ 15 h 161"/>
                  <a:gd name="T96" fmla="*/ 111 w 161"/>
                  <a:gd name="T97" fmla="*/ 23 h 161"/>
                  <a:gd name="T98" fmla="*/ 119 w 161"/>
                  <a:gd name="T99" fmla="*/ 23 h 161"/>
                  <a:gd name="T100" fmla="*/ 125 w 161"/>
                  <a:gd name="T101" fmla="*/ 29 h 161"/>
                  <a:gd name="T102" fmla="*/ 132 w 161"/>
                  <a:gd name="T103" fmla="*/ 29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1" h="161">
                    <a:moveTo>
                      <a:pt x="132" y="29"/>
                    </a:moveTo>
                    <a:lnTo>
                      <a:pt x="132" y="32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6"/>
                    </a:lnTo>
                    <a:lnTo>
                      <a:pt x="142" y="34"/>
                    </a:lnTo>
                    <a:lnTo>
                      <a:pt x="148" y="36"/>
                    </a:lnTo>
                    <a:lnTo>
                      <a:pt x="151" y="40"/>
                    </a:lnTo>
                    <a:lnTo>
                      <a:pt x="155" y="38"/>
                    </a:lnTo>
                    <a:lnTo>
                      <a:pt x="159" y="40"/>
                    </a:lnTo>
                    <a:lnTo>
                      <a:pt x="161" y="40"/>
                    </a:lnTo>
                    <a:lnTo>
                      <a:pt x="161" y="42"/>
                    </a:lnTo>
                    <a:lnTo>
                      <a:pt x="159" y="48"/>
                    </a:lnTo>
                    <a:lnTo>
                      <a:pt x="159" y="52"/>
                    </a:lnTo>
                    <a:lnTo>
                      <a:pt x="159" y="56"/>
                    </a:lnTo>
                    <a:lnTo>
                      <a:pt x="159" y="61"/>
                    </a:lnTo>
                    <a:lnTo>
                      <a:pt x="161" y="67"/>
                    </a:lnTo>
                    <a:lnTo>
                      <a:pt x="159" y="69"/>
                    </a:lnTo>
                    <a:lnTo>
                      <a:pt x="155" y="69"/>
                    </a:lnTo>
                    <a:lnTo>
                      <a:pt x="153" y="69"/>
                    </a:lnTo>
                    <a:lnTo>
                      <a:pt x="153" y="71"/>
                    </a:lnTo>
                    <a:lnTo>
                      <a:pt x="153" y="73"/>
                    </a:lnTo>
                    <a:lnTo>
                      <a:pt x="151" y="73"/>
                    </a:lnTo>
                    <a:lnTo>
                      <a:pt x="146" y="77"/>
                    </a:lnTo>
                    <a:lnTo>
                      <a:pt x="142" y="82"/>
                    </a:lnTo>
                    <a:lnTo>
                      <a:pt x="138" y="88"/>
                    </a:lnTo>
                    <a:lnTo>
                      <a:pt x="134" y="92"/>
                    </a:lnTo>
                    <a:lnTo>
                      <a:pt x="134" y="94"/>
                    </a:lnTo>
                    <a:lnTo>
                      <a:pt x="132" y="98"/>
                    </a:lnTo>
                    <a:lnTo>
                      <a:pt x="134" y="98"/>
                    </a:lnTo>
                    <a:lnTo>
                      <a:pt x="136" y="98"/>
                    </a:lnTo>
                    <a:lnTo>
                      <a:pt x="140" y="96"/>
                    </a:lnTo>
                    <a:lnTo>
                      <a:pt x="142" y="98"/>
                    </a:lnTo>
                    <a:lnTo>
                      <a:pt x="144" y="100"/>
                    </a:lnTo>
                    <a:lnTo>
                      <a:pt x="150" y="102"/>
                    </a:lnTo>
                    <a:lnTo>
                      <a:pt x="151" y="103"/>
                    </a:lnTo>
                    <a:lnTo>
                      <a:pt x="153" y="103"/>
                    </a:lnTo>
                    <a:lnTo>
                      <a:pt x="150" y="109"/>
                    </a:lnTo>
                    <a:lnTo>
                      <a:pt x="148" y="111"/>
                    </a:lnTo>
                    <a:lnTo>
                      <a:pt x="144" y="113"/>
                    </a:lnTo>
                    <a:lnTo>
                      <a:pt x="142" y="115"/>
                    </a:lnTo>
                    <a:lnTo>
                      <a:pt x="142" y="117"/>
                    </a:lnTo>
                    <a:lnTo>
                      <a:pt x="144" y="119"/>
                    </a:lnTo>
                    <a:lnTo>
                      <a:pt x="144" y="121"/>
                    </a:lnTo>
                    <a:lnTo>
                      <a:pt x="146" y="125"/>
                    </a:lnTo>
                    <a:lnTo>
                      <a:pt x="146" y="130"/>
                    </a:lnTo>
                    <a:lnTo>
                      <a:pt x="150" y="130"/>
                    </a:lnTo>
                    <a:lnTo>
                      <a:pt x="151" y="132"/>
                    </a:lnTo>
                    <a:lnTo>
                      <a:pt x="150" y="134"/>
                    </a:lnTo>
                    <a:lnTo>
                      <a:pt x="148" y="136"/>
                    </a:lnTo>
                    <a:lnTo>
                      <a:pt x="148" y="136"/>
                    </a:lnTo>
                    <a:lnTo>
                      <a:pt x="148" y="136"/>
                    </a:lnTo>
                    <a:lnTo>
                      <a:pt x="148" y="138"/>
                    </a:lnTo>
                    <a:lnTo>
                      <a:pt x="150" y="138"/>
                    </a:lnTo>
                    <a:lnTo>
                      <a:pt x="148" y="140"/>
                    </a:lnTo>
                    <a:lnTo>
                      <a:pt x="146" y="138"/>
                    </a:lnTo>
                    <a:lnTo>
                      <a:pt x="142" y="136"/>
                    </a:lnTo>
                    <a:lnTo>
                      <a:pt x="140" y="140"/>
                    </a:lnTo>
                    <a:lnTo>
                      <a:pt x="144" y="146"/>
                    </a:lnTo>
                    <a:lnTo>
                      <a:pt x="142" y="148"/>
                    </a:lnTo>
                    <a:lnTo>
                      <a:pt x="140" y="150"/>
                    </a:lnTo>
                    <a:lnTo>
                      <a:pt x="127" y="148"/>
                    </a:lnTo>
                    <a:lnTo>
                      <a:pt x="115" y="142"/>
                    </a:lnTo>
                    <a:lnTo>
                      <a:pt x="109" y="142"/>
                    </a:lnTo>
                    <a:lnTo>
                      <a:pt x="105" y="144"/>
                    </a:lnTo>
                    <a:lnTo>
                      <a:pt x="102" y="148"/>
                    </a:lnTo>
                    <a:lnTo>
                      <a:pt x="100" y="150"/>
                    </a:lnTo>
                    <a:lnTo>
                      <a:pt x="100" y="153"/>
                    </a:lnTo>
                    <a:lnTo>
                      <a:pt x="100" y="157"/>
                    </a:lnTo>
                    <a:lnTo>
                      <a:pt x="94" y="159"/>
                    </a:lnTo>
                    <a:lnTo>
                      <a:pt x="92" y="161"/>
                    </a:lnTo>
                    <a:lnTo>
                      <a:pt x="86" y="161"/>
                    </a:lnTo>
                    <a:lnTo>
                      <a:pt x="82" y="159"/>
                    </a:lnTo>
                    <a:lnTo>
                      <a:pt x="80" y="159"/>
                    </a:lnTo>
                    <a:lnTo>
                      <a:pt x="79" y="159"/>
                    </a:lnTo>
                    <a:lnTo>
                      <a:pt x="77" y="159"/>
                    </a:lnTo>
                    <a:lnTo>
                      <a:pt x="71" y="157"/>
                    </a:lnTo>
                    <a:lnTo>
                      <a:pt x="65" y="157"/>
                    </a:lnTo>
                    <a:lnTo>
                      <a:pt x="61" y="157"/>
                    </a:lnTo>
                    <a:lnTo>
                      <a:pt x="59" y="155"/>
                    </a:lnTo>
                    <a:lnTo>
                      <a:pt x="57" y="153"/>
                    </a:lnTo>
                    <a:lnTo>
                      <a:pt x="54" y="153"/>
                    </a:lnTo>
                    <a:lnTo>
                      <a:pt x="50" y="151"/>
                    </a:lnTo>
                    <a:lnTo>
                      <a:pt x="46" y="151"/>
                    </a:lnTo>
                    <a:lnTo>
                      <a:pt x="46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6" y="132"/>
                    </a:lnTo>
                    <a:lnTo>
                      <a:pt x="48" y="123"/>
                    </a:lnTo>
                    <a:lnTo>
                      <a:pt x="48" y="111"/>
                    </a:lnTo>
                    <a:lnTo>
                      <a:pt x="48" y="98"/>
                    </a:lnTo>
                    <a:lnTo>
                      <a:pt x="38" y="94"/>
                    </a:lnTo>
                    <a:lnTo>
                      <a:pt x="31" y="88"/>
                    </a:lnTo>
                    <a:lnTo>
                      <a:pt x="31" y="80"/>
                    </a:lnTo>
                    <a:lnTo>
                      <a:pt x="32" y="77"/>
                    </a:lnTo>
                    <a:lnTo>
                      <a:pt x="29" y="77"/>
                    </a:lnTo>
                    <a:lnTo>
                      <a:pt x="27" y="77"/>
                    </a:lnTo>
                    <a:lnTo>
                      <a:pt x="25" y="73"/>
                    </a:lnTo>
                    <a:lnTo>
                      <a:pt x="23" y="73"/>
                    </a:lnTo>
                    <a:lnTo>
                      <a:pt x="25" y="67"/>
                    </a:lnTo>
                    <a:lnTo>
                      <a:pt x="17" y="71"/>
                    </a:lnTo>
                    <a:lnTo>
                      <a:pt x="17" y="67"/>
                    </a:lnTo>
                    <a:lnTo>
                      <a:pt x="9" y="63"/>
                    </a:lnTo>
                    <a:lnTo>
                      <a:pt x="0" y="63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6" y="54"/>
                    </a:lnTo>
                    <a:lnTo>
                      <a:pt x="2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13" y="46"/>
                    </a:lnTo>
                    <a:lnTo>
                      <a:pt x="19" y="46"/>
                    </a:lnTo>
                    <a:lnTo>
                      <a:pt x="21" y="48"/>
                    </a:lnTo>
                    <a:lnTo>
                      <a:pt x="25" y="50"/>
                    </a:lnTo>
                    <a:lnTo>
                      <a:pt x="31" y="46"/>
                    </a:lnTo>
                    <a:lnTo>
                      <a:pt x="36" y="46"/>
                    </a:lnTo>
                    <a:lnTo>
                      <a:pt x="42" y="48"/>
                    </a:lnTo>
                    <a:lnTo>
                      <a:pt x="42" y="44"/>
                    </a:lnTo>
                    <a:lnTo>
                      <a:pt x="38" y="36"/>
                    </a:lnTo>
                    <a:lnTo>
                      <a:pt x="36" y="29"/>
                    </a:lnTo>
                    <a:lnTo>
                      <a:pt x="38" y="25"/>
                    </a:lnTo>
                    <a:lnTo>
                      <a:pt x="44" y="25"/>
                    </a:lnTo>
                    <a:lnTo>
                      <a:pt x="44" y="27"/>
                    </a:lnTo>
                    <a:lnTo>
                      <a:pt x="44" y="31"/>
                    </a:lnTo>
                    <a:lnTo>
                      <a:pt x="52" y="32"/>
                    </a:lnTo>
                    <a:lnTo>
                      <a:pt x="63" y="31"/>
                    </a:lnTo>
                    <a:lnTo>
                      <a:pt x="63" y="27"/>
                    </a:lnTo>
                    <a:lnTo>
                      <a:pt x="65" y="23"/>
                    </a:lnTo>
                    <a:lnTo>
                      <a:pt x="71" y="21"/>
                    </a:lnTo>
                    <a:lnTo>
                      <a:pt x="79" y="19"/>
                    </a:lnTo>
                    <a:lnTo>
                      <a:pt x="77" y="9"/>
                    </a:lnTo>
                    <a:lnTo>
                      <a:pt x="77" y="4"/>
                    </a:lnTo>
                    <a:lnTo>
                      <a:pt x="82" y="2"/>
                    </a:lnTo>
                    <a:lnTo>
                      <a:pt x="86" y="0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6"/>
                    </a:lnTo>
                    <a:lnTo>
                      <a:pt x="94" y="9"/>
                    </a:lnTo>
                    <a:lnTo>
                      <a:pt x="94" y="9"/>
                    </a:lnTo>
                    <a:lnTo>
                      <a:pt x="96" y="11"/>
                    </a:lnTo>
                    <a:lnTo>
                      <a:pt x="100" y="13"/>
                    </a:lnTo>
                    <a:lnTo>
                      <a:pt x="103" y="15"/>
                    </a:lnTo>
                    <a:lnTo>
                      <a:pt x="105" y="15"/>
                    </a:lnTo>
                    <a:lnTo>
                      <a:pt x="105" y="17"/>
                    </a:lnTo>
                    <a:lnTo>
                      <a:pt x="107" y="21"/>
                    </a:lnTo>
                    <a:lnTo>
                      <a:pt x="111" y="23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9" y="23"/>
                    </a:lnTo>
                    <a:lnTo>
                      <a:pt x="119" y="27"/>
                    </a:lnTo>
                    <a:lnTo>
                      <a:pt x="123" y="29"/>
                    </a:lnTo>
                    <a:lnTo>
                      <a:pt x="125" y="29"/>
                    </a:lnTo>
                    <a:lnTo>
                      <a:pt x="125" y="29"/>
                    </a:lnTo>
                    <a:lnTo>
                      <a:pt x="130" y="29"/>
                    </a:lnTo>
                    <a:lnTo>
                      <a:pt x="132" y="2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8" name="Freeform 186"/>
              <p:cNvSpPr>
                <a:spLocks noEditPoints="1"/>
              </p:cNvSpPr>
              <p:nvPr/>
            </p:nvSpPr>
            <p:spPr bwMode="gray">
              <a:xfrm>
                <a:off x="4713166" y="2481264"/>
                <a:ext cx="247622" cy="355600"/>
              </a:xfrm>
              <a:custGeom>
                <a:avLst/>
                <a:gdLst>
                  <a:gd name="T0" fmla="*/ 131 w 156"/>
                  <a:gd name="T1" fmla="*/ 19 h 224"/>
                  <a:gd name="T2" fmla="*/ 119 w 156"/>
                  <a:gd name="T3" fmla="*/ 11 h 224"/>
                  <a:gd name="T4" fmla="*/ 108 w 156"/>
                  <a:gd name="T5" fmla="*/ 4 h 224"/>
                  <a:gd name="T6" fmla="*/ 94 w 156"/>
                  <a:gd name="T7" fmla="*/ 4 h 224"/>
                  <a:gd name="T8" fmla="*/ 87 w 156"/>
                  <a:gd name="T9" fmla="*/ 11 h 224"/>
                  <a:gd name="T10" fmla="*/ 83 w 156"/>
                  <a:gd name="T11" fmla="*/ 19 h 224"/>
                  <a:gd name="T12" fmla="*/ 81 w 156"/>
                  <a:gd name="T13" fmla="*/ 32 h 224"/>
                  <a:gd name="T14" fmla="*/ 75 w 156"/>
                  <a:gd name="T15" fmla="*/ 40 h 224"/>
                  <a:gd name="T16" fmla="*/ 64 w 156"/>
                  <a:gd name="T17" fmla="*/ 32 h 224"/>
                  <a:gd name="T18" fmla="*/ 50 w 156"/>
                  <a:gd name="T19" fmla="*/ 34 h 224"/>
                  <a:gd name="T20" fmla="*/ 27 w 156"/>
                  <a:gd name="T21" fmla="*/ 19 h 224"/>
                  <a:gd name="T22" fmla="*/ 19 w 156"/>
                  <a:gd name="T23" fmla="*/ 27 h 224"/>
                  <a:gd name="T24" fmla="*/ 29 w 156"/>
                  <a:gd name="T25" fmla="*/ 36 h 224"/>
                  <a:gd name="T26" fmla="*/ 44 w 156"/>
                  <a:gd name="T27" fmla="*/ 42 h 224"/>
                  <a:gd name="T28" fmla="*/ 52 w 156"/>
                  <a:gd name="T29" fmla="*/ 52 h 224"/>
                  <a:gd name="T30" fmla="*/ 52 w 156"/>
                  <a:gd name="T31" fmla="*/ 63 h 224"/>
                  <a:gd name="T32" fmla="*/ 54 w 156"/>
                  <a:gd name="T33" fmla="*/ 75 h 224"/>
                  <a:gd name="T34" fmla="*/ 54 w 156"/>
                  <a:gd name="T35" fmla="*/ 84 h 224"/>
                  <a:gd name="T36" fmla="*/ 73 w 156"/>
                  <a:gd name="T37" fmla="*/ 94 h 224"/>
                  <a:gd name="T38" fmla="*/ 69 w 156"/>
                  <a:gd name="T39" fmla="*/ 115 h 224"/>
                  <a:gd name="T40" fmla="*/ 58 w 156"/>
                  <a:gd name="T41" fmla="*/ 134 h 224"/>
                  <a:gd name="T42" fmla="*/ 42 w 156"/>
                  <a:gd name="T43" fmla="*/ 147 h 224"/>
                  <a:gd name="T44" fmla="*/ 39 w 156"/>
                  <a:gd name="T45" fmla="*/ 147 h 224"/>
                  <a:gd name="T46" fmla="*/ 31 w 156"/>
                  <a:gd name="T47" fmla="*/ 159 h 224"/>
                  <a:gd name="T48" fmla="*/ 37 w 156"/>
                  <a:gd name="T49" fmla="*/ 182 h 224"/>
                  <a:gd name="T50" fmla="*/ 35 w 156"/>
                  <a:gd name="T51" fmla="*/ 199 h 224"/>
                  <a:gd name="T52" fmla="*/ 39 w 156"/>
                  <a:gd name="T53" fmla="*/ 201 h 224"/>
                  <a:gd name="T54" fmla="*/ 42 w 156"/>
                  <a:gd name="T55" fmla="*/ 203 h 224"/>
                  <a:gd name="T56" fmla="*/ 48 w 156"/>
                  <a:gd name="T57" fmla="*/ 205 h 224"/>
                  <a:gd name="T58" fmla="*/ 52 w 156"/>
                  <a:gd name="T59" fmla="*/ 211 h 224"/>
                  <a:gd name="T60" fmla="*/ 44 w 156"/>
                  <a:gd name="T61" fmla="*/ 218 h 224"/>
                  <a:gd name="T62" fmla="*/ 52 w 156"/>
                  <a:gd name="T63" fmla="*/ 215 h 224"/>
                  <a:gd name="T64" fmla="*/ 56 w 156"/>
                  <a:gd name="T65" fmla="*/ 217 h 224"/>
                  <a:gd name="T66" fmla="*/ 62 w 156"/>
                  <a:gd name="T67" fmla="*/ 222 h 224"/>
                  <a:gd name="T68" fmla="*/ 73 w 156"/>
                  <a:gd name="T69" fmla="*/ 215 h 224"/>
                  <a:gd name="T70" fmla="*/ 85 w 156"/>
                  <a:gd name="T71" fmla="*/ 211 h 224"/>
                  <a:gd name="T72" fmla="*/ 94 w 156"/>
                  <a:gd name="T73" fmla="*/ 205 h 224"/>
                  <a:gd name="T74" fmla="*/ 133 w 156"/>
                  <a:gd name="T75" fmla="*/ 184 h 224"/>
                  <a:gd name="T76" fmla="*/ 154 w 156"/>
                  <a:gd name="T77" fmla="*/ 159 h 224"/>
                  <a:gd name="T78" fmla="*/ 142 w 156"/>
                  <a:gd name="T79" fmla="*/ 151 h 224"/>
                  <a:gd name="T80" fmla="*/ 146 w 156"/>
                  <a:gd name="T81" fmla="*/ 140 h 224"/>
                  <a:gd name="T82" fmla="*/ 144 w 156"/>
                  <a:gd name="T83" fmla="*/ 126 h 224"/>
                  <a:gd name="T84" fmla="*/ 136 w 156"/>
                  <a:gd name="T85" fmla="*/ 117 h 224"/>
                  <a:gd name="T86" fmla="*/ 135 w 156"/>
                  <a:gd name="T87" fmla="*/ 105 h 224"/>
                  <a:gd name="T88" fmla="*/ 136 w 156"/>
                  <a:gd name="T89" fmla="*/ 96 h 224"/>
                  <a:gd name="T90" fmla="*/ 131 w 156"/>
                  <a:gd name="T91" fmla="*/ 76 h 224"/>
                  <a:gd name="T92" fmla="*/ 135 w 156"/>
                  <a:gd name="T93" fmla="*/ 52 h 224"/>
                  <a:gd name="T94" fmla="*/ 131 w 156"/>
                  <a:gd name="T95" fmla="*/ 42 h 224"/>
                  <a:gd name="T96" fmla="*/ 129 w 156"/>
                  <a:gd name="T97" fmla="*/ 25 h 224"/>
                  <a:gd name="T98" fmla="*/ 4 w 156"/>
                  <a:gd name="T99" fmla="*/ 218 h 224"/>
                  <a:gd name="T100" fmla="*/ 10 w 156"/>
                  <a:gd name="T101" fmla="*/ 224 h 224"/>
                  <a:gd name="T102" fmla="*/ 6 w 156"/>
                  <a:gd name="T103" fmla="*/ 215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56" h="224">
                    <a:moveTo>
                      <a:pt x="133" y="19"/>
                    </a:moveTo>
                    <a:lnTo>
                      <a:pt x="131" y="19"/>
                    </a:lnTo>
                    <a:lnTo>
                      <a:pt x="131" y="19"/>
                    </a:lnTo>
                    <a:lnTo>
                      <a:pt x="127" y="17"/>
                    </a:lnTo>
                    <a:lnTo>
                      <a:pt x="123" y="15"/>
                    </a:lnTo>
                    <a:lnTo>
                      <a:pt x="119" y="11"/>
                    </a:lnTo>
                    <a:lnTo>
                      <a:pt x="115" y="5"/>
                    </a:lnTo>
                    <a:lnTo>
                      <a:pt x="111" y="0"/>
                    </a:lnTo>
                    <a:lnTo>
                      <a:pt x="108" y="4"/>
                    </a:lnTo>
                    <a:lnTo>
                      <a:pt x="102" y="5"/>
                    </a:lnTo>
                    <a:lnTo>
                      <a:pt x="98" y="5"/>
                    </a:lnTo>
                    <a:lnTo>
                      <a:pt x="94" y="4"/>
                    </a:lnTo>
                    <a:lnTo>
                      <a:pt x="92" y="7"/>
                    </a:lnTo>
                    <a:lnTo>
                      <a:pt x="90" y="9"/>
                    </a:lnTo>
                    <a:lnTo>
                      <a:pt x="87" y="11"/>
                    </a:lnTo>
                    <a:lnTo>
                      <a:pt x="85" y="15"/>
                    </a:lnTo>
                    <a:lnTo>
                      <a:pt x="83" y="17"/>
                    </a:lnTo>
                    <a:lnTo>
                      <a:pt x="83" y="19"/>
                    </a:lnTo>
                    <a:lnTo>
                      <a:pt x="83" y="23"/>
                    </a:lnTo>
                    <a:lnTo>
                      <a:pt x="83" y="27"/>
                    </a:lnTo>
                    <a:lnTo>
                      <a:pt x="81" y="32"/>
                    </a:lnTo>
                    <a:lnTo>
                      <a:pt x="77" y="34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67" y="34"/>
                    </a:lnTo>
                    <a:lnTo>
                      <a:pt x="67" y="34"/>
                    </a:lnTo>
                    <a:lnTo>
                      <a:pt x="64" y="32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0" y="34"/>
                    </a:lnTo>
                    <a:lnTo>
                      <a:pt x="44" y="34"/>
                    </a:lnTo>
                    <a:lnTo>
                      <a:pt x="31" y="19"/>
                    </a:lnTo>
                    <a:lnTo>
                      <a:pt x="27" y="19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19" y="27"/>
                    </a:lnTo>
                    <a:lnTo>
                      <a:pt x="23" y="28"/>
                    </a:lnTo>
                    <a:lnTo>
                      <a:pt x="27" y="30"/>
                    </a:lnTo>
                    <a:lnTo>
                      <a:pt x="29" y="36"/>
                    </a:lnTo>
                    <a:lnTo>
                      <a:pt x="35" y="38"/>
                    </a:lnTo>
                    <a:lnTo>
                      <a:pt x="40" y="40"/>
                    </a:lnTo>
                    <a:lnTo>
                      <a:pt x="44" y="42"/>
                    </a:lnTo>
                    <a:lnTo>
                      <a:pt x="46" y="46"/>
                    </a:lnTo>
                    <a:lnTo>
                      <a:pt x="50" y="50"/>
                    </a:lnTo>
                    <a:lnTo>
                      <a:pt x="52" y="52"/>
                    </a:lnTo>
                    <a:lnTo>
                      <a:pt x="52" y="55"/>
                    </a:lnTo>
                    <a:lnTo>
                      <a:pt x="52" y="59"/>
                    </a:lnTo>
                    <a:lnTo>
                      <a:pt x="52" y="63"/>
                    </a:lnTo>
                    <a:lnTo>
                      <a:pt x="54" y="65"/>
                    </a:lnTo>
                    <a:lnTo>
                      <a:pt x="54" y="69"/>
                    </a:lnTo>
                    <a:lnTo>
                      <a:pt x="54" y="75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4" y="84"/>
                    </a:lnTo>
                    <a:lnTo>
                      <a:pt x="56" y="92"/>
                    </a:lnTo>
                    <a:lnTo>
                      <a:pt x="64" y="92"/>
                    </a:lnTo>
                    <a:lnTo>
                      <a:pt x="73" y="94"/>
                    </a:lnTo>
                    <a:lnTo>
                      <a:pt x="75" y="101"/>
                    </a:lnTo>
                    <a:lnTo>
                      <a:pt x="75" y="109"/>
                    </a:lnTo>
                    <a:lnTo>
                      <a:pt x="69" y="115"/>
                    </a:lnTo>
                    <a:lnTo>
                      <a:pt x="64" y="121"/>
                    </a:lnTo>
                    <a:lnTo>
                      <a:pt x="60" y="126"/>
                    </a:lnTo>
                    <a:lnTo>
                      <a:pt x="58" y="134"/>
                    </a:lnTo>
                    <a:lnTo>
                      <a:pt x="50" y="140"/>
                    </a:lnTo>
                    <a:lnTo>
                      <a:pt x="42" y="144"/>
                    </a:lnTo>
                    <a:lnTo>
                      <a:pt x="42" y="147"/>
                    </a:lnTo>
                    <a:lnTo>
                      <a:pt x="42" y="151"/>
                    </a:lnTo>
                    <a:lnTo>
                      <a:pt x="40" y="149"/>
                    </a:lnTo>
                    <a:lnTo>
                      <a:pt x="39" y="147"/>
                    </a:lnTo>
                    <a:lnTo>
                      <a:pt x="35" y="153"/>
                    </a:lnTo>
                    <a:lnTo>
                      <a:pt x="33" y="159"/>
                    </a:lnTo>
                    <a:lnTo>
                      <a:pt x="31" y="159"/>
                    </a:lnTo>
                    <a:lnTo>
                      <a:pt x="33" y="169"/>
                    </a:lnTo>
                    <a:lnTo>
                      <a:pt x="37" y="176"/>
                    </a:lnTo>
                    <a:lnTo>
                      <a:pt x="37" y="182"/>
                    </a:lnTo>
                    <a:lnTo>
                      <a:pt x="35" y="190"/>
                    </a:lnTo>
                    <a:lnTo>
                      <a:pt x="35" y="194"/>
                    </a:lnTo>
                    <a:lnTo>
                      <a:pt x="35" y="199"/>
                    </a:lnTo>
                    <a:lnTo>
                      <a:pt x="37" y="197"/>
                    </a:lnTo>
                    <a:lnTo>
                      <a:pt x="39" y="197"/>
                    </a:lnTo>
                    <a:lnTo>
                      <a:pt x="39" y="201"/>
                    </a:lnTo>
                    <a:lnTo>
                      <a:pt x="39" y="205"/>
                    </a:lnTo>
                    <a:lnTo>
                      <a:pt x="40" y="203"/>
                    </a:lnTo>
                    <a:lnTo>
                      <a:pt x="42" y="203"/>
                    </a:lnTo>
                    <a:lnTo>
                      <a:pt x="44" y="203"/>
                    </a:lnTo>
                    <a:lnTo>
                      <a:pt x="44" y="203"/>
                    </a:lnTo>
                    <a:lnTo>
                      <a:pt x="48" y="205"/>
                    </a:lnTo>
                    <a:lnTo>
                      <a:pt x="52" y="207"/>
                    </a:lnTo>
                    <a:lnTo>
                      <a:pt x="52" y="209"/>
                    </a:lnTo>
                    <a:lnTo>
                      <a:pt x="52" y="211"/>
                    </a:lnTo>
                    <a:lnTo>
                      <a:pt x="50" y="211"/>
                    </a:lnTo>
                    <a:lnTo>
                      <a:pt x="46" y="211"/>
                    </a:lnTo>
                    <a:lnTo>
                      <a:pt x="44" y="218"/>
                    </a:lnTo>
                    <a:lnTo>
                      <a:pt x="46" y="218"/>
                    </a:lnTo>
                    <a:lnTo>
                      <a:pt x="50" y="218"/>
                    </a:lnTo>
                    <a:lnTo>
                      <a:pt x="52" y="215"/>
                    </a:lnTo>
                    <a:lnTo>
                      <a:pt x="54" y="215"/>
                    </a:lnTo>
                    <a:lnTo>
                      <a:pt x="56" y="215"/>
                    </a:lnTo>
                    <a:lnTo>
                      <a:pt x="56" y="217"/>
                    </a:lnTo>
                    <a:lnTo>
                      <a:pt x="56" y="220"/>
                    </a:lnTo>
                    <a:lnTo>
                      <a:pt x="58" y="220"/>
                    </a:lnTo>
                    <a:lnTo>
                      <a:pt x="62" y="222"/>
                    </a:lnTo>
                    <a:lnTo>
                      <a:pt x="65" y="220"/>
                    </a:lnTo>
                    <a:lnTo>
                      <a:pt x="69" y="220"/>
                    </a:lnTo>
                    <a:lnTo>
                      <a:pt x="73" y="215"/>
                    </a:lnTo>
                    <a:lnTo>
                      <a:pt x="79" y="211"/>
                    </a:lnTo>
                    <a:lnTo>
                      <a:pt x="81" y="211"/>
                    </a:lnTo>
                    <a:lnTo>
                      <a:pt x="85" y="211"/>
                    </a:lnTo>
                    <a:lnTo>
                      <a:pt x="83" y="209"/>
                    </a:lnTo>
                    <a:lnTo>
                      <a:pt x="83" y="207"/>
                    </a:lnTo>
                    <a:lnTo>
                      <a:pt x="94" y="205"/>
                    </a:lnTo>
                    <a:lnTo>
                      <a:pt x="100" y="207"/>
                    </a:lnTo>
                    <a:lnTo>
                      <a:pt x="111" y="197"/>
                    </a:lnTo>
                    <a:lnTo>
                      <a:pt x="133" y="184"/>
                    </a:lnTo>
                    <a:lnTo>
                      <a:pt x="156" y="169"/>
                    </a:lnTo>
                    <a:lnTo>
                      <a:pt x="154" y="165"/>
                    </a:lnTo>
                    <a:lnTo>
                      <a:pt x="154" y="159"/>
                    </a:lnTo>
                    <a:lnTo>
                      <a:pt x="150" y="157"/>
                    </a:lnTo>
                    <a:lnTo>
                      <a:pt x="144" y="155"/>
                    </a:lnTo>
                    <a:lnTo>
                      <a:pt x="142" y="151"/>
                    </a:lnTo>
                    <a:lnTo>
                      <a:pt x="142" y="147"/>
                    </a:lnTo>
                    <a:lnTo>
                      <a:pt x="144" y="144"/>
                    </a:lnTo>
                    <a:lnTo>
                      <a:pt x="146" y="140"/>
                    </a:lnTo>
                    <a:lnTo>
                      <a:pt x="146" y="136"/>
                    </a:lnTo>
                    <a:lnTo>
                      <a:pt x="144" y="130"/>
                    </a:lnTo>
                    <a:lnTo>
                      <a:pt x="144" y="126"/>
                    </a:lnTo>
                    <a:lnTo>
                      <a:pt x="140" y="124"/>
                    </a:lnTo>
                    <a:lnTo>
                      <a:pt x="138" y="119"/>
                    </a:lnTo>
                    <a:lnTo>
                      <a:pt x="136" y="117"/>
                    </a:lnTo>
                    <a:lnTo>
                      <a:pt x="136" y="115"/>
                    </a:lnTo>
                    <a:lnTo>
                      <a:pt x="135" y="109"/>
                    </a:lnTo>
                    <a:lnTo>
                      <a:pt x="135" y="105"/>
                    </a:lnTo>
                    <a:lnTo>
                      <a:pt x="136" y="101"/>
                    </a:lnTo>
                    <a:lnTo>
                      <a:pt x="136" y="98"/>
                    </a:lnTo>
                    <a:lnTo>
                      <a:pt x="136" y="96"/>
                    </a:lnTo>
                    <a:lnTo>
                      <a:pt x="136" y="90"/>
                    </a:lnTo>
                    <a:lnTo>
                      <a:pt x="135" y="88"/>
                    </a:lnTo>
                    <a:lnTo>
                      <a:pt x="131" y="76"/>
                    </a:lnTo>
                    <a:lnTo>
                      <a:pt x="127" y="63"/>
                    </a:lnTo>
                    <a:lnTo>
                      <a:pt x="131" y="57"/>
                    </a:lnTo>
                    <a:lnTo>
                      <a:pt x="135" y="52"/>
                    </a:lnTo>
                    <a:lnTo>
                      <a:pt x="135" y="44"/>
                    </a:lnTo>
                    <a:lnTo>
                      <a:pt x="133" y="40"/>
                    </a:lnTo>
                    <a:lnTo>
                      <a:pt x="131" y="42"/>
                    </a:lnTo>
                    <a:lnTo>
                      <a:pt x="129" y="40"/>
                    </a:lnTo>
                    <a:lnTo>
                      <a:pt x="127" y="30"/>
                    </a:lnTo>
                    <a:lnTo>
                      <a:pt x="129" y="25"/>
                    </a:lnTo>
                    <a:lnTo>
                      <a:pt x="133" y="19"/>
                    </a:lnTo>
                    <a:close/>
                    <a:moveTo>
                      <a:pt x="2" y="213"/>
                    </a:moveTo>
                    <a:lnTo>
                      <a:pt x="4" y="218"/>
                    </a:lnTo>
                    <a:lnTo>
                      <a:pt x="0" y="218"/>
                    </a:lnTo>
                    <a:lnTo>
                      <a:pt x="4" y="220"/>
                    </a:lnTo>
                    <a:lnTo>
                      <a:pt x="10" y="224"/>
                    </a:lnTo>
                    <a:lnTo>
                      <a:pt x="10" y="220"/>
                    </a:lnTo>
                    <a:lnTo>
                      <a:pt x="10" y="217"/>
                    </a:lnTo>
                    <a:lnTo>
                      <a:pt x="6" y="215"/>
                    </a:lnTo>
                    <a:lnTo>
                      <a:pt x="2" y="21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89" name="Freeform 187"/>
              <p:cNvSpPr>
                <a:spLocks/>
              </p:cNvSpPr>
              <p:nvPr/>
            </p:nvSpPr>
            <p:spPr bwMode="gray">
              <a:xfrm>
                <a:off x="7848129" y="4875214"/>
                <a:ext cx="26984" cy="19050"/>
              </a:xfrm>
              <a:custGeom>
                <a:avLst/>
                <a:gdLst>
                  <a:gd name="T0" fmla="*/ 11 w 17"/>
                  <a:gd name="T1" fmla="*/ 0 h 12"/>
                  <a:gd name="T2" fmla="*/ 8 w 17"/>
                  <a:gd name="T3" fmla="*/ 2 h 12"/>
                  <a:gd name="T4" fmla="*/ 2 w 17"/>
                  <a:gd name="T5" fmla="*/ 8 h 12"/>
                  <a:gd name="T6" fmla="*/ 0 w 17"/>
                  <a:gd name="T7" fmla="*/ 10 h 12"/>
                  <a:gd name="T8" fmla="*/ 0 w 17"/>
                  <a:gd name="T9" fmla="*/ 12 h 12"/>
                  <a:gd name="T10" fmla="*/ 0 w 17"/>
                  <a:gd name="T11" fmla="*/ 12 h 12"/>
                  <a:gd name="T12" fmla="*/ 4 w 17"/>
                  <a:gd name="T13" fmla="*/ 12 h 12"/>
                  <a:gd name="T14" fmla="*/ 10 w 17"/>
                  <a:gd name="T15" fmla="*/ 10 h 12"/>
                  <a:gd name="T16" fmla="*/ 15 w 17"/>
                  <a:gd name="T17" fmla="*/ 4 h 12"/>
                  <a:gd name="T18" fmla="*/ 17 w 17"/>
                  <a:gd name="T19" fmla="*/ 2 h 12"/>
                  <a:gd name="T20" fmla="*/ 17 w 17"/>
                  <a:gd name="T21" fmla="*/ 0 h 12"/>
                  <a:gd name="T22" fmla="*/ 15 w 17"/>
                  <a:gd name="T23" fmla="*/ 0 h 12"/>
                  <a:gd name="T24" fmla="*/ 11 w 17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12">
                    <a:moveTo>
                      <a:pt x="11" y="0"/>
                    </a:moveTo>
                    <a:lnTo>
                      <a:pt x="8" y="2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10" y="10"/>
                    </a:lnTo>
                    <a:lnTo>
                      <a:pt x="15" y="4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0" name="Freeform 188"/>
              <p:cNvSpPr>
                <a:spLocks/>
              </p:cNvSpPr>
              <p:nvPr/>
            </p:nvSpPr>
            <p:spPr bwMode="gray">
              <a:xfrm>
                <a:off x="7827494" y="4908551"/>
                <a:ext cx="23810" cy="15875"/>
              </a:xfrm>
              <a:custGeom>
                <a:avLst/>
                <a:gdLst>
                  <a:gd name="T0" fmla="*/ 9 w 15"/>
                  <a:gd name="T1" fmla="*/ 0 h 10"/>
                  <a:gd name="T2" fmla="*/ 5 w 15"/>
                  <a:gd name="T3" fmla="*/ 2 h 10"/>
                  <a:gd name="T4" fmla="*/ 1 w 15"/>
                  <a:gd name="T5" fmla="*/ 4 h 10"/>
                  <a:gd name="T6" fmla="*/ 0 w 15"/>
                  <a:gd name="T7" fmla="*/ 6 h 10"/>
                  <a:gd name="T8" fmla="*/ 0 w 15"/>
                  <a:gd name="T9" fmla="*/ 8 h 10"/>
                  <a:gd name="T10" fmla="*/ 1 w 15"/>
                  <a:gd name="T11" fmla="*/ 8 h 10"/>
                  <a:gd name="T12" fmla="*/ 3 w 15"/>
                  <a:gd name="T13" fmla="*/ 10 h 10"/>
                  <a:gd name="T14" fmla="*/ 11 w 15"/>
                  <a:gd name="T15" fmla="*/ 10 h 10"/>
                  <a:gd name="T16" fmla="*/ 15 w 15"/>
                  <a:gd name="T17" fmla="*/ 10 h 10"/>
                  <a:gd name="T18" fmla="*/ 15 w 15"/>
                  <a:gd name="T19" fmla="*/ 6 h 10"/>
                  <a:gd name="T20" fmla="*/ 15 w 15"/>
                  <a:gd name="T21" fmla="*/ 2 h 10"/>
                  <a:gd name="T22" fmla="*/ 13 w 15"/>
                  <a:gd name="T23" fmla="*/ 2 h 10"/>
                  <a:gd name="T24" fmla="*/ 9 w 15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10">
                    <a:moveTo>
                      <a:pt x="9" y="0"/>
                    </a:moveTo>
                    <a:lnTo>
                      <a:pt x="5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3" y="10"/>
                    </a:lnTo>
                    <a:lnTo>
                      <a:pt x="11" y="10"/>
                    </a:lnTo>
                    <a:lnTo>
                      <a:pt x="15" y="10"/>
                    </a:lnTo>
                    <a:lnTo>
                      <a:pt x="15" y="6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1" name="Freeform 189"/>
              <p:cNvSpPr>
                <a:spLocks noEditPoints="1"/>
              </p:cNvSpPr>
              <p:nvPr/>
            </p:nvSpPr>
            <p:spPr bwMode="gray">
              <a:xfrm>
                <a:off x="3114731" y="5807076"/>
                <a:ext cx="495245" cy="104775"/>
              </a:xfrm>
              <a:custGeom>
                <a:avLst/>
                <a:gdLst>
                  <a:gd name="T0" fmla="*/ 303 w 312"/>
                  <a:gd name="T1" fmla="*/ 58 h 66"/>
                  <a:gd name="T2" fmla="*/ 305 w 312"/>
                  <a:gd name="T3" fmla="*/ 62 h 66"/>
                  <a:gd name="T4" fmla="*/ 309 w 312"/>
                  <a:gd name="T5" fmla="*/ 66 h 66"/>
                  <a:gd name="T6" fmla="*/ 311 w 312"/>
                  <a:gd name="T7" fmla="*/ 64 h 66"/>
                  <a:gd name="T8" fmla="*/ 312 w 312"/>
                  <a:gd name="T9" fmla="*/ 62 h 66"/>
                  <a:gd name="T10" fmla="*/ 311 w 312"/>
                  <a:gd name="T11" fmla="*/ 62 h 66"/>
                  <a:gd name="T12" fmla="*/ 311 w 312"/>
                  <a:gd name="T13" fmla="*/ 58 h 66"/>
                  <a:gd name="T14" fmla="*/ 305 w 312"/>
                  <a:gd name="T15" fmla="*/ 60 h 66"/>
                  <a:gd name="T16" fmla="*/ 303 w 312"/>
                  <a:gd name="T17" fmla="*/ 58 h 66"/>
                  <a:gd name="T18" fmla="*/ 30 w 312"/>
                  <a:gd name="T19" fmla="*/ 0 h 66"/>
                  <a:gd name="T20" fmla="*/ 23 w 312"/>
                  <a:gd name="T21" fmla="*/ 8 h 66"/>
                  <a:gd name="T22" fmla="*/ 15 w 312"/>
                  <a:gd name="T23" fmla="*/ 16 h 66"/>
                  <a:gd name="T24" fmla="*/ 15 w 312"/>
                  <a:gd name="T25" fmla="*/ 18 h 66"/>
                  <a:gd name="T26" fmla="*/ 17 w 312"/>
                  <a:gd name="T27" fmla="*/ 19 h 66"/>
                  <a:gd name="T28" fmla="*/ 21 w 312"/>
                  <a:gd name="T29" fmla="*/ 21 h 66"/>
                  <a:gd name="T30" fmla="*/ 23 w 312"/>
                  <a:gd name="T31" fmla="*/ 16 h 66"/>
                  <a:gd name="T32" fmla="*/ 26 w 312"/>
                  <a:gd name="T33" fmla="*/ 18 h 66"/>
                  <a:gd name="T34" fmla="*/ 30 w 312"/>
                  <a:gd name="T35" fmla="*/ 18 h 66"/>
                  <a:gd name="T36" fmla="*/ 28 w 312"/>
                  <a:gd name="T37" fmla="*/ 12 h 66"/>
                  <a:gd name="T38" fmla="*/ 34 w 312"/>
                  <a:gd name="T39" fmla="*/ 12 h 66"/>
                  <a:gd name="T40" fmla="*/ 44 w 312"/>
                  <a:gd name="T41" fmla="*/ 10 h 66"/>
                  <a:gd name="T42" fmla="*/ 44 w 312"/>
                  <a:gd name="T43" fmla="*/ 6 h 66"/>
                  <a:gd name="T44" fmla="*/ 38 w 312"/>
                  <a:gd name="T45" fmla="*/ 6 h 66"/>
                  <a:gd name="T46" fmla="*/ 34 w 312"/>
                  <a:gd name="T47" fmla="*/ 6 h 66"/>
                  <a:gd name="T48" fmla="*/ 32 w 312"/>
                  <a:gd name="T49" fmla="*/ 2 h 66"/>
                  <a:gd name="T50" fmla="*/ 30 w 312"/>
                  <a:gd name="T51" fmla="*/ 0 h 66"/>
                  <a:gd name="T52" fmla="*/ 5 w 312"/>
                  <a:gd name="T53" fmla="*/ 0 h 66"/>
                  <a:gd name="T54" fmla="*/ 5 w 312"/>
                  <a:gd name="T55" fmla="*/ 6 h 66"/>
                  <a:gd name="T56" fmla="*/ 7 w 312"/>
                  <a:gd name="T57" fmla="*/ 10 h 66"/>
                  <a:gd name="T58" fmla="*/ 3 w 312"/>
                  <a:gd name="T59" fmla="*/ 12 h 66"/>
                  <a:gd name="T60" fmla="*/ 2 w 312"/>
                  <a:gd name="T61" fmla="*/ 12 h 66"/>
                  <a:gd name="T62" fmla="*/ 0 w 312"/>
                  <a:gd name="T63" fmla="*/ 14 h 66"/>
                  <a:gd name="T64" fmla="*/ 0 w 312"/>
                  <a:gd name="T65" fmla="*/ 18 h 66"/>
                  <a:gd name="T66" fmla="*/ 2 w 312"/>
                  <a:gd name="T67" fmla="*/ 18 h 66"/>
                  <a:gd name="T68" fmla="*/ 5 w 312"/>
                  <a:gd name="T69" fmla="*/ 18 h 66"/>
                  <a:gd name="T70" fmla="*/ 7 w 312"/>
                  <a:gd name="T71" fmla="*/ 16 h 66"/>
                  <a:gd name="T72" fmla="*/ 9 w 312"/>
                  <a:gd name="T73" fmla="*/ 12 h 66"/>
                  <a:gd name="T74" fmla="*/ 11 w 312"/>
                  <a:gd name="T75" fmla="*/ 14 h 66"/>
                  <a:gd name="T76" fmla="*/ 13 w 312"/>
                  <a:gd name="T77" fmla="*/ 14 h 66"/>
                  <a:gd name="T78" fmla="*/ 15 w 312"/>
                  <a:gd name="T79" fmla="*/ 10 h 66"/>
                  <a:gd name="T80" fmla="*/ 17 w 312"/>
                  <a:gd name="T81" fmla="*/ 6 h 66"/>
                  <a:gd name="T82" fmla="*/ 19 w 312"/>
                  <a:gd name="T83" fmla="*/ 4 h 66"/>
                  <a:gd name="T84" fmla="*/ 19 w 312"/>
                  <a:gd name="T85" fmla="*/ 4 h 66"/>
                  <a:gd name="T86" fmla="*/ 17 w 312"/>
                  <a:gd name="T87" fmla="*/ 2 h 66"/>
                  <a:gd name="T88" fmla="*/ 15 w 312"/>
                  <a:gd name="T89" fmla="*/ 0 h 66"/>
                  <a:gd name="T90" fmla="*/ 9 w 312"/>
                  <a:gd name="T91" fmla="*/ 0 h 66"/>
                  <a:gd name="T92" fmla="*/ 5 w 312"/>
                  <a:gd name="T9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2" h="66">
                    <a:moveTo>
                      <a:pt x="303" y="58"/>
                    </a:moveTo>
                    <a:lnTo>
                      <a:pt x="305" y="62"/>
                    </a:lnTo>
                    <a:lnTo>
                      <a:pt x="309" y="66"/>
                    </a:lnTo>
                    <a:lnTo>
                      <a:pt x="311" y="64"/>
                    </a:lnTo>
                    <a:lnTo>
                      <a:pt x="312" y="62"/>
                    </a:lnTo>
                    <a:lnTo>
                      <a:pt x="311" y="62"/>
                    </a:lnTo>
                    <a:lnTo>
                      <a:pt x="311" y="58"/>
                    </a:lnTo>
                    <a:lnTo>
                      <a:pt x="305" y="60"/>
                    </a:lnTo>
                    <a:lnTo>
                      <a:pt x="303" y="58"/>
                    </a:lnTo>
                    <a:close/>
                    <a:moveTo>
                      <a:pt x="30" y="0"/>
                    </a:moveTo>
                    <a:lnTo>
                      <a:pt x="23" y="8"/>
                    </a:lnTo>
                    <a:lnTo>
                      <a:pt x="15" y="16"/>
                    </a:lnTo>
                    <a:lnTo>
                      <a:pt x="15" y="18"/>
                    </a:lnTo>
                    <a:lnTo>
                      <a:pt x="17" y="19"/>
                    </a:lnTo>
                    <a:lnTo>
                      <a:pt x="21" y="21"/>
                    </a:lnTo>
                    <a:lnTo>
                      <a:pt x="23" y="16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28" y="12"/>
                    </a:lnTo>
                    <a:lnTo>
                      <a:pt x="34" y="12"/>
                    </a:lnTo>
                    <a:lnTo>
                      <a:pt x="44" y="10"/>
                    </a:lnTo>
                    <a:lnTo>
                      <a:pt x="44" y="6"/>
                    </a:lnTo>
                    <a:lnTo>
                      <a:pt x="38" y="6"/>
                    </a:lnTo>
                    <a:lnTo>
                      <a:pt x="34" y="6"/>
                    </a:lnTo>
                    <a:lnTo>
                      <a:pt x="32" y="2"/>
                    </a:lnTo>
                    <a:lnTo>
                      <a:pt x="30" y="0"/>
                    </a:lnTo>
                    <a:close/>
                    <a:moveTo>
                      <a:pt x="5" y="0"/>
                    </a:moveTo>
                    <a:lnTo>
                      <a:pt x="5" y="6"/>
                    </a:lnTo>
                    <a:lnTo>
                      <a:pt x="7" y="10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18"/>
                    </a:lnTo>
                    <a:lnTo>
                      <a:pt x="5" y="18"/>
                    </a:lnTo>
                    <a:lnTo>
                      <a:pt x="7" y="16"/>
                    </a:lnTo>
                    <a:lnTo>
                      <a:pt x="9" y="12"/>
                    </a:lnTo>
                    <a:lnTo>
                      <a:pt x="11" y="14"/>
                    </a:lnTo>
                    <a:lnTo>
                      <a:pt x="13" y="14"/>
                    </a:lnTo>
                    <a:lnTo>
                      <a:pt x="15" y="10"/>
                    </a:lnTo>
                    <a:lnTo>
                      <a:pt x="17" y="6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7" y="2"/>
                    </a:lnTo>
                    <a:lnTo>
                      <a:pt x="15" y="0"/>
                    </a:lnTo>
                    <a:lnTo>
                      <a:pt x="9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2" name="Freeform 190"/>
              <p:cNvSpPr>
                <a:spLocks noEditPoints="1"/>
              </p:cNvSpPr>
              <p:nvPr/>
            </p:nvSpPr>
            <p:spPr bwMode="gray">
              <a:xfrm>
                <a:off x="4975074" y="4089401"/>
                <a:ext cx="307941" cy="265113"/>
              </a:xfrm>
              <a:custGeom>
                <a:avLst/>
                <a:gdLst>
                  <a:gd name="T0" fmla="*/ 115 w 194"/>
                  <a:gd name="T1" fmla="*/ 42 h 167"/>
                  <a:gd name="T2" fmla="*/ 112 w 194"/>
                  <a:gd name="T3" fmla="*/ 56 h 167"/>
                  <a:gd name="T4" fmla="*/ 113 w 194"/>
                  <a:gd name="T5" fmla="*/ 63 h 167"/>
                  <a:gd name="T6" fmla="*/ 121 w 194"/>
                  <a:gd name="T7" fmla="*/ 63 h 167"/>
                  <a:gd name="T8" fmla="*/ 127 w 194"/>
                  <a:gd name="T9" fmla="*/ 63 h 167"/>
                  <a:gd name="T10" fmla="*/ 129 w 194"/>
                  <a:gd name="T11" fmla="*/ 75 h 167"/>
                  <a:gd name="T12" fmla="*/ 133 w 194"/>
                  <a:gd name="T13" fmla="*/ 82 h 167"/>
                  <a:gd name="T14" fmla="*/ 142 w 194"/>
                  <a:gd name="T15" fmla="*/ 88 h 167"/>
                  <a:gd name="T16" fmla="*/ 175 w 194"/>
                  <a:gd name="T17" fmla="*/ 105 h 167"/>
                  <a:gd name="T18" fmla="*/ 160 w 194"/>
                  <a:gd name="T19" fmla="*/ 153 h 167"/>
                  <a:gd name="T20" fmla="*/ 138 w 194"/>
                  <a:gd name="T21" fmla="*/ 159 h 167"/>
                  <a:gd name="T22" fmla="*/ 125 w 194"/>
                  <a:gd name="T23" fmla="*/ 161 h 167"/>
                  <a:gd name="T24" fmla="*/ 110 w 194"/>
                  <a:gd name="T25" fmla="*/ 163 h 167"/>
                  <a:gd name="T26" fmla="*/ 106 w 194"/>
                  <a:gd name="T27" fmla="*/ 157 h 167"/>
                  <a:gd name="T28" fmla="*/ 98 w 194"/>
                  <a:gd name="T29" fmla="*/ 161 h 167"/>
                  <a:gd name="T30" fmla="*/ 94 w 194"/>
                  <a:gd name="T31" fmla="*/ 167 h 167"/>
                  <a:gd name="T32" fmla="*/ 87 w 194"/>
                  <a:gd name="T33" fmla="*/ 167 h 167"/>
                  <a:gd name="T34" fmla="*/ 79 w 194"/>
                  <a:gd name="T35" fmla="*/ 165 h 167"/>
                  <a:gd name="T36" fmla="*/ 69 w 194"/>
                  <a:gd name="T37" fmla="*/ 163 h 167"/>
                  <a:gd name="T38" fmla="*/ 60 w 194"/>
                  <a:gd name="T39" fmla="*/ 165 h 167"/>
                  <a:gd name="T40" fmla="*/ 52 w 194"/>
                  <a:gd name="T41" fmla="*/ 165 h 167"/>
                  <a:gd name="T42" fmla="*/ 42 w 194"/>
                  <a:gd name="T43" fmla="*/ 165 h 167"/>
                  <a:gd name="T44" fmla="*/ 42 w 194"/>
                  <a:gd name="T45" fmla="*/ 157 h 167"/>
                  <a:gd name="T46" fmla="*/ 37 w 194"/>
                  <a:gd name="T47" fmla="*/ 153 h 167"/>
                  <a:gd name="T48" fmla="*/ 31 w 194"/>
                  <a:gd name="T49" fmla="*/ 152 h 167"/>
                  <a:gd name="T50" fmla="*/ 25 w 194"/>
                  <a:gd name="T51" fmla="*/ 142 h 167"/>
                  <a:gd name="T52" fmla="*/ 23 w 194"/>
                  <a:gd name="T53" fmla="*/ 130 h 167"/>
                  <a:gd name="T54" fmla="*/ 17 w 194"/>
                  <a:gd name="T55" fmla="*/ 125 h 167"/>
                  <a:gd name="T56" fmla="*/ 12 w 194"/>
                  <a:gd name="T57" fmla="*/ 119 h 167"/>
                  <a:gd name="T58" fmla="*/ 2 w 194"/>
                  <a:gd name="T59" fmla="*/ 117 h 167"/>
                  <a:gd name="T60" fmla="*/ 0 w 194"/>
                  <a:gd name="T61" fmla="*/ 109 h 167"/>
                  <a:gd name="T62" fmla="*/ 2 w 194"/>
                  <a:gd name="T63" fmla="*/ 107 h 167"/>
                  <a:gd name="T64" fmla="*/ 10 w 194"/>
                  <a:gd name="T65" fmla="*/ 105 h 167"/>
                  <a:gd name="T66" fmla="*/ 12 w 194"/>
                  <a:gd name="T67" fmla="*/ 102 h 167"/>
                  <a:gd name="T68" fmla="*/ 14 w 194"/>
                  <a:gd name="T69" fmla="*/ 90 h 167"/>
                  <a:gd name="T70" fmla="*/ 16 w 194"/>
                  <a:gd name="T71" fmla="*/ 77 h 167"/>
                  <a:gd name="T72" fmla="*/ 19 w 194"/>
                  <a:gd name="T73" fmla="*/ 61 h 167"/>
                  <a:gd name="T74" fmla="*/ 21 w 194"/>
                  <a:gd name="T75" fmla="*/ 58 h 167"/>
                  <a:gd name="T76" fmla="*/ 29 w 194"/>
                  <a:gd name="T77" fmla="*/ 54 h 167"/>
                  <a:gd name="T78" fmla="*/ 33 w 194"/>
                  <a:gd name="T79" fmla="*/ 48 h 167"/>
                  <a:gd name="T80" fmla="*/ 37 w 194"/>
                  <a:gd name="T81" fmla="*/ 38 h 167"/>
                  <a:gd name="T82" fmla="*/ 41 w 194"/>
                  <a:gd name="T83" fmla="*/ 25 h 167"/>
                  <a:gd name="T84" fmla="*/ 48 w 194"/>
                  <a:gd name="T85" fmla="*/ 13 h 167"/>
                  <a:gd name="T86" fmla="*/ 58 w 194"/>
                  <a:gd name="T87" fmla="*/ 8 h 167"/>
                  <a:gd name="T88" fmla="*/ 64 w 194"/>
                  <a:gd name="T89" fmla="*/ 8 h 167"/>
                  <a:gd name="T90" fmla="*/ 65 w 194"/>
                  <a:gd name="T91" fmla="*/ 11 h 167"/>
                  <a:gd name="T92" fmla="*/ 69 w 194"/>
                  <a:gd name="T93" fmla="*/ 0 h 167"/>
                  <a:gd name="T94" fmla="*/ 77 w 194"/>
                  <a:gd name="T95" fmla="*/ 4 h 167"/>
                  <a:gd name="T96" fmla="*/ 85 w 194"/>
                  <a:gd name="T97" fmla="*/ 6 h 167"/>
                  <a:gd name="T98" fmla="*/ 92 w 194"/>
                  <a:gd name="T99" fmla="*/ 11 h 167"/>
                  <a:gd name="T100" fmla="*/ 104 w 194"/>
                  <a:gd name="T101" fmla="*/ 15 h 167"/>
                  <a:gd name="T102" fmla="*/ 113 w 194"/>
                  <a:gd name="T103" fmla="*/ 27 h 167"/>
                  <a:gd name="T104" fmla="*/ 117 w 194"/>
                  <a:gd name="T105" fmla="*/ 34 h 167"/>
                  <a:gd name="T106" fmla="*/ 65 w 194"/>
                  <a:gd name="T107" fmla="*/ 34 h 167"/>
                  <a:gd name="T108" fmla="*/ 71 w 194"/>
                  <a:gd name="T109" fmla="*/ 38 h 167"/>
                  <a:gd name="T110" fmla="*/ 65 w 194"/>
                  <a:gd name="T111" fmla="*/ 44 h 167"/>
                  <a:gd name="T112" fmla="*/ 60 w 194"/>
                  <a:gd name="T113" fmla="*/ 38 h 167"/>
                  <a:gd name="T114" fmla="*/ 62 w 194"/>
                  <a:gd name="T115" fmla="*/ 36 h 167"/>
                  <a:gd name="T116" fmla="*/ 65 w 194"/>
                  <a:gd name="T117" fmla="*/ 34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94" h="167">
                    <a:moveTo>
                      <a:pt x="119" y="36"/>
                    </a:moveTo>
                    <a:lnTo>
                      <a:pt x="115" y="42"/>
                    </a:lnTo>
                    <a:lnTo>
                      <a:pt x="113" y="50"/>
                    </a:lnTo>
                    <a:lnTo>
                      <a:pt x="112" y="56"/>
                    </a:lnTo>
                    <a:lnTo>
                      <a:pt x="112" y="59"/>
                    </a:lnTo>
                    <a:lnTo>
                      <a:pt x="113" y="63"/>
                    </a:lnTo>
                    <a:lnTo>
                      <a:pt x="117" y="63"/>
                    </a:lnTo>
                    <a:lnTo>
                      <a:pt x="121" y="63"/>
                    </a:lnTo>
                    <a:lnTo>
                      <a:pt x="123" y="63"/>
                    </a:lnTo>
                    <a:lnTo>
                      <a:pt x="127" y="63"/>
                    </a:lnTo>
                    <a:lnTo>
                      <a:pt x="123" y="69"/>
                    </a:lnTo>
                    <a:lnTo>
                      <a:pt x="129" y="75"/>
                    </a:lnTo>
                    <a:lnTo>
                      <a:pt x="131" y="79"/>
                    </a:lnTo>
                    <a:lnTo>
                      <a:pt x="133" y="82"/>
                    </a:lnTo>
                    <a:lnTo>
                      <a:pt x="136" y="86"/>
                    </a:lnTo>
                    <a:lnTo>
                      <a:pt x="142" y="88"/>
                    </a:lnTo>
                    <a:lnTo>
                      <a:pt x="160" y="98"/>
                    </a:lnTo>
                    <a:lnTo>
                      <a:pt x="175" y="105"/>
                    </a:lnTo>
                    <a:lnTo>
                      <a:pt x="194" y="104"/>
                    </a:lnTo>
                    <a:lnTo>
                      <a:pt x="160" y="153"/>
                    </a:lnTo>
                    <a:lnTo>
                      <a:pt x="144" y="155"/>
                    </a:lnTo>
                    <a:lnTo>
                      <a:pt x="138" y="159"/>
                    </a:lnTo>
                    <a:lnTo>
                      <a:pt x="127" y="159"/>
                    </a:lnTo>
                    <a:lnTo>
                      <a:pt x="125" y="161"/>
                    </a:lnTo>
                    <a:lnTo>
                      <a:pt x="117" y="163"/>
                    </a:lnTo>
                    <a:lnTo>
                      <a:pt x="110" y="163"/>
                    </a:lnTo>
                    <a:lnTo>
                      <a:pt x="106" y="159"/>
                    </a:lnTo>
                    <a:lnTo>
                      <a:pt x="106" y="157"/>
                    </a:lnTo>
                    <a:lnTo>
                      <a:pt x="104" y="161"/>
                    </a:lnTo>
                    <a:lnTo>
                      <a:pt x="98" y="161"/>
                    </a:lnTo>
                    <a:lnTo>
                      <a:pt x="94" y="163"/>
                    </a:lnTo>
                    <a:lnTo>
                      <a:pt x="94" y="167"/>
                    </a:lnTo>
                    <a:lnTo>
                      <a:pt x="90" y="167"/>
                    </a:lnTo>
                    <a:lnTo>
                      <a:pt x="87" y="167"/>
                    </a:lnTo>
                    <a:lnTo>
                      <a:pt x="83" y="167"/>
                    </a:lnTo>
                    <a:lnTo>
                      <a:pt x="79" y="165"/>
                    </a:lnTo>
                    <a:lnTo>
                      <a:pt x="73" y="163"/>
                    </a:lnTo>
                    <a:lnTo>
                      <a:pt x="69" y="163"/>
                    </a:lnTo>
                    <a:lnTo>
                      <a:pt x="65" y="165"/>
                    </a:lnTo>
                    <a:lnTo>
                      <a:pt x="60" y="165"/>
                    </a:lnTo>
                    <a:lnTo>
                      <a:pt x="56" y="165"/>
                    </a:lnTo>
                    <a:lnTo>
                      <a:pt x="52" y="165"/>
                    </a:lnTo>
                    <a:lnTo>
                      <a:pt x="46" y="165"/>
                    </a:lnTo>
                    <a:lnTo>
                      <a:pt x="42" y="165"/>
                    </a:lnTo>
                    <a:lnTo>
                      <a:pt x="42" y="161"/>
                    </a:lnTo>
                    <a:lnTo>
                      <a:pt x="42" y="157"/>
                    </a:lnTo>
                    <a:lnTo>
                      <a:pt x="39" y="153"/>
                    </a:lnTo>
                    <a:lnTo>
                      <a:pt x="37" y="153"/>
                    </a:lnTo>
                    <a:lnTo>
                      <a:pt x="37" y="153"/>
                    </a:lnTo>
                    <a:lnTo>
                      <a:pt x="31" y="152"/>
                    </a:lnTo>
                    <a:lnTo>
                      <a:pt x="29" y="148"/>
                    </a:lnTo>
                    <a:lnTo>
                      <a:pt x="25" y="142"/>
                    </a:lnTo>
                    <a:lnTo>
                      <a:pt x="23" y="134"/>
                    </a:lnTo>
                    <a:lnTo>
                      <a:pt x="23" y="130"/>
                    </a:lnTo>
                    <a:lnTo>
                      <a:pt x="19" y="129"/>
                    </a:lnTo>
                    <a:lnTo>
                      <a:pt x="17" y="125"/>
                    </a:lnTo>
                    <a:lnTo>
                      <a:pt x="14" y="121"/>
                    </a:lnTo>
                    <a:lnTo>
                      <a:pt x="12" y="119"/>
                    </a:lnTo>
                    <a:lnTo>
                      <a:pt x="8" y="117"/>
                    </a:lnTo>
                    <a:lnTo>
                      <a:pt x="2" y="117"/>
                    </a:lnTo>
                    <a:lnTo>
                      <a:pt x="0" y="115"/>
                    </a:lnTo>
                    <a:lnTo>
                      <a:pt x="0" y="109"/>
                    </a:lnTo>
                    <a:lnTo>
                      <a:pt x="2" y="107"/>
                    </a:lnTo>
                    <a:lnTo>
                      <a:pt x="2" y="107"/>
                    </a:lnTo>
                    <a:lnTo>
                      <a:pt x="6" y="105"/>
                    </a:lnTo>
                    <a:lnTo>
                      <a:pt x="10" y="105"/>
                    </a:lnTo>
                    <a:lnTo>
                      <a:pt x="12" y="104"/>
                    </a:lnTo>
                    <a:lnTo>
                      <a:pt x="12" y="102"/>
                    </a:lnTo>
                    <a:lnTo>
                      <a:pt x="14" y="96"/>
                    </a:lnTo>
                    <a:lnTo>
                      <a:pt x="14" y="90"/>
                    </a:lnTo>
                    <a:lnTo>
                      <a:pt x="14" y="82"/>
                    </a:lnTo>
                    <a:lnTo>
                      <a:pt x="16" y="77"/>
                    </a:lnTo>
                    <a:lnTo>
                      <a:pt x="19" y="67"/>
                    </a:lnTo>
                    <a:lnTo>
                      <a:pt x="19" y="61"/>
                    </a:lnTo>
                    <a:lnTo>
                      <a:pt x="19" y="59"/>
                    </a:lnTo>
                    <a:lnTo>
                      <a:pt x="21" y="58"/>
                    </a:lnTo>
                    <a:lnTo>
                      <a:pt x="25" y="56"/>
                    </a:lnTo>
                    <a:lnTo>
                      <a:pt x="29" y="54"/>
                    </a:lnTo>
                    <a:lnTo>
                      <a:pt x="31" y="52"/>
                    </a:lnTo>
                    <a:lnTo>
                      <a:pt x="33" y="48"/>
                    </a:lnTo>
                    <a:lnTo>
                      <a:pt x="35" y="44"/>
                    </a:lnTo>
                    <a:lnTo>
                      <a:pt x="37" y="38"/>
                    </a:lnTo>
                    <a:lnTo>
                      <a:pt x="39" y="33"/>
                    </a:lnTo>
                    <a:lnTo>
                      <a:pt x="41" y="25"/>
                    </a:lnTo>
                    <a:lnTo>
                      <a:pt x="44" y="21"/>
                    </a:lnTo>
                    <a:lnTo>
                      <a:pt x="48" y="13"/>
                    </a:lnTo>
                    <a:lnTo>
                      <a:pt x="52" y="10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4" y="8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73" y="0"/>
                    </a:lnTo>
                    <a:lnTo>
                      <a:pt x="77" y="4"/>
                    </a:lnTo>
                    <a:lnTo>
                      <a:pt x="81" y="8"/>
                    </a:lnTo>
                    <a:lnTo>
                      <a:pt x="85" y="6"/>
                    </a:lnTo>
                    <a:lnTo>
                      <a:pt x="87" y="8"/>
                    </a:lnTo>
                    <a:lnTo>
                      <a:pt x="92" y="11"/>
                    </a:lnTo>
                    <a:lnTo>
                      <a:pt x="100" y="13"/>
                    </a:lnTo>
                    <a:lnTo>
                      <a:pt x="104" y="15"/>
                    </a:lnTo>
                    <a:lnTo>
                      <a:pt x="110" y="21"/>
                    </a:lnTo>
                    <a:lnTo>
                      <a:pt x="113" y="27"/>
                    </a:lnTo>
                    <a:lnTo>
                      <a:pt x="115" y="33"/>
                    </a:lnTo>
                    <a:lnTo>
                      <a:pt x="117" y="34"/>
                    </a:lnTo>
                    <a:lnTo>
                      <a:pt x="119" y="36"/>
                    </a:lnTo>
                    <a:close/>
                    <a:moveTo>
                      <a:pt x="65" y="34"/>
                    </a:moveTo>
                    <a:lnTo>
                      <a:pt x="69" y="36"/>
                    </a:lnTo>
                    <a:lnTo>
                      <a:pt x="71" y="38"/>
                    </a:lnTo>
                    <a:lnTo>
                      <a:pt x="67" y="42"/>
                    </a:lnTo>
                    <a:lnTo>
                      <a:pt x="65" y="44"/>
                    </a:lnTo>
                    <a:lnTo>
                      <a:pt x="62" y="42"/>
                    </a:lnTo>
                    <a:lnTo>
                      <a:pt x="60" y="38"/>
                    </a:lnTo>
                    <a:lnTo>
                      <a:pt x="60" y="36"/>
                    </a:lnTo>
                    <a:lnTo>
                      <a:pt x="62" y="36"/>
                    </a:lnTo>
                    <a:lnTo>
                      <a:pt x="62" y="34"/>
                    </a:lnTo>
                    <a:lnTo>
                      <a:pt x="65" y="3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3" name="Freeform 191"/>
              <p:cNvSpPr>
                <a:spLocks/>
              </p:cNvSpPr>
              <p:nvPr/>
            </p:nvSpPr>
            <p:spPr bwMode="gray">
              <a:xfrm>
                <a:off x="4771897" y="2859089"/>
                <a:ext cx="11111" cy="14288"/>
              </a:xfrm>
              <a:custGeom>
                <a:avLst/>
                <a:gdLst>
                  <a:gd name="T0" fmla="*/ 3 w 7"/>
                  <a:gd name="T1" fmla="*/ 0 h 9"/>
                  <a:gd name="T2" fmla="*/ 2 w 7"/>
                  <a:gd name="T3" fmla="*/ 2 h 9"/>
                  <a:gd name="T4" fmla="*/ 0 w 7"/>
                  <a:gd name="T5" fmla="*/ 2 h 9"/>
                  <a:gd name="T6" fmla="*/ 2 w 7"/>
                  <a:gd name="T7" fmla="*/ 5 h 9"/>
                  <a:gd name="T8" fmla="*/ 3 w 7"/>
                  <a:gd name="T9" fmla="*/ 9 h 9"/>
                  <a:gd name="T10" fmla="*/ 5 w 7"/>
                  <a:gd name="T11" fmla="*/ 7 h 9"/>
                  <a:gd name="T12" fmla="*/ 7 w 7"/>
                  <a:gd name="T13" fmla="*/ 7 h 9"/>
                  <a:gd name="T14" fmla="*/ 7 w 7"/>
                  <a:gd name="T15" fmla="*/ 3 h 9"/>
                  <a:gd name="T16" fmla="*/ 7 w 7"/>
                  <a:gd name="T17" fmla="*/ 0 h 9"/>
                  <a:gd name="T18" fmla="*/ 3 w 7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3" y="9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4" name="Freeform 192"/>
              <p:cNvSpPr>
                <a:spLocks/>
              </p:cNvSpPr>
              <p:nvPr/>
            </p:nvSpPr>
            <p:spPr bwMode="gray">
              <a:xfrm>
                <a:off x="4765547" y="2879726"/>
                <a:ext cx="23810" cy="19050"/>
              </a:xfrm>
              <a:custGeom>
                <a:avLst/>
                <a:gdLst>
                  <a:gd name="T0" fmla="*/ 6 w 15"/>
                  <a:gd name="T1" fmla="*/ 0 h 12"/>
                  <a:gd name="T2" fmla="*/ 2 w 15"/>
                  <a:gd name="T3" fmla="*/ 2 h 12"/>
                  <a:gd name="T4" fmla="*/ 0 w 15"/>
                  <a:gd name="T5" fmla="*/ 4 h 12"/>
                  <a:gd name="T6" fmla="*/ 0 w 15"/>
                  <a:gd name="T7" fmla="*/ 6 h 12"/>
                  <a:gd name="T8" fmla="*/ 0 w 15"/>
                  <a:gd name="T9" fmla="*/ 8 h 12"/>
                  <a:gd name="T10" fmla="*/ 2 w 15"/>
                  <a:gd name="T11" fmla="*/ 10 h 12"/>
                  <a:gd name="T12" fmla="*/ 6 w 15"/>
                  <a:gd name="T13" fmla="*/ 12 h 12"/>
                  <a:gd name="T14" fmla="*/ 9 w 15"/>
                  <a:gd name="T15" fmla="*/ 12 h 12"/>
                  <a:gd name="T16" fmla="*/ 13 w 15"/>
                  <a:gd name="T17" fmla="*/ 10 h 12"/>
                  <a:gd name="T18" fmla="*/ 13 w 15"/>
                  <a:gd name="T19" fmla="*/ 6 h 12"/>
                  <a:gd name="T20" fmla="*/ 15 w 15"/>
                  <a:gd name="T21" fmla="*/ 4 h 12"/>
                  <a:gd name="T22" fmla="*/ 15 w 15"/>
                  <a:gd name="T23" fmla="*/ 2 h 12"/>
                  <a:gd name="T24" fmla="*/ 13 w 15"/>
                  <a:gd name="T25" fmla="*/ 0 h 12"/>
                  <a:gd name="T26" fmla="*/ 6 w 15"/>
                  <a:gd name="T2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" h="12">
                    <a:moveTo>
                      <a:pt x="6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2"/>
                    </a:lnTo>
                    <a:lnTo>
                      <a:pt x="9" y="12"/>
                    </a:lnTo>
                    <a:lnTo>
                      <a:pt x="13" y="10"/>
                    </a:lnTo>
                    <a:lnTo>
                      <a:pt x="13" y="6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5" name="Freeform 193"/>
              <p:cNvSpPr>
                <a:spLocks/>
              </p:cNvSpPr>
              <p:nvPr/>
            </p:nvSpPr>
            <p:spPr bwMode="gray">
              <a:xfrm>
                <a:off x="4802056" y="2846389"/>
                <a:ext cx="90477" cy="69850"/>
              </a:xfrm>
              <a:custGeom>
                <a:avLst/>
                <a:gdLst>
                  <a:gd name="T0" fmla="*/ 52 w 57"/>
                  <a:gd name="T1" fmla="*/ 15 h 44"/>
                  <a:gd name="T2" fmla="*/ 55 w 57"/>
                  <a:gd name="T3" fmla="*/ 11 h 44"/>
                  <a:gd name="T4" fmla="*/ 55 w 57"/>
                  <a:gd name="T5" fmla="*/ 10 h 44"/>
                  <a:gd name="T6" fmla="*/ 57 w 57"/>
                  <a:gd name="T7" fmla="*/ 8 h 44"/>
                  <a:gd name="T8" fmla="*/ 55 w 57"/>
                  <a:gd name="T9" fmla="*/ 4 h 44"/>
                  <a:gd name="T10" fmla="*/ 54 w 57"/>
                  <a:gd name="T11" fmla="*/ 2 h 44"/>
                  <a:gd name="T12" fmla="*/ 54 w 57"/>
                  <a:gd name="T13" fmla="*/ 4 h 44"/>
                  <a:gd name="T14" fmla="*/ 54 w 57"/>
                  <a:gd name="T15" fmla="*/ 6 h 44"/>
                  <a:gd name="T16" fmla="*/ 40 w 57"/>
                  <a:gd name="T17" fmla="*/ 2 h 44"/>
                  <a:gd name="T18" fmla="*/ 27 w 57"/>
                  <a:gd name="T19" fmla="*/ 0 h 44"/>
                  <a:gd name="T20" fmla="*/ 25 w 57"/>
                  <a:gd name="T21" fmla="*/ 2 h 44"/>
                  <a:gd name="T22" fmla="*/ 23 w 57"/>
                  <a:gd name="T23" fmla="*/ 4 h 44"/>
                  <a:gd name="T24" fmla="*/ 17 w 57"/>
                  <a:gd name="T25" fmla="*/ 4 h 44"/>
                  <a:gd name="T26" fmla="*/ 13 w 57"/>
                  <a:gd name="T27" fmla="*/ 4 h 44"/>
                  <a:gd name="T28" fmla="*/ 6 w 57"/>
                  <a:gd name="T29" fmla="*/ 6 h 44"/>
                  <a:gd name="T30" fmla="*/ 0 w 57"/>
                  <a:gd name="T31" fmla="*/ 10 h 44"/>
                  <a:gd name="T32" fmla="*/ 0 w 57"/>
                  <a:gd name="T33" fmla="*/ 15 h 44"/>
                  <a:gd name="T34" fmla="*/ 0 w 57"/>
                  <a:gd name="T35" fmla="*/ 25 h 44"/>
                  <a:gd name="T36" fmla="*/ 6 w 57"/>
                  <a:gd name="T37" fmla="*/ 27 h 44"/>
                  <a:gd name="T38" fmla="*/ 6 w 57"/>
                  <a:gd name="T39" fmla="*/ 31 h 44"/>
                  <a:gd name="T40" fmla="*/ 6 w 57"/>
                  <a:gd name="T41" fmla="*/ 35 h 44"/>
                  <a:gd name="T42" fmla="*/ 8 w 57"/>
                  <a:gd name="T43" fmla="*/ 35 h 44"/>
                  <a:gd name="T44" fmla="*/ 11 w 57"/>
                  <a:gd name="T45" fmla="*/ 35 h 44"/>
                  <a:gd name="T46" fmla="*/ 15 w 57"/>
                  <a:gd name="T47" fmla="*/ 33 h 44"/>
                  <a:gd name="T48" fmla="*/ 15 w 57"/>
                  <a:gd name="T49" fmla="*/ 33 h 44"/>
                  <a:gd name="T50" fmla="*/ 17 w 57"/>
                  <a:gd name="T51" fmla="*/ 33 h 44"/>
                  <a:gd name="T52" fmla="*/ 23 w 57"/>
                  <a:gd name="T53" fmla="*/ 33 h 44"/>
                  <a:gd name="T54" fmla="*/ 27 w 57"/>
                  <a:gd name="T55" fmla="*/ 36 h 44"/>
                  <a:gd name="T56" fmla="*/ 29 w 57"/>
                  <a:gd name="T57" fmla="*/ 38 h 44"/>
                  <a:gd name="T58" fmla="*/ 32 w 57"/>
                  <a:gd name="T59" fmla="*/ 38 h 44"/>
                  <a:gd name="T60" fmla="*/ 34 w 57"/>
                  <a:gd name="T61" fmla="*/ 44 h 44"/>
                  <a:gd name="T62" fmla="*/ 42 w 57"/>
                  <a:gd name="T63" fmla="*/ 42 h 44"/>
                  <a:gd name="T64" fmla="*/ 42 w 57"/>
                  <a:gd name="T65" fmla="*/ 38 h 44"/>
                  <a:gd name="T66" fmla="*/ 44 w 57"/>
                  <a:gd name="T67" fmla="*/ 35 h 44"/>
                  <a:gd name="T68" fmla="*/ 46 w 57"/>
                  <a:gd name="T69" fmla="*/ 33 h 44"/>
                  <a:gd name="T70" fmla="*/ 48 w 57"/>
                  <a:gd name="T71" fmla="*/ 31 h 44"/>
                  <a:gd name="T72" fmla="*/ 46 w 57"/>
                  <a:gd name="T73" fmla="*/ 25 h 44"/>
                  <a:gd name="T74" fmla="*/ 44 w 57"/>
                  <a:gd name="T75" fmla="*/ 21 h 44"/>
                  <a:gd name="T76" fmla="*/ 44 w 57"/>
                  <a:gd name="T77" fmla="*/ 17 h 44"/>
                  <a:gd name="T78" fmla="*/ 48 w 57"/>
                  <a:gd name="T79" fmla="*/ 15 h 44"/>
                  <a:gd name="T80" fmla="*/ 52 w 57"/>
                  <a:gd name="T81" fmla="*/ 15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7" h="44">
                    <a:moveTo>
                      <a:pt x="52" y="15"/>
                    </a:moveTo>
                    <a:lnTo>
                      <a:pt x="55" y="11"/>
                    </a:lnTo>
                    <a:lnTo>
                      <a:pt x="55" y="10"/>
                    </a:lnTo>
                    <a:lnTo>
                      <a:pt x="57" y="8"/>
                    </a:lnTo>
                    <a:lnTo>
                      <a:pt x="55" y="4"/>
                    </a:lnTo>
                    <a:lnTo>
                      <a:pt x="54" y="2"/>
                    </a:lnTo>
                    <a:lnTo>
                      <a:pt x="54" y="4"/>
                    </a:lnTo>
                    <a:lnTo>
                      <a:pt x="54" y="6"/>
                    </a:lnTo>
                    <a:lnTo>
                      <a:pt x="40" y="2"/>
                    </a:lnTo>
                    <a:lnTo>
                      <a:pt x="27" y="0"/>
                    </a:lnTo>
                    <a:lnTo>
                      <a:pt x="25" y="2"/>
                    </a:lnTo>
                    <a:lnTo>
                      <a:pt x="23" y="4"/>
                    </a:lnTo>
                    <a:lnTo>
                      <a:pt x="17" y="4"/>
                    </a:lnTo>
                    <a:lnTo>
                      <a:pt x="13" y="4"/>
                    </a:lnTo>
                    <a:lnTo>
                      <a:pt x="6" y="6"/>
                    </a:lnTo>
                    <a:lnTo>
                      <a:pt x="0" y="10"/>
                    </a:lnTo>
                    <a:lnTo>
                      <a:pt x="0" y="15"/>
                    </a:lnTo>
                    <a:lnTo>
                      <a:pt x="0" y="25"/>
                    </a:lnTo>
                    <a:lnTo>
                      <a:pt x="6" y="27"/>
                    </a:lnTo>
                    <a:lnTo>
                      <a:pt x="6" y="31"/>
                    </a:lnTo>
                    <a:lnTo>
                      <a:pt x="6" y="35"/>
                    </a:lnTo>
                    <a:lnTo>
                      <a:pt x="8" y="35"/>
                    </a:lnTo>
                    <a:lnTo>
                      <a:pt x="11" y="35"/>
                    </a:lnTo>
                    <a:lnTo>
                      <a:pt x="15" y="33"/>
                    </a:lnTo>
                    <a:lnTo>
                      <a:pt x="15" y="33"/>
                    </a:lnTo>
                    <a:lnTo>
                      <a:pt x="17" y="33"/>
                    </a:lnTo>
                    <a:lnTo>
                      <a:pt x="23" y="33"/>
                    </a:lnTo>
                    <a:lnTo>
                      <a:pt x="27" y="36"/>
                    </a:lnTo>
                    <a:lnTo>
                      <a:pt x="29" y="38"/>
                    </a:lnTo>
                    <a:lnTo>
                      <a:pt x="32" y="38"/>
                    </a:lnTo>
                    <a:lnTo>
                      <a:pt x="34" y="44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8" y="31"/>
                    </a:lnTo>
                    <a:lnTo>
                      <a:pt x="46" y="25"/>
                    </a:lnTo>
                    <a:lnTo>
                      <a:pt x="44" y="21"/>
                    </a:lnTo>
                    <a:lnTo>
                      <a:pt x="44" y="17"/>
                    </a:lnTo>
                    <a:lnTo>
                      <a:pt x="48" y="15"/>
                    </a:lnTo>
                    <a:lnTo>
                      <a:pt x="52" y="1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6" name="Freeform 194"/>
              <p:cNvSpPr>
                <a:spLocks/>
              </p:cNvSpPr>
              <p:nvPr/>
            </p:nvSpPr>
            <p:spPr bwMode="gray">
              <a:xfrm>
                <a:off x="5054440" y="3997326"/>
                <a:ext cx="134922" cy="149225"/>
              </a:xfrm>
              <a:custGeom>
                <a:avLst/>
                <a:gdLst>
                  <a:gd name="T0" fmla="*/ 29 w 85"/>
                  <a:gd name="T1" fmla="*/ 0 h 94"/>
                  <a:gd name="T2" fmla="*/ 25 w 85"/>
                  <a:gd name="T3" fmla="*/ 6 h 94"/>
                  <a:gd name="T4" fmla="*/ 17 w 85"/>
                  <a:gd name="T5" fmla="*/ 6 h 94"/>
                  <a:gd name="T6" fmla="*/ 14 w 85"/>
                  <a:gd name="T7" fmla="*/ 6 h 94"/>
                  <a:gd name="T8" fmla="*/ 10 w 85"/>
                  <a:gd name="T9" fmla="*/ 10 h 94"/>
                  <a:gd name="T10" fmla="*/ 10 w 85"/>
                  <a:gd name="T11" fmla="*/ 14 h 94"/>
                  <a:gd name="T12" fmla="*/ 8 w 85"/>
                  <a:gd name="T13" fmla="*/ 16 h 94"/>
                  <a:gd name="T14" fmla="*/ 6 w 85"/>
                  <a:gd name="T15" fmla="*/ 18 h 94"/>
                  <a:gd name="T16" fmla="*/ 6 w 85"/>
                  <a:gd name="T17" fmla="*/ 21 h 94"/>
                  <a:gd name="T18" fmla="*/ 6 w 85"/>
                  <a:gd name="T19" fmla="*/ 27 h 94"/>
                  <a:gd name="T20" fmla="*/ 6 w 85"/>
                  <a:gd name="T21" fmla="*/ 33 h 94"/>
                  <a:gd name="T22" fmla="*/ 4 w 85"/>
                  <a:gd name="T23" fmla="*/ 39 h 94"/>
                  <a:gd name="T24" fmla="*/ 2 w 85"/>
                  <a:gd name="T25" fmla="*/ 43 h 94"/>
                  <a:gd name="T26" fmla="*/ 0 w 85"/>
                  <a:gd name="T27" fmla="*/ 50 h 94"/>
                  <a:gd name="T28" fmla="*/ 0 w 85"/>
                  <a:gd name="T29" fmla="*/ 54 h 94"/>
                  <a:gd name="T30" fmla="*/ 2 w 85"/>
                  <a:gd name="T31" fmla="*/ 62 h 94"/>
                  <a:gd name="T32" fmla="*/ 2 w 85"/>
                  <a:gd name="T33" fmla="*/ 68 h 94"/>
                  <a:gd name="T34" fmla="*/ 8 w 85"/>
                  <a:gd name="T35" fmla="*/ 66 h 94"/>
                  <a:gd name="T36" fmla="*/ 12 w 85"/>
                  <a:gd name="T37" fmla="*/ 66 h 94"/>
                  <a:gd name="T38" fmla="*/ 14 w 85"/>
                  <a:gd name="T39" fmla="*/ 66 h 94"/>
                  <a:gd name="T40" fmla="*/ 15 w 85"/>
                  <a:gd name="T41" fmla="*/ 69 h 94"/>
                  <a:gd name="T42" fmla="*/ 15 w 85"/>
                  <a:gd name="T43" fmla="*/ 69 h 94"/>
                  <a:gd name="T44" fmla="*/ 19 w 85"/>
                  <a:gd name="T45" fmla="*/ 58 h 94"/>
                  <a:gd name="T46" fmla="*/ 19 w 85"/>
                  <a:gd name="T47" fmla="*/ 58 h 94"/>
                  <a:gd name="T48" fmla="*/ 23 w 85"/>
                  <a:gd name="T49" fmla="*/ 58 h 94"/>
                  <a:gd name="T50" fmla="*/ 27 w 85"/>
                  <a:gd name="T51" fmla="*/ 62 h 94"/>
                  <a:gd name="T52" fmla="*/ 31 w 85"/>
                  <a:gd name="T53" fmla="*/ 66 h 94"/>
                  <a:gd name="T54" fmla="*/ 35 w 85"/>
                  <a:gd name="T55" fmla="*/ 64 h 94"/>
                  <a:gd name="T56" fmla="*/ 37 w 85"/>
                  <a:gd name="T57" fmla="*/ 66 h 94"/>
                  <a:gd name="T58" fmla="*/ 42 w 85"/>
                  <a:gd name="T59" fmla="*/ 69 h 94"/>
                  <a:gd name="T60" fmla="*/ 50 w 85"/>
                  <a:gd name="T61" fmla="*/ 71 h 94"/>
                  <a:gd name="T62" fmla="*/ 54 w 85"/>
                  <a:gd name="T63" fmla="*/ 73 h 94"/>
                  <a:gd name="T64" fmla="*/ 60 w 85"/>
                  <a:gd name="T65" fmla="*/ 79 h 94"/>
                  <a:gd name="T66" fmla="*/ 63 w 85"/>
                  <a:gd name="T67" fmla="*/ 85 h 94"/>
                  <a:gd name="T68" fmla="*/ 65 w 85"/>
                  <a:gd name="T69" fmla="*/ 91 h 94"/>
                  <a:gd name="T70" fmla="*/ 67 w 85"/>
                  <a:gd name="T71" fmla="*/ 92 h 94"/>
                  <a:gd name="T72" fmla="*/ 71 w 85"/>
                  <a:gd name="T73" fmla="*/ 94 h 94"/>
                  <a:gd name="T74" fmla="*/ 73 w 85"/>
                  <a:gd name="T75" fmla="*/ 92 h 94"/>
                  <a:gd name="T76" fmla="*/ 75 w 85"/>
                  <a:gd name="T77" fmla="*/ 94 h 94"/>
                  <a:gd name="T78" fmla="*/ 85 w 85"/>
                  <a:gd name="T79" fmla="*/ 91 h 94"/>
                  <a:gd name="T80" fmla="*/ 85 w 85"/>
                  <a:gd name="T81" fmla="*/ 87 h 94"/>
                  <a:gd name="T82" fmla="*/ 85 w 85"/>
                  <a:gd name="T83" fmla="*/ 85 h 94"/>
                  <a:gd name="T84" fmla="*/ 77 w 85"/>
                  <a:gd name="T85" fmla="*/ 81 h 94"/>
                  <a:gd name="T86" fmla="*/ 71 w 85"/>
                  <a:gd name="T87" fmla="*/ 75 h 94"/>
                  <a:gd name="T88" fmla="*/ 71 w 85"/>
                  <a:gd name="T89" fmla="*/ 69 h 94"/>
                  <a:gd name="T90" fmla="*/ 69 w 85"/>
                  <a:gd name="T91" fmla="*/ 66 h 94"/>
                  <a:gd name="T92" fmla="*/ 63 w 85"/>
                  <a:gd name="T93" fmla="*/ 64 h 94"/>
                  <a:gd name="T94" fmla="*/ 60 w 85"/>
                  <a:gd name="T95" fmla="*/ 62 h 94"/>
                  <a:gd name="T96" fmla="*/ 58 w 85"/>
                  <a:gd name="T97" fmla="*/ 56 h 94"/>
                  <a:gd name="T98" fmla="*/ 56 w 85"/>
                  <a:gd name="T99" fmla="*/ 50 h 94"/>
                  <a:gd name="T100" fmla="*/ 52 w 85"/>
                  <a:gd name="T101" fmla="*/ 50 h 94"/>
                  <a:gd name="T102" fmla="*/ 50 w 85"/>
                  <a:gd name="T103" fmla="*/ 50 h 94"/>
                  <a:gd name="T104" fmla="*/ 46 w 85"/>
                  <a:gd name="T105" fmla="*/ 45 h 94"/>
                  <a:gd name="T106" fmla="*/ 42 w 85"/>
                  <a:gd name="T107" fmla="*/ 39 h 94"/>
                  <a:gd name="T108" fmla="*/ 40 w 85"/>
                  <a:gd name="T109" fmla="*/ 41 h 94"/>
                  <a:gd name="T110" fmla="*/ 38 w 85"/>
                  <a:gd name="T111" fmla="*/ 41 h 94"/>
                  <a:gd name="T112" fmla="*/ 38 w 85"/>
                  <a:gd name="T113" fmla="*/ 41 h 94"/>
                  <a:gd name="T114" fmla="*/ 38 w 85"/>
                  <a:gd name="T115" fmla="*/ 39 h 94"/>
                  <a:gd name="T116" fmla="*/ 37 w 85"/>
                  <a:gd name="T117" fmla="*/ 39 h 94"/>
                  <a:gd name="T118" fmla="*/ 35 w 85"/>
                  <a:gd name="T119" fmla="*/ 37 h 94"/>
                  <a:gd name="T120" fmla="*/ 33 w 85"/>
                  <a:gd name="T121" fmla="*/ 18 h 94"/>
                  <a:gd name="T122" fmla="*/ 29 w 85"/>
                  <a:gd name="T1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5" h="94">
                    <a:moveTo>
                      <a:pt x="29" y="0"/>
                    </a:moveTo>
                    <a:lnTo>
                      <a:pt x="25" y="6"/>
                    </a:lnTo>
                    <a:lnTo>
                      <a:pt x="17" y="6"/>
                    </a:lnTo>
                    <a:lnTo>
                      <a:pt x="14" y="6"/>
                    </a:lnTo>
                    <a:lnTo>
                      <a:pt x="10" y="10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6" y="21"/>
                    </a:lnTo>
                    <a:lnTo>
                      <a:pt x="6" y="27"/>
                    </a:lnTo>
                    <a:lnTo>
                      <a:pt x="6" y="33"/>
                    </a:lnTo>
                    <a:lnTo>
                      <a:pt x="4" y="39"/>
                    </a:lnTo>
                    <a:lnTo>
                      <a:pt x="2" y="43"/>
                    </a:lnTo>
                    <a:lnTo>
                      <a:pt x="0" y="50"/>
                    </a:lnTo>
                    <a:lnTo>
                      <a:pt x="0" y="54"/>
                    </a:lnTo>
                    <a:lnTo>
                      <a:pt x="2" y="62"/>
                    </a:lnTo>
                    <a:lnTo>
                      <a:pt x="2" y="68"/>
                    </a:lnTo>
                    <a:lnTo>
                      <a:pt x="8" y="66"/>
                    </a:lnTo>
                    <a:lnTo>
                      <a:pt x="12" y="66"/>
                    </a:lnTo>
                    <a:lnTo>
                      <a:pt x="14" y="66"/>
                    </a:lnTo>
                    <a:lnTo>
                      <a:pt x="15" y="69"/>
                    </a:lnTo>
                    <a:lnTo>
                      <a:pt x="15" y="69"/>
                    </a:lnTo>
                    <a:lnTo>
                      <a:pt x="19" y="58"/>
                    </a:lnTo>
                    <a:lnTo>
                      <a:pt x="19" y="58"/>
                    </a:lnTo>
                    <a:lnTo>
                      <a:pt x="23" y="58"/>
                    </a:lnTo>
                    <a:lnTo>
                      <a:pt x="27" y="62"/>
                    </a:lnTo>
                    <a:lnTo>
                      <a:pt x="31" y="66"/>
                    </a:lnTo>
                    <a:lnTo>
                      <a:pt x="35" y="64"/>
                    </a:lnTo>
                    <a:lnTo>
                      <a:pt x="37" y="66"/>
                    </a:lnTo>
                    <a:lnTo>
                      <a:pt x="42" y="69"/>
                    </a:lnTo>
                    <a:lnTo>
                      <a:pt x="50" y="71"/>
                    </a:lnTo>
                    <a:lnTo>
                      <a:pt x="54" y="73"/>
                    </a:lnTo>
                    <a:lnTo>
                      <a:pt x="60" y="79"/>
                    </a:lnTo>
                    <a:lnTo>
                      <a:pt x="63" y="85"/>
                    </a:lnTo>
                    <a:lnTo>
                      <a:pt x="65" y="91"/>
                    </a:lnTo>
                    <a:lnTo>
                      <a:pt x="67" y="92"/>
                    </a:lnTo>
                    <a:lnTo>
                      <a:pt x="71" y="94"/>
                    </a:lnTo>
                    <a:lnTo>
                      <a:pt x="73" y="92"/>
                    </a:lnTo>
                    <a:lnTo>
                      <a:pt x="75" y="94"/>
                    </a:lnTo>
                    <a:lnTo>
                      <a:pt x="85" y="91"/>
                    </a:lnTo>
                    <a:lnTo>
                      <a:pt x="85" y="87"/>
                    </a:lnTo>
                    <a:lnTo>
                      <a:pt x="85" y="85"/>
                    </a:lnTo>
                    <a:lnTo>
                      <a:pt x="77" y="81"/>
                    </a:lnTo>
                    <a:lnTo>
                      <a:pt x="71" y="75"/>
                    </a:lnTo>
                    <a:lnTo>
                      <a:pt x="71" y="69"/>
                    </a:lnTo>
                    <a:lnTo>
                      <a:pt x="69" y="66"/>
                    </a:lnTo>
                    <a:lnTo>
                      <a:pt x="63" y="64"/>
                    </a:lnTo>
                    <a:lnTo>
                      <a:pt x="60" y="62"/>
                    </a:lnTo>
                    <a:lnTo>
                      <a:pt x="58" y="56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0" y="50"/>
                    </a:lnTo>
                    <a:lnTo>
                      <a:pt x="46" y="45"/>
                    </a:lnTo>
                    <a:lnTo>
                      <a:pt x="42" y="39"/>
                    </a:lnTo>
                    <a:lnTo>
                      <a:pt x="40" y="41"/>
                    </a:lnTo>
                    <a:lnTo>
                      <a:pt x="38" y="41"/>
                    </a:lnTo>
                    <a:lnTo>
                      <a:pt x="38" y="41"/>
                    </a:lnTo>
                    <a:lnTo>
                      <a:pt x="38" y="39"/>
                    </a:lnTo>
                    <a:lnTo>
                      <a:pt x="37" y="39"/>
                    </a:lnTo>
                    <a:lnTo>
                      <a:pt x="35" y="37"/>
                    </a:lnTo>
                    <a:lnTo>
                      <a:pt x="33" y="18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7" name="Freeform 195"/>
              <p:cNvSpPr>
                <a:spLocks noEditPoints="1"/>
              </p:cNvSpPr>
              <p:nvPr/>
            </p:nvSpPr>
            <p:spPr bwMode="gray">
              <a:xfrm>
                <a:off x="4487766" y="4360864"/>
                <a:ext cx="69842" cy="60325"/>
              </a:xfrm>
              <a:custGeom>
                <a:avLst/>
                <a:gdLst>
                  <a:gd name="T0" fmla="*/ 19 w 44"/>
                  <a:gd name="T1" fmla="*/ 21 h 38"/>
                  <a:gd name="T2" fmla="*/ 19 w 44"/>
                  <a:gd name="T3" fmla="*/ 27 h 38"/>
                  <a:gd name="T4" fmla="*/ 19 w 44"/>
                  <a:gd name="T5" fmla="*/ 30 h 38"/>
                  <a:gd name="T6" fmla="*/ 19 w 44"/>
                  <a:gd name="T7" fmla="*/ 32 h 38"/>
                  <a:gd name="T8" fmla="*/ 17 w 44"/>
                  <a:gd name="T9" fmla="*/ 36 h 38"/>
                  <a:gd name="T10" fmla="*/ 42 w 44"/>
                  <a:gd name="T11" fmla="*/ 38 h 38"/>
                  <a:gd name="T12" fmla="*/ 44 w 44"/>
                  <a:gd name="T13" fmla="*/ 21 h 38"/>
                  <a:gd name="T14" fmla="*/ 19 w 44"/>
                  <a:gd name="T15" fmla="*/ 21 h 38"/>
                  <a:gd name="T16" fmla="*/ 4 w 44"/>
                  <a:gd name="T17" fmla="*/ 0 h 38"/>
                  <a:gd name="T18" fmla="*/ 2 w 44"/>
                  <a:gd name="T19" fmla="*/ 2 h 38"/>
                  <a:gd name="T20" fmla="*/ 0 w 44"/>
                  <a:gd name="T21" fmla="*/ 4 h 38"/>
                  <a:gd name="T22" fmla="*/ 2 w 44"/>
                  <a:gd name="T23" fmla="*/ 6 h 38"/>
                  <a:gd name="T24" fmla="*/ 6 w 44"/>
                  <a:gd name="T25" fmla="*/ 6 h 38"/>
                  <a:gd name="T26" fmla="*/ 6 w 44"/>
                  <a:gd name="T27" fmla="*/ 2 h 38"/>
                  <a:gd name="T28" fmla="*/ 4 w 44"/>
                  <a:gd name="T29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4" h="38">
                    <a:moveTo>
                      <a:pt x="19" y="21"/>
                    </a:moveTo>
                    <a:lnTo>
                      <a:pt x="19" y="27"/>
                    </a:lnTo>
                    <a:lnTo>
                      <a:pt x="19" y="30"/>
                    </a:lnTo>
                    <a:lnTo>
                      <a:pt x="19" y="32"/>
                    </a:lnTo>
                    <a:lnTo>
                      <a:pt x="17" y="36"/>
                    </a:lnTo>
                    <a:lnTo>
                      <a:pt x="42" y="38"/>
                    </a:lnTo>
                    <a:lnTo>
                      <a:pt x="44" y="21"/>
                    </a:lnTo>
                    <a:lnTo>
                      <a:pt x="19" y="21"/>
                    </a:lnTo>
                    <a:close/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8" name="Freeform 196"/>
              <p:cNvSpPr>
                <a:spLocks/>
              </p:cNvSpPr>
              <p:nvPr/>
            </p:nvSpPr>
            <p:spPr bwMode="gray">
              <a:xfrm>
                <a:off x="2541707" y="4092576"/>
                <a:ext cx="57144" cy="36513"/>
              </a:xfrm>
              <a:custGeom>
                <a:avLst/>
                <a:gdLst>
                  <a:gd name="T0" fmla="*/ 2 w 36"/>
                  <a:gd name="T1" fmla="*/ 11 h 23"/>
                  <a:gd name="T2" fmla="*/ 7 w 36"/>
                  <a:gd name="T3" fmla="*/ 19 h 23"/>
                  <a:gd name="T4" fmla="*/ 15 w 36"/>
                  <a:gd name="T5" fmla="*/ 19 h 23"/>
                  <a:gd name="T6" fmla="*/ 23 w 36"/>
                  <a:gd name="T7" fmla="*/ 19 h 23"/>
                  <a:gd name="T8" fmla="*/ 27 w 36"/>
                  <a:gd name="T9" fmla="*/ 21 h 23"/>
                  <a:gd name="T10" fmla="*/ 32 w 36"/>
                  <a:gd name="T11" fmla="*/ 23 h 23"/>
                  <a:gd name="T12" fmla="*/ 32 w 36"/>
                  <a:gd name="T13" fmla="*/ 21 h 23"/>
                  <a:gd name="T14" fmla="*/ 36 w 36"/>
                  <a:gd name="T15" fmla="*/ 21 h 23"/>
                  <a:gd name="T16" fmla="*/ 36 w 36"/>
                  <a:gd name="T17" fmla="*/ 9 h 23"/>
                  <a:gd name="T18" fmla="*/ 34 w 36"/>
                  <a:gd name="T19" fmla="*/ 9 h 23"/>
                  <a:gd name="T20" fmla="*/ 31 w 36"/>
                  <a:gd name="T21" fmla="*/ 8 h 23"/>
                  <a:gd name="T22" fmla="*/ 27 w 36"/>
                  <a:gd name="T23" fmla="*/ 6 h 23"/>
                  <a:gd name="T24" fmla="*/ 23 w 36"/>
                  <a:gd name="T25" fmla="*/ 4 h 23"/>
                  <a:gd name="T26" fmla="*/ 17 w 36"/>
                  <a:gd name="T27" fmla="*/ 2 h 23"/>
                  <a:gd name="T28" fmla="*/ 11 w 36"/>
                  <a:gd name="T29" fmla="*/ 0 h 23"/>
                  <a:gd name="T30" fmla="*/ 7 w 36"/>
                  <a:gd name="T31" fmla="*/ 2 h 23"/>
                  <a:gd name="T32" fmla="*/ 6 w 36"/>
                  <a:gd name="T33" fmla="*/ 8 h 23"/>
                  <a:gd name="T34" fmla="*/ 2 w 36"/>
                  <a:gd name="T35" fmla="*/ 9 h 23"/>
                  <a:gd name="T36" fmla="*/ 0 w 36"/>
                  <a:gd name="T37" fmla="*/ 11 h 23"/>
                  <a:gd name="T38" fmla="*/ 0 w 36"/>
                  <a:gd name="T39" fmla="*/ 11 h 23"/>
                  <a:gd name="T40" fmla="*/ 2 w 36"/>
                  <a:gd name="T41" fmla="*/ 1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23">
                    <a:moveTo>
                      <a:pt x="2" y="11"/>
                    </a:moveTo>
                    <a:lnTo>
                      <a:pt x="7" y="19"/>
                    </a:lnTo>
                    <a:lnTo>
                      <a:pt x="15" y="19"/>
                    </a:lnTo>
                    <a:lnTo>
                      <a:pt x="23" y="19"/>
                    </a:lnTo>
                    <a:lnTo>
                      <a:pt x="27" y="21"/>
                    </a:lnTo>
                    <a:lnTo>
                      <a:pt x="32" y="23"/>
                    </a:lnTo>
                    <a:lnTo>
                      <a:pt x="32" y="21"/>
                    </a:lnTo>
                    <a:lnTo>
                      <a:pt x="36" y="21"/>
                    </a:lnTo>
                    <a:lnTo>
                      <a:pt x="36" y="9"/>
                    </a:lnTo>
                    <a:lnTo>
                      <a:pt x="34" y="9"/>
                    </a:lnTo>
                    <a:lnTo>
                      <a:pt x="31" y="8"/>
                    </a:lnTo>
                    <a:lnTo>
                      <a:pt x="27" y="6"/>
                    </a:lnTo>
                    <a:lnTo>
                      <a:pt x="23" y="4"/>
                    </a:lnTo>
                    <a:lnTo>
                      <a:pt x="17" y="2"/>
                    </a:lnTo>
                    <a:lnTo>
                      <a:pt x="11" y="0"/>
                    </a:lnTo>
                    <a:lnTo>
                      <a:pt x="7" y="2"/>
                    </a:lnTo>
                    <a:lnTo>
                      <a:pt x="6" y="8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199" name="Freeform 197"/>
              <p:cNvSpPr>
                <a:spLocks noEditPoints="1"/>
              </p:cNvSpPr>
              <p:nvPr/>
            </p:nvSpPr>
            <p:spPr bwMode="gray">
              <a:xfrm>
                <a:off x="4816342" y="3656014"/>
                <a:ext cx="220638" cy="254000"/>
              </a:xfrm>
              <a:custGeom>
                <a:avLst/>
                <a:gdLst>
                  <a:gd name="T0" fmla="*/ 0 w 139"/>
                  <a:gd name="T1" fmla="*/ 4 h 160"/>
                  <a:gd name="T2" fmla="*/ 4 w 139"/>
                  <a:gd name="T3" fmla="*/ 16 h 160"/>
                  <a:gd name="T4" fmla="*/ 2 w 139"/>
                  <a:gd name="T5" fmla="*/ 25 h 160"/>
                  <a:gd name="T6" fmla="*/ 2 w 139"/>
                  <a:gd name="T7" fmla="*/ 37 h 160"/>
                  <a:gd name="T8" fmla="*/ 6 w 139"/>
                  <a:gd name="T9" fmla="*/ 43 h 160"/>
                  <a:gd name="T10" fmla="*/ 8 w 139"/>
                  <a:gd name="T11" fmla="*/ 156 h 160"/>
                  <a:gd name="T12" fmla="*/ 100 w 139"/>
                  <a:gd name="T13" fmla="*/ 154 h 160"/>
                  <a:gd name="T14" fmla="*/ 112 w 139"/>
                  <a:gd name="T15" fmla="*/ 156 h 160"/>
                  <a:gd name="T16" fmla="*/ 119 w 139"/>
                  <a:gd name="T17" fmla="*/ 158 h 160"/>
                  <a:gd name="T18" fmla="*/ 125 w 139"/>
                  <a:gd name="T19" fmla="*/ 148 h 160"/>
                  <a:gd name="T20" fmla="*/ 133 w 139"/>
                  <a:gd name="T21" fmla="*/ 141 h 160"/>
                  <a:gd name="T22" fmla="*/ 137 w 139"/>
                  <a:gd name="T23" fmla="*/ 129 h 160"/>
                  <a:gd name="T24" fmla="*/ 137 w 139"/>
                  <a:gd name="T25" fmla="*/ 119 h 160"/>
                  <a:gd name="T26" fmla="*/ 139 w 139"/>
                  <a:gd name="T27" fmla="*/ 118 h 160"/>
                  <a:gd name="T28" fmla="*/ 135 w 139"/>
                  <a:gd name="T29" fmla="*/ 108 h 160"/>
                  <a:gd name="T30" fmla="*/ 123 w 139"/>
                  <a:gd name="T31" fmla="*/ 87 h 160"/>
                  <a:gd name="T32" fmla="*/ 116 w 139"/>
                  <a:gd name="T33" fmla="*/ 68 h 160"/>
                  <a:gd name="T34" fmla="*/ 112 w 139"/>
                  <a:gd name="T35" fmla="*/ 58 h 160"/>
                  <a:gd name="T36" fmla="*/ 108 w 139"/>
                  <a:gd name="T37" fmla="*/ 48 h 160"/>
                  <a:gd name="T38" fmla="*/ 102 w 139"/>
                  <a:gd name="T39" fmla="*/ 37 h 160"/>
                  <a:gd name="T40" fmla="*/ 108 w 139"/>
                  <a:gd name="T41" fmla="*/ 41 h 160"/>
                  <a:gd name="T42" fmla="*/ 114 w 139"/>
                  <a:gd name="T43" fmla="*/ 54 h 160"/>
                  <a:gd name="T44" fmla="*/ 121 w 139"/>
                  <a:gd name="T45" fmla="*/ 56 h 160"/>
                  <a:gd name="T46" fmla="*/ 125 w 139"/>
                  <a:gd name="T47" fmla="*/ 52 h 160"/>
                  <a:gd name="T48" fmla="*/ 127 w 139"/>
                  <a:gd name="T49" fmla="*/ 41 h 160"/>
                  <a:gd name="T50" fmla="*/ 127 w 139"/>
                  <a:gd name="T51" fmla="*/ 14 h 160"/>
                  <a:gd name="T52" fmla="*/ 125 w 139"/>
                  <a:gd name="T53" fmla="*/ 8 h 160"/>
                  <a:gd name="T54" fmla="*/ 114 w 139"/>
                  <a:gd name="T55" fmla="*/ 2 h 160"/>
                  <a:gd name="T56" fmla="*/ 100 w 139"/>
                  <a:gd name="T57" fmla="*/ 4 h 160"/>
                  <a:gd name="T58" fmla="*/ 94 w 139"/>
                  <a:gd name="T59" fmla="*/ 2 h 160"/>
                  <a:gd name="T60" fmla="*/ 89 w 139"/>
                  <a:gd name="T61" fmla="*/ 0 h 160"/>
                  <a:gd name="T62" fmla="*/ 89 w 139"/>
                  <a:gd name="T63" fmla="*/ 2 h 160"/>
                  <a:gd name="T64" fmla="*/ 85 w 139"/>
                  <a:gd name="T65" fmla="*/ 4 h 160"/>
                  <a:gd name="T66" fmla="*/ 77 w 139"/>
                  <a:gd name="T67" fmla="*/ 4 h 160"/>
                  <a:gd name="T68" fmla="*/ 60 w 139"/>
                  <a:gd name="T69" fmla="*/ 6 h 160"/>
                  <a:gd name="T70" fmla="*/ 54 w 139"/>
                  <a:gd name="T71" fmla="*/ 6 h 160"/>
                  <a:gd name="T72" fmla="*/ 52 w 139"/>
                  <a:gd name="T73" fmla="*/ 8 h 160"/>
                  <a:gd name="T74" fmla="*/ 45 w 139"/>
                  <a:gd name="T75" fmla="*/ 4 h 160"/>
                  <a:gd name="T76" fmla="*/ 45 w 139"/>
                  <a:gd name="T77" fmla="*/ 10 h 160"/>
                  <a:gd name="T78" fmla="*/ 27 w 139"/>
                  <a:gd name="T79" fmla="*/ 10 h 160"/>
                  <a:gd name="T80" fmla="*/ 14 w 139"/>
                  <a:gd name="T81" fmla="*/ 6 h 160"/>
                  <a:gd name="T82" fmla="*/ 8 w 139"/>
                  <a:gd name="T83" fmla="*/ 6 h 160"/>
                  <a:gd name="T84" fmla="*/ 0 w 139"/>
                  <a:gd name="T85" fmla="*/ 2 h 160"/>
                  <a:gd name="T86" fmla="*/ 102 w 139"/>
                  <a:gd name="T87" fmla="*/ 29 h 160"/>
                  <a:gd name="T88" fmla="*/ 100 w 139"/>
                  <a:gd name="T89" fmla="*/ 27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9" h="160">
                    <a:moveTo>
                      <a:pt x="0" y="2"/>
                    </a:moveTo>
                    <a:lnTo>
                      <a:pt x="0" y="4"/>
                    </a:lnTo>
                    <a:lnTo>
                      <a:pt x="2" y="10"/>
                    </a:lnTo>
                    <a:lnTo>
                      <a:pt x="4" y="16"/>
                    </a:lnTo>
                    <a:lnTo>
                      <a:pt x="4" y="22"/>
                    </a:lnTo>
                    <a:lnTo>
                      <a:pt x="2" y="25"/>
                    </a:lnTo>
                    <a:lnTo>
                      <a:pt x="2" y="31"/>
                    </a:lnTo>
                    <a:lnTo>
                      <a:pt x="2" y="37"/>
                    </a:lnTo>
                    <a:lnTo>
                      <a:pt x="4" y="39"/>
                    </a:lnTo>
                    <a:lnTo>
                      <a:pt x="6" y="43"/>
                    </a:lnTo>
                    <a:lnTo>
                      <a:pt x="6" y="43"/>
                    </a:lnTo>
                    <a:lnTo>
                      <a:pt x="8" y="156"/>
                    </a:lnTo>
                    <a:lnTo>
                      <a:pt x="96" y="156"/>
                    </a:lnTo>
                    <a:lnTo>
                      <a:pt x="100" y="154"/>
                    </a:lnTo>
                    <a:lnTo>
                      <a:pt x="100" y="156"/>
                    </a:lnTo>
                    <a:lnTo>
                      <a:pt x="112" y="156"/>
                    </a:lnTo>
                    <a:lnTo>
                      <a:pt x="114" y="160"/>
                    </a:lnTo>
                    <a:lnTo>
                      <a:pt x="119" y="158"/>
                    </a:lnTo>
                    <a:lnTo>
                      <a:pt x="119" y="150"/>
                    </a:lnTo>
                    <a:lnTo>
                      <a:pt x="125" y="148"/>
                    </a:lnTo>
                    <a:lnTo>
                      <a:pt x="127" y="141"/>
                    </a:lnTo>
                    <a:lnTo>
                      <a:pt x="133" y="141"/>
                    </a:lnTo>
                    <a:lnTo>
                      <a:pt x="139" y="137"/>
                    </a:lnTo>
                    <a:lnTo>
                      <a:pt x="137" y="129"/>
                    </a:lnTo>
                    <a:lnTo>
                      <a:pt x="135" y="119"/>
                    </a:lnTo>
                    <a:lnTo>
                      <a:pt x="137" y="119"/>
                    </a:lnTo>
                    <a:lnTo>
                      <a:pt x="139" y="119"/>
                    </a:lnTo>
                    <a:lnTo>
                      <a:pt x="139" y="118"/>
                    </a:lnTo>
                    <a:lnTo>
                      <a:pt x="139" y="116"/>
                    </a:lnTo>
                    <a:lnTo>
                      <a:pt x="135" y="108"/>
                    </a:lnTo>
                    <a:lnTo>
                      <a:pt x="129" y="100"/>
                    </a:lnTo>
                    <a:lnTo>
                      <a:pt x="123" y="87"/>
                    </a:lnTo>
                    <a:lnTo>
                      <a:pt x="119" y="73"/>
                    </a:lnTo>
                    <a:lnTo>
                      <a:pt x="116" y="68"/>
                    </a:lnTo>
                    <a:lnTo>
                      <a:pt x="112" y="62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08" y="48"/>
                    </a:lnTo>
                    <a:lnTo>
                      <a:pt x="104" y="43"/>
                    </a:lnTo>
                    <a:lnTo>
                      <a:pt x="102" y="37"/>
                    </a:lnTo>
                    <a:lnTo>
                      <a:pt x="104" y="35"/>
                    </a:lnTo>
                    <a:lnTo>
                      <a:pt x="108" y="41"/>
                    </a:lnTo>
                    <a:lnTo>
                      <a:pt x="110" y="48"/>
                    </a:lnTo>
                    <a:lnTo>
                      <a:pt x="114" y="54"/>
                    </a:lnTo>
                    <a:lnTo>
                      <a:pt x="119" y="58"/>
                    </a:lnTo>
                    <a:lnTo>
                      <a:pt x="121" y="56"/>
                    </a:lnTo>
                    <a:lnTo>
                      <a:pt x="125" y="56"/>
                    </a:lnTo>
                    <a:lnTo>
                      <a:pt x="125" y="52"/>
                    </a:lnTo>
                    <a:lnTo>
                      <a:pt x="125" y="50"/>
                    </a:lnTo>
                    <a:lnTo>
                      <a:pt x="127" y="41"/>
                    </a:lnTo>
                    <a:lnTo>
                      <a:pt x="129" y="35"/>
                    </a:lnTo>
                    <a:lnTo>
                      <a:pt x="127" y="14"/>
                    </a:lnTo>
                    <a:lnTo>
                      <a:pt x="125" y="12"/>
                    </a:lnTo>
                    <a:lnTo>
                      <a:pt x="125" y="8"/>
                    </a:lnTo>
                    <a:lnTo>
                      <a:pt x="123" y="2"/>
                    </a:lnTo>
                    <a:lnTo>
                      <a:pt x="114" y="2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96" y="6"/>
                    </a:lnTo>
                    <a:lnTo>
                      <a:pt x="94" y="2"/>
                    </a:lnTo>
                    <a:lnTo>
                      <a:pt x="93" y="0"/>
                    </a:lnTo>
                    <a:lnTo>
                      <a:pt x="89" y="0"/>
                    </a:lnTo>
                    <a:lnTo>
                      <a:pt x="87" y="0"/>
                    </a:lnTo>
                    <a:lnTo>
                      <a:pt x="89" y="2"/>
                    </a:lnTo>
                    <a:lnTo>
                      <a:pt x="89" y="6"/>
                    </a:lnTo>
                    <a:lnTo>
                      <a:pt x="85" y="4"/>
                    </a:lnTo>
                    <a:lnTo>
                      <a:pt x="85" y="2"/>
                    </a:lnTo>
                    <a:lnTo>
                      <a:pt x="77" y="4"/>
                    </a:lnTo>
                    <a:lnTo>
                      <a:pt x="71" y="8"/>
                    </a:lnTo>
                    <a:lnTo>
                      <a:pt x="60" y="6"/>
                    </a:lnTo>
                    <a:lnTo>
                      <a:pt x="58" y="6"/>
                    </a:lnTo>
                    <a:lnTo>
                      <a:pt x="54" y="6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48" y="4"/>
                    </a:lnTo>
                    <a:lnTo>
                      <a:pt x="45" y="4"/>
                    </a:lnTo>
                    <a:lnTo>
                      <a:pt x="45" y="6"/>
                    </a:lnTo>
                    <a:lnTo>
                      <a:pt x="45" y="10"/>
                    </a:lnTo>
                    <a:lnTo>
                      <a:pt x="35" y="16"/>
                    </a:lnTo>
                    <a:lnTo>
                      <a:pt x="27" y="10"/>
                    </a:lnTo>
                    <a:lnTo>
                      <a:pt x="20" y="6"/>
                    </a:lnTo>
                    <a:lnTo>
                      <a:pt x="14" y="6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0" y="2"/>
                    </a:lnTo>
                    <a:close/>
                    <a:moveTo>
                      <a:pt x="102" y="27"/>
                    </a:moveTo>
                    <a:lnTo>
                      <a:pt x="102" y="29"/>
                    </a:lnTo>
                    <a:lnTo>
                      <a:pt x="100" y="31"/>
                    </a:lnTo>
                    <a:lnTo>
                      <a:pt x="100" y="27"/>
                    </a:lnTo>
                    <a:lnTo>
                      <a:pt x="102" y="2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0" name="Freeform 198"/>
              <p:cNvSpPr>
                <a:spLocks/>
              </p:cNvSpPr>
              <p:nvPr/>
            </p:nvSpPr>
            <p:spPr bwMode="gray">
              <a:xfrm>
                <a:off x="2495675" y="4454526"/>
                <a:ext cx="9524" cy="30163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8 h 19"/>
                  <a:gd name="T4" fmla="*/ 2 w 6"/>
                  <a:gd name="T5" fmla="*/ 14 h 19"/>
                  <a:gd name="T6" fmla="*/ 2 w 6"/>
                  <a:gd name="T7" fmla="*/ 16 h 19"/>
                  <a:gd name="T8" fmla="*/ 0 w 6"/>
                  <a:gd name="T9" fmla="*/ 16 h 19"/>
                  <a:gd name="T10" fmla="*/ 0 w 6"/>
                  <a:gd name="T11" fmla="*/ 18 h 19"/>
                  <a:gd name="T12" fmla="*/ 2 w 6"/>
                  <a:gd name="T13" fmla="*/ 19 h 19"/>
                  <a:gd name="T14" fmla="*/ 6 w 6"/>
                  <a:gd name="T15" fmla="*/ 14 h 19"/>
                  <a:gd name="T16" fmla="*/ 6 w 6"/>
                  <a:gd name="T17" fmla="*/ 10 h 19"/>
                  <a:gd name="T18" fmla="*/ 4 w 6"/>
                  <a:gd name="T19" fmla="*/ 6 h 19"/>
                  <a:gd name="T20" fmla="*/ 0 w 6"/>
                  <a:gd name="T2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8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2" y="19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4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1" name="Freeform 199"/>
              <p:cNvSpPr>
                <a:spLocks/>
              </p:cNvSpPr>
              <p:nvPr/>
            </p:nvSpPr>
            <p:spPr bwMode="gray">
              <a:xfrm>
                <a:off x="2741710" y="4527551"/>
                <a:ext cx="6349" cy="6350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4 h 4"/>
                  <a:gd name="T8" fmla="*/ 2 w 4"/>
                  <a:gd name="T9" fmla="*/ 2 h 4"/>
                  <a:gd name="T10" fmla="*/ 4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2" name="Freeform 200"/>
              <p:cNvSpPr>
                <a:spLocks/>
              </p:cNvSpPr>
              <p:nvPr/>
            </p:nvSpPr>
            <p:spPr bwMode="gray">
              <a:xfrm>
                <a:off x="2727424" y="4421189"/>
                <a:ext cx="103176" cy="165100"/>
              </a:xfrm>
              <a:custGeom>
                <a:avLst/>
                <a:gdLst>
                  <a:gd name="T0" fmla="*/ 4 w 65"/>
                  <a:gd name="T1" fmla="*/ 86 h 104"/>
                  <a:gd name="T2" fmla="*/ 0 w 65"/>
                  <a:gd name="T3" fmla="*/ 92 h 104"/>
                  <a:gd name="T4" fmla="*/ 6 w 65"/>
                  <a:gd name="T5" fmla="*/ 96 h 104"/>
                  <a:gd name="T6" fmla="*/ 9 w 65"/>
                  <a:gd name="T7" fmla="*/ 92 h 104"/>
                  <a:gd name="T8" fmla="*/ 13 w 65"/>
                  <a:gd name="T9" fmla="*/ 100 h 104"/>
                  <a:gd name="T10" fmla="*/ 17 w 65"/>
                  <a:gd name="T11" fmla="*/ 102 h 104"/>
                  <a:gd name="T12" fmla="*/ 25 w 65"/>
                  <a:gd name="T13" fmla="*/ 96 h 104"/>
                  <a:gd name="T14" fmla="*/ 33 w 65"/>
                  <a:gd name="T15" fmla="*/ 83 h 104"/>
                  <a:gd name="T16" fmla="*/ 38 w 65"/>
                  <a:gd name="T17" fmla="*/ 75 h 104"/>
                  <a:gd name="T18" fmla="*/ 54 w 65"/>
                  <a:gd name="T19" fmla="*/ 65 h 104"/>
                  <a:gd name="T20" fmla="*/ 61 w 65"/>
                  <a:gd name="T21" fmla="*/ 54 h 104"/>
                  <a:gd name="T22" fmla="*/ 63 w 65"/>
                  <a:gd name="T23" fmla="*/ 50 h 104"/>
                  <a:gd name="T24" fmla="*/ 65 w 65"/>
                  <a:gd name="T25" fmla="*/ 46 h 104"/>
                  <a:gd name="T26" fmla="*/ 63 w 65"/>
                  <a:gd name="T27" fmla="*/ 35 h 104"/>
                  <a:gd name="T28" fmla="*/ 59 w 65"/>
                  <a:gd name="T29" fmla="*/ 29 h 104"/>
                  <a:gd name="T30" fmla="*/ 59 w 65"/>
                  <a:gd name="T31" fmla="*/ 25 h 104"/>
                  <a:gd name="T32" fmla="*/ 52 w 65"/>
                  <a:gd name="T33" fmla="*/ 19 h 104"/>
                  <a:gd name="T34" fmla="*/ 40 w 65"/>
                  <a:gd name="T35" fmla="*/ 19 h 104"/>
                  <a:gd name="T36" fmla="*/ 36 w 65"/>
                  <a:gd name="T37" fmla="*/ 15 h 104"/>
                  <a:gd name="T38" fmla="*/ 34 w 65"/>
                  <a:gd name="T39" fmla="*/ 10 h 104"/>
                  <a:gd name="T40" fmla="*/ 27 w 65"/>
                  <a:gd name="T41" fmla="*/ 6 h 104"/>
                  <a:gd name="T42" fmla="*/ 23 w 65"/>
                  <a:gd name="T43" fmla="*/ 0 h 104"/>
                  <a:gd name="T44" fmla="*/ 9 w 65"/>
                  <a:gd name="T45" fmla="*/ 10 h 104"/>
                  <a:gd name="T46" fmla="*/ 11 w 65"/>
                  <a:gd name="T47" fmla="*/ 15 h 104"/>
                  <a:gd name="T48" fmla="*/ 9 w 65"/>
                  <a:gd name="T49" fmla="*/ 21 h 104"/>
                  <a:gd name="T50" fmla="*/ 6 w 65"/>
                  <a:gd name="T51" fmla="*/ 27 h 104"/>
                  <a:gd name="T52" fmla="*/ 8 w 65"/>
                  <a:gd name="T53" fmla="*/ 39 h 104"/>
                  <a:gd name="T54" fmla="*/ 0 w 65"/>
                  <a:gd name="T55" fmla="*/ 44 h 104"/>
                  <a:gd name="T56" fmla="*/ 4 w 65"/>
                  <a:gd name="T57" fmla="*/ 46 h 104"/>
                  <a:gd name="T58" fmla="*/ 0 w 65"/>
                  <a:gd name="T59" fmla="*/ 56 h 104"/>
                  <a:gd name="T60" fmla="*/ 2 w 65"/>
                  <a:gd name="T61" fmla="*/ 63 h 104"/>
                  <a:gd name="T62" fmla="*/ 4 w 65"/>
                  <a:gd name="T63" fmla="*/ 69 h 104"/>
                  <a:gd name="T64" fmla="*/ 8 w 65"/>
                  <a:gd name="T65" fmla="*/ 73 h 104"/>
                  <a:gd name="T66" fmla="*/ 6 w 65"/>
                  <a:gd name="T67" fmla="*/ 79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5" h="104">
                    <a:moveTo>
                      <a:pt x="2" y="83"/>
                    </a:moveTo>
                    <a:lnTo>
                      <a:pt x="4" y="86"/>
                    </a:lnTo>
                    <a:lnTo>
                      <a:pt x="6" y="88"/>
                    </a:lnTo>
                    <a:lnTo>
                      <a:pt x="0" y="92"/>
                    </a:lnTo>
                    <a:lnTo>
                      <a:pt x="2" y="94"/>
                    </a:lnTo>
                    <a:lnTo>
                      <a:pt x="6" y="96"/>
                    </a:lnTo>
                    <a:lnTo>
                      <a:pt x="9" y="94"/>
                    </a:lnTo>
                    <a:lnTo>
                      <a:pt x="9" y="92"/>
                    </a:lnTo>
                    <a:lnTo>
                      <a:pt x="11" y="94"/>
                    </a:lnTo>
                    <a:lnTo>
                      <a:pt x="13" y="100"/>
                    </a:lnTo>
                    <a:lnTo>
                      <a:pt x="15" y="104"/>
                    </a:lnTo>
                    <a:lnTo>
                      <a:pt x="17" y="102"/>
                    </a:lnTo>
                    <a:lnTo>
                      <a:pt x="21" y="102"/>
                    </a:lnTo>
                    <a:lnTo>
                      <a:pt x="25" y="96"/>
                    </a:lnTo>
                    <a:lnTo>
                      <a:pt x="29" y="88"/>
                    </a:lnTo>
                    <a:lnTo>
                      <a:pt x="33" y="83"/>
                    </a:lnTo>
                    <a:lnTo>
                      <a:pt x="34" y="79"/>
                    </a:lnTo>
                    <a:lnTo>
                      <a:pt x="38" y="75"/>
                    </a:lnTo>
                    <a:lnTo>
                      <a:pt x="42" y="71"/>
                    </a:lnTo>
                    <a:lnTo>
                      <a:pt x="54" y="65"/>
                    </a:lnTo>
                    <a:lnTo>
                      <a:pt x="59" y="60"/>
                    </a:lnTo>
                    <a:lnTo>
                      <a:pt x="61" y="54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5" y="50"/>
                    </a:lnTo>
                    <a:lnTo>
                      <a:pt x="65" y="46"/>
                    </a:lnTo>
                    <a:lnTo>
                      <a:pt x="65" y="40"/>
                    </a:lnTo>
                    <a:lnTo>
                      <a:pt x="63" y="35"/>
                    </a:lnTo>
                    <a:lnTo>
                      <a:pt x="63" y="33"/>
                    </a:lnTo>
                    <a:lnTo>
                      <a:pt x="59" y="29"/>
                    </a:lnTo>
                    <a:lnTo>
                      <a:pt x="63" y="25"/>
                    </a:lnTo>
                    <a:lnTo>
                      <a:pt x="59" y="25"/>
                    </a:lnTo>
                    <a:lnTo>
                      <a:pt x="56" y="21"/>
                    </a:lnTo>
                    <a:lnTo>
                      <a:pt x="52" y="19"/>
                    </a:lnTo>
                    <a:lnTo>
                      <a:pt x="52" y="21"/>
                    </a:lnTo>
                    <a:lnTo>
                      <a:pt x="40" y="19"/>
                    </a:lnTo>
                    <a:lnTo>
                      <a:pt x="38" y="17"/>
                    </a:lnTo>
                    <a:lnTo>
                      <a:pt x="36" y="15"/>
                    </a:lnTo>
                    <a:lnTo>
                      <a:pt x="34" y="12"/>
                    </a:lnTo>
                    <a:lnTo>
                      <a:pt x="34" y="10"/>
                    </a:lnTo>
                    <a:lnTo>
                      <a:pt x="31" y="8"/>
                    </a:lnTo>
                    <a:lnTo>
                      <a:pt x="27" y="6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15" y="6"/>
                    </a:lnTo>
                    <a:lnTo>
                      <a:pt x="9" y="10"/>
                    </a:lnTo>
                    <a:lnTo>
                      <a:pt x="11" y="14"/>
                    </a:lnTo>
                    <a:lnTo>
                      <a:pt x="11" y="15"/>
                    </a:lnTo>
                    <a:lnTo>
                      <a:pt x="11" y="17"/>
                    </a:lnTo>
                    <a:lnTo>
                      <a:pt x="9" y="21"/>
                    </a:lnTo>
                    <a:lnTo>
                      <a:pt x="8" y="25"/>
                    </a:lnTo>
                    <a:lnTo>
                      <a:pt x="6" y="27"/>
                    </a:lnTo>
                    <a:lnTo>
                      <a:pt x="6" y="33"/>
                    </a:lnTo>
                    <a:lnTo>
                      <a:pt x="8" y="39"/>
                    </a:lnTo>
                    <a:lnTo>
                      <a:pt x="4" y="42"/>
                    </a:lnTo>
                    <a:lnTo>
                      <a:pt x="0" y="44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2" y="52"/>
                    </a:lnTo>
                    <a:lnTo>
                      <a:pt x="0" y="56"/>
                    </a:lnTo>
                    <a:lnTo>
                      <a:pt x="4" y="60"/>
                    </a:lnTo>
                    <a:lnTo>
                      <a:pt x="2" y="63"/>
                    </a:lnTo>
                    <a:lnTo>
                      <a:pt x="0" y="67"/>
                    </a:lnTo>
                    <a:lnTo>
                      <a:pt x="4" y="69"/>
                    </a:lnTo>
                    <a:lnTo>
                      <a:pt x="9" y="71"/>
                    </a:lnTo>
                    <a:lnTo>
                      <a:pt x="8" y="73"/>
                    </a:lnTo>
                    <a:lnTo>
                      <a:pt x="9" y="77"/>
                    </a:lnTo>
                    <a:lnTo>
                      <a:pt x="6" y="79"/>
                    </a:lnTo>
                    <a:lnTo>
                      <a:pt x="2" y="8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3" name="Freeform 201"/>
              <p:cNvSpPr>
                <a:spLocks/>
              </p:cNvSpPr>
              <p:nvPr/>
            </p:nvSpPr>
            <p:spPr bwMode="gray">
              <a:xfrm>
                <a:off x="2903617" y="3967164"/>
                <a:ext cx="73017" cy="49213"/>
              </a:xfrm>
              <a:custGeom>
                <a:avLst/>
                <a:gdLst>
                  <a:gd name="T0" fmla="*/ 2 w 46"/>
                  <a:gd name="T1" fmla="*/ 0 h 31"/>
                  <a:gd name="T2" fmla="*/ 2 w 46"/>
                  <a:gd name="T3" fmla="*/ 10 h 31"/>
                  <a:gd name="T4" fmla="*/ 2 w 46"/>
                  <a:gd name="T5" fmla="*/ 14 h 31"/>
                  <a:gd name="T6" fmla="*/ 0 w 46"/>
                  <a:gd name="T7" fmla="*/ 16 h 31"/>
                  <a:gd name="T8" fmla="*/ 2 w 46"/>
                  <a:gd name="T9" fmla="*/ 17 h 31"/>
                  <a:gd name="T10" fmla="*/ 4 w 46"/>
                  <a:gd name="T11" fmla="*/ 19 h 31"/>
                  <a:gd name="T12" fmla="*/ 4 w 46"/>
                  <a:gd name="T13" fmla="*/ 23 h 31"/>
                  <a:gd name="T14" fmla="*/ 4 w 46"/>
                  <a:gd name="T15" fmla="*/ 25 h 31"/>
                  <a:gd name="T16" fmla="*/ 6 w 46"/>
                  <a:gd name="T17" fmla="*/ 25 h 31"/>
                  <a:gd name="T18" fmla="*/ 6 w 46"/>
                  <a:gd name="T19" fmla="*/ 29 h 31"/>
                  <a:gd name="T20" fmla="*/ 10 w 46"/>
                  <a:gd name="T21" fmla="*/ 31 h 31"/>
                  <a:gd name="T22" fmla="*/ 10 w 46"/>
                  <a:gd name="T23" fmla="*/ 29 h 31"/>
                  <a:gd name="T24" fmla="*/ 14 w 46"/>
                  <a:gd name="T25" fmla="*/ 27 h 31"/>
                  <a:gd name="T26" fmla="*/ 12 w 46"/>
                  <a:gd name="T27" fmla="*/ 23 h 31"/>
                  <a:gd name="T28" fmla="*/ 12 w 46"/>
                  <a:gd name="T29" fmla="*/ 19 h 31"/>
                  <a:gd name="T30" fmla="*/ 16 w 46"/>
                  <a:gd name="T31" fmla="*/ 21 h 31"/>
                  <a:gd name="T32" fmla="*/ 19 w 46"/>
                  <a:gd name="T33" fmla="*/ 23 h 31"/>
                  <a:gd name="T34" fmla="*/ 21 w 46"/>
                  <a:gd name="T35" fmla="*/ 25 h 31"/>
                  <a:gd name="T36" fmla="*/ 25 w 46"/>
                  <a:gd name="T37" fmla="*/ 25 h 31"/>
                  <a:gd name="T38" fmla="*/ 27 w 46"/>
                  <a:gd name="T39" fmla="*/ 23 h 31"/>
                  <a:gd name="T40" fmla="*/ 29 w 46"/>
                  <a:gd name="T41" fmla="*/ 19 h 31"/>
                  <a:gd name="T42" fmla="*/ 33 w 46"/>
                  <a:gd name="T43" fmla="*/ 19 h 31"/>
                  <a:gd name="T44" fmla="*/ 41 w 46"/>
                  <a:gd name="T45" fmla="*/ 19 h 31"/>
                  <a:gd name="T46" fmla="*/ 42 w 46"/>
                  <a:gd name="T47" fmla="*/ 21 h 31"/>
                  <a:gd name="T48" fmla="*/ 46 w 46"/>
                  <a:gd name="T49" fmla="*/ 21 h 31"/>
                  <a:gd name="T50" fmla="*/ 44 w 46"/>
                  <a:gd name="T51" fmla="*/ 16 h 31"/>
                  <a:gd name="T52" fmla="*/ 41 w 46"/>
                  <a:gd name="T53" fmla="*/ 10 h 31"/>
                  <a:gd name="T54" fmla="*/ 37 w 46"/>
                  <a:gd name="T55" fmla="*/ 10 h 31"/>
                  <a:gd name="T56" fmla="*/ 31 w 46"/>
                  <a:gd name="T57" fmla="*/ 10 h 31"/>
                  <a:gd name="T58" fmla="*/ 23 w 46"/>
                  <a:gd name="T59" fmla="*/ 4 h 31"/>
                  <a:gd name="T60" fmla="*/ 17 w 46"/>
                  <a:gd name="T61" fmla="*/ 0 h 31"/>
                  <a:gd name="T62" fmla="*/ 10 w 46"/>
                  <a:gd name="T63" fmla="*/ 0 h 31"/>
                  <a:gd name="T64" fmla="*/ 2 w 46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31">
                    <a:moveTo>
                      <a:pt x="2" y="0"/>
                    </a:moveTo>
                    <a:lnTo>
                      <a:pt x="2" y="10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7"/>
                    </a:lnTo>
                    <a:lnTo>
                      <a:pt x="4" y="19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6" y="29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14" y="27"/>
                    </a:lnTo>
                    <a:lnTo>
                      <a:pt x="12" y="23"/>
                    </a:lnTo>
                    <a:lnTo>
                      <a:pt x="12" y="19"/>
                    </a:lnTo>
                    <a:lnTo>
                      <a:pt x="16" y="21"/>
                    </a:lnTo>
                    <a:lnTo>
                      <a:pt x="19" y="23"/>
                    </a:lnTo>
                    <a:lnTo>
                      <a:pt x="21" y="25"/>
                    </a:lnTo>
                    <a:lnTo>
                      <a:pt x="25" y="25"/>
                    </a:lnTo>
                    <a:lnTo>
                      <a:pt x="27" y="23"/>
                    </a:lnTo>
                    <a:lnTo>
                      <a:pt x="29" y="19"/>
                    </a:lnTo>
                    <a:lnTo>
                      <a:pt x="33" y="19"/>
                    </a:lnTo>
                    <a:lnTo>
                      <a:pt x="41" y="19"/>
                    </a:lnTo>
                    <a:lnTo>
                      <a:pt x="42" y="21"/>
                    </a:lnTo>
                    <a:lnTo>
                      <a:pt x="46" y="21"/>
                    </a:lnTo>
                    <a:lnTo>
                      <a:pt x="44" y="16"/>
                    </a:lnTo>
                    <a:lnTo>
                      <a:pt x="41" y="10"/>
                    </a:lnTo>
                    <a:lnTo>
                      <a:pt x="37" y="10"/>
                    </a:lnTo>
                    <a:lnTo>
                      <a:pt x="31" y="10"/>
                    </a:lnTo>
                    <a:lnTo>
                      <a:pt x="23" y="4"/>
                    </a:lnTo>
                    <a:lnTo>
                      <a:pt x="17" y="0"/>
                    </a:lnTo>
                    <a:lnTo>
                      <a:pt x="1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4" name="Freeform 202"/>
              <p:cNvSpPr>
                <a:spLocks/>
              </p:cNvSpPr>
              <p:nvPr/>
            </p:nvSpPr>
            <p:spPr bwMode="gray">
              <a:xfrm>
                <a:off x="5152854" y="4141789"/>
                <a:ext cx="41270" cy="47625"/>
              </a:xfrm>
              <a:custGeom>
                <a:avLst/>
                <a:gdLst>
                  <a:gd name="T0" fmla="*/ 23 w 26"/>
                  <a:gd name="T1" fmla="*/ 1 h 30"/>
                  <a:gd name="T2" fmla="*/ 21 w 26"/>
                  <a:gd name="T3" fmla="*/ 5 h 30"/>
                  <a:gd name="T4" fmla="*/ 17 w 26"/>
                  <a:gd name="T5" fmla="*/ 9 h 30"/>
                  <a:gd name="T6" fmla="*/ 21 w 26"/>
                  <a:gd name="T7" fmla="*/ 9 h 30"/>
                  <a:gd name="T8" fmla="*/ 23 w 26"/>
                  <a:gd name="T9" fmla="*/ 11 h 30"/>
                  <a:gd name="T10" fmla="*/ 26 w 26"/>
                  <a:gd name="T11" fmla="*/ 17 h 30"/>
                  <a:gd name="T12" fmla="*/ 15 w 26"/>
                  <a:gd name="T13" fmla="*/ 30 h 30"/>
                  <a:gd name="T14" fmla="*/ 11 w 26"/>
                  <a:gd name="T15" fmla="*/ 30 h 30"/>
                  <a:gd name="T16" fmla="*/ 9 w 26"/>
                  <a:gd name="T17" fmla="*/ 30 h 30"/>
                  <a:gd name="T18" fmla="*/ 5 w 26"/>
                  <a:gd name="T19" fmla="*/ 30 h 30"/>
                  <a:gd name="T20" fmla="*/ 1 w 26"/>
                  <a:gd name="T21" fmla="*/ 30 h 30"/>
                  <a:gd name="T22" fmla="*/ 0 w 26"/>
                  <a:gd name="T23" fmla="*/ 26 h 30"/>
                  <a:gd name="T24" fmla="*/ 0 w 26"/>
                  <a:gd name="T25" fmla="*/ 23 h 30"/>
                  <a:gd name="T26" fmla="*/ 1 w 26"/>
                  <a:gd name="T27" fmla="*/ 17 h 30"/>
                  <a:gd name="T28" fmla="*/ 3 w 26"/>
                  <a:gd name="T29" fmla="*/ 9 h 30"/>
                  <a:gd name="T30" fmla="*/ 7 w 26"/>
                  <a:gd name="T31" fmla="*/ 3 h 30"/>
                  <a:gd name="T32" fmla="*/ 11 w 26"/>
                  <a:gd name="T33" fmla="*/ 1 h 30"/>
                  <a:gd name="T34" fmla="*/ 13 w 26"/>
                  <a:gd name="T35" fmla="*/ 3 h 30"/>
                  <a:gd name="T36" fmla="*/ 23 w 26"/>
                  <a:gd name="T37" fmla="*/ 0 h 30"/>
                  <a:gd name="T38" fmla="*/ 23 w 26"/>
                  <a:gd name="T39" fmla="*/ 1 h 30"/>
                  <a:gd name="T40" fmla="*/ 23 w 26"/>
                  <a:gd name="T41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" h="30">
                    <a:moveTo>
                      <a:pt x="23" y="1"/>
                    </a:moveTo>
                    <a:lnTo>
                      <a:pt x="21" y="5"/>
                    </a:lnTo>
                    <a:lnTo>
                      <a:pt x="17" y="9"/>
                    </a:lnTo>
                    <a:lnTo>
                      <a:pt x="21" y="9"/>
                    </a:lnTo>
                    <a:lnTo>
                      <a:pt x="23" y="11"/>
                    </a:lnTo>
                    <a:lnTo>
                      <a:pt x="26" y="17"/>
                    </a:lnTo>
                    <a:lnTo>
                      <a:pt x="15" y="30"/>
                    </a:lnTo>
                    <a:lnTo>
                      <a:pt x="11" y="30"/>
                    </a:lnTo>
                    <a:lnTo>
                      <a:pt x="9" y="30"/>
                    </a:lnTo>
                    <a:lnTo>
                      <a:pt x="5" y="30"/>
                    </a:lnTo>
                    <a:lnTo>
                      <a:pt x="1" y="30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1" y="17"/>
                    </a:lnTo>
                    <a:lnTo>
                      <a:pt x="3" y="9"/>
                    </a:lnTo>
                    <a:lnTo>
                      <a:pt x="7" y="3"/>
                    </a:lnTo>
                    <a:lnTo>
                      <a:pt x="11" y="1"/>
                    </a:lnTo>
                    <a:lnTo>
                      <a:pt x="13" y="3"/>
                    </a:lnTo>
                    <a:lnTo>
                      <a:pt x="23" y="0"/>
                    </a:lnTo>
                    <a:lnTo>
                      <a:pt x="23" y="1"/>
                    </a:lnTo>
                    <a:lnTo>
                      <a:pt x="23" y="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5" name="Freeform 203"/>
              <p:cNvSpPr>
                <a:spLocks noEditPoints="1"/>
              </p:cNvSpPr>
              <p:nvPr/>
            </p:nvSpPr>
            <p:spPr bwMode="gray">
              <a:xfrm>
                <a:off x="4487766" y="2903539"/>
                <a:ext cx="88890" cy="115888"/>
              </a:xfrm>
              <a:custGeom>
                <a:avLst/>
                <a:gdLst>
                  <a:gd name="T0" fmla="*/ 21 w 56"/>
                  <a:gd name="T1" fmla="*/ 60 h 73"/>
                  <a:gd name="T2" fmla="*/ 25 w 56"/>
                  <a:gd name="T3" fmla="*/ 56 h 73"/>
                  <a:gd name="T4" fmla="*/ 29 w 56"/>
                  <a:gd name="T5" fmla="*/ 60 h 73"/>
                  <a:gd name="T6" fmla="*/ 35 w 56"/>
                  <a:gd name="T7" fmla="*/ 66 h 73"/>
                  <a:gd name="T8" fmla="*/ 35 w 56"/>
                  <a:gd name="T9" fmla="*/ 60 h 73"/>
                  <a:gd name="T10" fmla="*/ 29 w 56"/>
                  <a:gd name="T11" fmla="*/ 50 h 73"/>
                  <a:gd name="T12" fmla="*/ 29 w 56"/>
                  <a:gd name="T13" fmla="*/ 43 h 73"/>
                  <a:gd name="T14" fmla="*/ 33 w 56"/>
                  <a:gd name="T15" fmla="*/ 37 h 73"/>
                  <a:gd name="T16" fmla="*/ 37 w 56"/>
                  <a:gd name="T17" fmla="*/ 33 h 73"/>
                  <a:gd name="T18" fmla="*/ 33 w 56"/>
                  <a:gd name="T19" fmla="*/ 31 h 73"/>
                  <a:gd name="T20" fmla="*/ 31 w 56"/>
                  <a:gd name="T21" fmla="*/ 23 h 73"/>
                  <a:gd name="T22" fmla="*/ 25 w 56"/>
                  <a:gd name="T23" fmla="*/ 18 h 73"/>
                  <a:gd name="T24" fmla="*/ 29 w 56"/>
                  <a:gd name="T25" fmla="*/ 16 h 73"/>
                  <a:gd name="T26" fmla="*/ 33 w 56"/>
                  <a:gd name="T27" fmla="*/ 6 h 73"/>
                  <a:gd name="T28" fmla="*/ 27 w 56"/>
                  <a:gd name="T29" fmla="*/ 2 h 73"/>
                  <a:gd name="T30" fmla="*/ 21 w 56"/>
                  <a:gd name="T31" fmla="*/ 10 h 73"/>
                  <a:gd name="T32" fmla="*/ 14 w 56"/>
                  <a:gd name="T33" fmla="*/ 14 h 73"/>
                  <a:gd name="T34" fmla="*/ 6 w 56"/>
                  <a:gd name="T35" fmla="*/ 18 h 73"/>
                  <a:gd name="T36" fmla="*/ 4 w 56"/>
                  <a:gd name="T37" fmla="*/ 23 h 73"/>
                  <a:gd name="T38" fmla="*/ 8 w 56"/>
                  <a:gd name="T39" fmla="*/ 20 h 73"/>
                  <a:gd name="T40" fmla="*/ 10 w 56"/>
                  <a:gd name="T41" fmla="*/ 23 h 73"/>
                  <a:gd name="T42" fmla="*/ 14 w 56"/>
                  <a:gd name="T43" fmla="*/ 22 h 73"/>
                  <a:gd name="T44" fmla="*/ 16 w 56"/>
                  <a:gd name="T45" fmla="*/ 18 h 73"/>
                  <a:gd name="T46" fmla="*/ 19 w 56"/>
                  <a:gd name="T47" fmla="*/ 22 h 73"/>
                  <a:gd name="T48" fmla="*/ 17 w 56"/>
                  <a:gd name="T49" fmla="*/ 25 h 73"/>
                  <a:gd name="T50" fmla="*/ 14 w 56"/>
                  <a:gd name="T51" fmla="*/ 27 h 73"/>
                  <a:gd name="T52" fmla="*/ 0 w 56"/>
                  <a:gd name="T53" fmla="*/ 31 h 73"/>
                  <a:gd name="T54" fmla="*/ 0 w 56"/>
                  <a:gd name="T55" fmla="*/ 39 h 73"/>
                  <a:gd name="T56" fmla="*/ 6 w 56"/>
                  <a:gd name="T57" fmla="*/ 41 h 73"/>
                  <a:gd name="T58" fmla="*/ 4 w 56"/>
                  <a:gd name="T59" fmla="*/ 48 h 73"/>
                  <a:gd name="T60" fmla="*/ 10 w 56"/>
                  <a:gd name="T61" fmla="*/ 56 h 73"/>
                  <a:gd name="T62" fmla="*/ 10 w 56"/>
                  <a:gd name="T63" fmla="*/ 60 h 73"/>
                  <a:gd name="T64" fmla="*/ 46 w 56"/>
                  <a:gd name="T65" fmla="*/ 64 h 73"/>
                  <a:gd name="T66" fmla="*/ 40 w 56"/>
                  <a:gd name="T67" fmla="*/ 68 h 73"/>
                  <a:gd name="T68" fmla="*/ 42 w 56"/>
                  <a:gd name="T69" fmla="*/ 73 h 73"/>
                  <a:gd name="T70" fmla="*/ 50 w 56"/>
                  <a:gd name="T71" fmla="*/ 71 h 73"/>
                  <a:gd name="T72" fmla="*/ 56 w 56"/>
                  <a:gd name="T73" fmla="*/ 66 h 73"/>
                  <a:gd name="T74" fmla="*/ 54 w 56"/>
                  <a:gd name="T75" fmla="*/ 64 h 73"/>
                  <a:gd name="T76" fmla="*/ 50 w 56"/>
                  <a:gd name="T77" fmla="*/ 37 h 73"/>
                  <a:gd name="T78" fmla="*/ 48 w 56"/>
                  <a:gd name="T79" fmla="*/ 43 h 73"/>
                  <a:gd name="T80" fmla="*/ 42 w 56"/>
                  <a:gd name="T81" fmla="*/ 43 h 73"/>
                  <a:gd name="T82" fmla="*/ 37 w 56"/>
                  <a:gd name="T83" fmla="*/ 48 h 73"/>
                  <a:gd name="T84" fmla="*/ 40 w 56"/>
                  <a:gd name="T85" fmla="*/ 54 h 73"/>
                  <a:gd name="T86" fmla="*/ 42 w 56"/>
                  <a:gd name="T87" fmla="*/ 58 h 73"/>
                  <a:gd name="T88" fmla="*/ 48 w 56"/>
                  <a:gd name="T89" fmla="*/ 58 h 73"/>
                  <a:gd name="T90" fmla="*/ 50 w 56"/>
                  <a:gd name="T91" fmla="*/ 58 h 73"/>
                  <a:gd name="T92" fmla="*/ 56 w 56"/>
                  <a:gd name="T93" fmla="*/ 48 h 73"/>
                  <a:gd name="T94" fmla="*/ 52 w 56"/>
                  <a:gd name="T95" fmla="*/ 37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3">
                    <a:moveTo>
                      <a:pt x="10" y="60"/>
                    </a:moveTo>
                    <a:lnTo>
                      <a:pt x="21" y="60"/>
                    </a:lnTo>
                    <a:lnTo>
                      <a:pt x="23" y="54"/>
                    </a:lnTo>
                    <a:lnTo>
                      <a:pt x="25" y="56"/>
                    </a:lnTo>
                    <a:lnTo>
                      <a:pt x="27" y="58"/>
                    </a:lnTo>
                    <a:lnTo>
                      <a:pt x="29" y="60"/>
                    </a:lnTo>
                    <a:lnTo>
                      <a:pt x="33" y="60"/>
                    </a:lnTo>
                    <a:lnTo>
                      <a:pt x="35" y="66"/>
                    </a:lnTo>
                    <a:lnTo>
                      <a:pt x="37" y="70"/>
                    </a:lnTo>
                    <a:lnTo>
                      <a:pt x="35" y="60"/>
                    </a:lnTo>
                    <a:lnTo>
                      <a:pt x="33" y="50"/>
                    </a:lnTo>
                    <a:lnTo>
                      <a:pt x="29" y="50"/>
                    </a:lnTo>
                    <a:lnTo>
                      <a:pt x="27" y="50"/>
                    </a:lnTo>
                    <a:lnTo>
                      <a:pt x="29" y="43"/>
                    </a:lnTo>
                    <a:lnTo>
                      <a:pt x="31" y="35"/>
                    </a:lnTo>
                    <a:lnTo>
                      <a:pt x="33" y="37"/>
                    </a:lnTo>
                    <a:lnTo>
                      <a:pt x="37" y="37"/>
                    </a:lnTo>
                    <a:lnTo>
                      <a:pt x="37" y="33"/>
                    </a:lnTo>
                    <a:lnTo>
                      <a:pt x="37" y="31"/>
                    </a:lnTo>
                    <a:lnTo>
                      <a:pt x="33" y="31"/>
                    </a:lnTo>
                    <a:lnTo>
                      <a:pt x="31" y="31"/>
                    </a:lnTo>
                    <a:lnTo>
                      <a:pt x="31" y="23"/>
                    </a:lnTo>
                    <a:lnTo>
                      <a:pt x="31" y="18"/>
                    </a:lnTo>
                    <a:lnTo>
                      <a:pt x="25" y="18"/>
                    </a:lnTo>
                    <a:lnTo>
                      <a:pt x="23" y="16"/>
                    </a:lnTo>
                    <a:lnTo>
                      <a:pt x="29" y="16"/>
                    </a:lnTo>
                    <a:lnTo>
                      <a:pt x="33" y="12"/>
                    </a:lnTo>
                    <a:lnTo>
                      <a:pt x="33" y="6"/>
                    </a:lnTo>
                    <a:lnTo>
                      <a:pt x="33" y="0"/>
                    </a:lnTo>
                    <a:lnTo>
                      <a:pt x="27" y="2"/>
                    </a:lnTo>
                    <a:lnTo>
                      <a:pt x="23" y="6"/>
                    </a:lnTo>
                    <a:lnTo>
                      <a:pt x="21" y="10"/>
                    </a:lnTo>
                    <a:lnTo>
                      <a:pt x="19" y="14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6" y="18"/>
                    </a:lnTo>
                    <a:lnTo>
                      <a:pt x="2" y="22"/>
                    </a:lnTo>
                    <a:lnTo>
                      <a:pt x="4" y="23"/>
                    </a:lnTo>
                    <a:lnTo>
                      <a:pt x="6" y="25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0" y="23"/>
                    </a:lnTo>
                    <a:lnTo>
                      <a:pt x="12" y="25"/>
                    </a:lnTo>
                    <a:lnTo>
                      <a:pt x="14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9" y="18"/>
                    </a:lnTo>
                    <a:lnTo>
                      <a:pt x="19" y="22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6" y="23"/>
                    </a:lnTo>
                    <a:lnTo>
                      <a:pt x="14" y="27"/>
                    </a:lnTo>
                    <a:lnTo>
                      <a:pt x="12" y="31"/>
                    </a:lnTo>
                    <a:lnTo>
                      <a:pt x="0" y="31"/>
                    </a:lnTo>
                    <a:lnTo>
                      <a:pt x="0" y="35"/>
                    </a:lnTo>
                    <a:lnTo>
                      <a:pt x="0" y="39"/>
                    </a:lnTo>
                    <a:lnTo>
                      <a:pt x="4" y="39"/>
                    </a:lnTo>
                    <a:lnTo>
                      <a:pt x="6" y="41"/>
                    </a:lnTo>
                    <a:lnTo>
                      <a:pt x="6" y="45"/>
                    </a:lnTo>
                    <a:lnTo>
                      <a:pt x="4" y="48"/>
                    </a:lnTo>
                    <a:lnTo>
                      <a:pt x="4" y="54"/>
                    </a:lnTo>
                    <a:lnTo>
                      <a:pt x="10" y="56"/>
                    </a:lnTo>
                    <a:lnTo>
                      <a:pt x="10" y="58"/>
                    </a:lnTo>
                    <a:lnTo>
                      <a:pt x="10" y="60"/>
                    </a:lnTo>
                    <a:close/>
                    <a:moveTo>
                      <a:pt x="50" y="64"/>
                    </a:moveTo>
                    <a:lnTo>
                      <a:pt x="46" y="64"/>
                    </a:lnTo>
                    <a:lnTo>
                      <a:pt x="40" y="66"/>
                    </a:lnTo>
                    <a:lnTo>
                      <a:pt x="40" y="68"/>
                    </a:lnTo>
                    <a:lnTo>
                      <a:pt x="40" y="71"/>
                    </a:lnTo>
                    <a:lnTo>
                      <a:pt x="42" y="73"/>
                    </a:lnTo>
                    <a:lnTo>
                      <a:pt x="46" y="73"/>
                    </a:lnTo>
                    <a:lnTo>
                      <a:pt x="50" y="71"/>
                    </a:lnTo>
                    <a:lnTo>
                      <a:pt x="56" y="68"/>
                    </a:lnTo>
                    <a:lnTo>
                      <a:pt x="56" y="66"/>
                    </a:lnTo>
                    <a:lnTo>
                      <a:pt x="56" y="64"/>
                    </a:lnTo>
                    <a:lnTo>
                      <a:pt x="54" y="64"/>
                    </a:lnTo>
                    <a:lnTo>
                      <a:pt x="50" y="64"/>
                    </a:lnTo>
                    <a:close/>
                    <a:moveTo>
                      <a:pt x="50" y="37"/>
                    </a:moveTo>
                    <a:lnTo>
                      <a:pt x="46" y="43"/>
                    </a:lnTo>
                    <a:lnTo>
                      <a:pt x="48" y="43"/>
                    </a:lnTo>
                    <a:lnTo>
                      <a:pt x="48" y="47"/>
                    </a:lnTo>
                    <a:lnTo>
                      <a:pt x="42" y="43"/>
                    </a:lnTo>
                    <a:lnTo>
                      <a:pt x="40" y="45"/>
                    </a:lnTo>
                    <a:lnTo>
                      <a:pt x="37" y="48"/>
                    </a:lnTo>
                    <a:lnTo>
                      <a:pt x="39" y="52"/>
                    </a:lnTo>
                    <a:lnTo>
                      <a:pt x="40" y="54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8" y="58"/>
                    </a:lnTo>
                    <a:lnTo>
                      <a:pt x="48" y="60"/>
                    </a:lnTo>
                    <a:lnTo>
                      <a:pt x="50" y="58"/>
                    </a:lnTo>
                    <a:lnTo>
                      <a:pt x="56" y="56"/>
                    </a:lnTo>
                    <a:lnTo>
                      <a:pt x="56" y="48"/>
                    </a:lnTo>
                    <a:lnTo>
                      <a:pt x="56" y="37"/>
                    </a:lnTo>
                    <a:lnTo>
                      <a:pt x="52" y="37"/>
                    </a:lnTo>
                    <a:lnTo>
                      <a:pt x="50" y="3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6" name="Freeform 204"/>
              <p:cNvSpPr>
                <a:spLocks/>
              </p:cNvSpPr>
              <p:nvPr/>
            </p:nvSpPr>
            <p:spPr bwMode="gray">
              <a:xfrm>
                <a:off x="4570307" y="3114676"/>
                <a:ext cx="119049" cy="73025"/>
              </a:xfrm>
              <a:custGeom>
                <a:avLst/>
                <a:gdLst>
                  <a:gd name="T0" fmla="*/ 59 w 75"/>
                  <a:gd name="T1" fmla="*/ 42 h 46"/>
                  <a:gd name="T2" fmla="*/ 61 w 75"/>
                  <a:gd name="T3" fmla="*/ 40 h 46"/>
                  <a:gd name="T4" fmla="*/ 65 w 75"/>
                  <a:gd name="T5" fmla="*/ 36 h 46"/>
                  <a:gd name="T6" fmla="*/ 67 w 75"/>
                  <a:gd name="T7" fmla="*/ 34 h 46"/>
                  <a:gd name="T8" fmla="*/ 67 w 75"/>
                  <a:gd name="T9" fmla="*/ 31 h 46"/>
                  <a:gd name="T10" fmla="*/ 73 w 75"/>
                  <a:gd name="T11" fmla="*/ 29 h 46"/>
                  <a:gd name="T12" fmla="*/ 75 w 75"/>
                  <a:gd name="T13" fmla="*/ 29 h 46"/>
                  <a:gd name="T14" fmla="*/ 73 w 75"/>
                  <a:gd name="T15" fmla="*/ 25 h 46"/>
                  <a:gd name="T16" fmla="*/ 71 w 75"/>
                  <a:gd name="T17" fmla="*/ 21 h 46"/>
                  <a:gd name="T18" fmla="*/ 67 w 75"/>
                  <a:gd name="T19" fmla="*/ 17 h 46"/>
                  <a:gd name="T20" fmla="*/ 63 w 75"/>
                  <a:gd name="T21" fmla="*/ 15 h 46"/>
                  <a:gd name="T22" fmla="*/ 59 w 75"/>
                  <a:gd name="T23" fmla="*/ 15 h 46"/>
                  <a:gd name="T24" fmla="*/ 56 w 75"/>
                  <a:gd name="T25" fmla="*/ 13 h 46"/>
                  <a:gd name="T26" fmla="*/ 50 w 75"/>
                  <a:gd name="T27" fmla="*/ 9 h 46"/>
                  <a:gd name="T28" fmla="*/ 46 w 75"/>
                  <a:gd name="T29" fmla="*/ 9 h 46"/>
                  <a:gd name="T30" fmla="*/ 44 w 75"/>
                  <a:gd name="T31" fmla="*/ 8 h 46"/>
                  <a:gd name="T32" fmla="*/ 40 w 75"/>
                  <a:gd name="T33" fmla="*/ 6 h 46"/>
                  <a:gd name="T34" fmla="*/ 36 w 75"/>
                  <a:gd name="T35" fmla="*/ 6 h 46"/>
                  <a:gd name="T36" fmla="*/ 35 w 75"/>
                  <a:gd name="T37" fmla="*/ 4 h 46"/>
                  <a:gd name="T38" fmla="*/ 31 w 75"/>
                  <a:gd name="T39" fmla="*/ 2 h 46"/>
                  <a:gd name="T40" fmla="*/ 25 w 75"/>
                  <a:gd name="T41" fmla="*/ 0 h 46"/>
                  <a:gd name="T42" fmla="*/ 23 w 75"/>
                  <a:gd name="T43" fmla="*/ 2 h 46"/>
                  <a:gd name="T44" fmla="*/ 17 w 75"/>
                  <a:gd name="T45" fmla="*/ 4 h 46"/>
                  <a:gd name="T46" fmla="*/ 11 w 75"/>
                  <a:gd name="T47" fmla="*/ 8 h 46"/>
                  <a:gd name="T48" fmla="*/ 10 w 75"/>
                  <a:gd name="T49" fmla="*/ 9 h 46"/>
                  <a:gd name="T50" fmla="*/ 6 w 75"/>
                  <a:gd name="T51" fmla="*/ 13 h 46"/>
                  <a:gd name="T52" fmla="*/ 2 w 75"/>
                  <a:gd name="T53" fmla="*/ 13 h 46"/>
                  <a:gd name="T54" fmla="*/ 0 w 75"/>
                  <a:gd name="T55" fmla="*/ 13 h 46"/>
                  <a:gd name="T56" fmla="*/ 0 w 75"/>
                  <a:gd name="T57" fmla="*/ 13 h 46"/>
                  <a:gd name="T58" fmla="*/ 0 w 75"/>
                  <a:gd name="T59" fmla="*/ 15 h 46"/>
                  <a:gd name="T60" fmla="*/ 2 w 75"/>
                  <a:gd name="T61" fmla="*/ 17 h 46"/>
                  <a:gd name="T62" fmla="*/ 4 w 75"/>
                  <a:gd name="T63" fmla="*/ 23 h 46"/>
                  <a:gd name="T64" fmla="*/ 6 w 75"/>
                  <a:gd name="T65" fmla="*/ 25 h 46"/>
                  <a:gd name="T66" fmla="*/ 8 w 75"/>
                  <a:gd name="T67" fmla="*/ 29 h 46"/>
                  <a:gd name="T68" fmla="*/ 8 w 75"/>
                  <a:gd name="T69" fmla="*/ 34 h 46"/>
                  <a:gd name="T70" fmla="*/ 11 w 75"/>
                  <a:gd name="T71" fmla="*/ 36 h 46"/>
                  <a:gd name="T72" fmla="*/ 15 w 75"/>
                  <a:gd name="T73" fmla="*/ 38 h 46"/>
                  <a:gd name="T74" fmla="*/ 19 w 75"/>
                  <a:gd name="T75" fmla="*/ 42 h 46"/>
                  <a:gd name="T76" fmla="*/ 19 w 75"/>
                  <a:gd name="T77" fmla="*/ 42 h 46"/>
                  <a:gd name="T78" fmla="*/ 21 w 75"/>
                  <a:gd name="T79" fmla="*/ 44 h 46"/>
                  <a:gd name="T80" fmla="*/ 23 w 75"/>
                  <a:gd name="T81" fmla="*/ 46 h 46"/>
                  <a:gd name="T82" fmla="*/ 27 w 75"/>
                  <a:gd name="T83" fmla="*/ 46 h 46"/>
                  <a:gd name="T84" fmla="*/ 29 w 75"/>
                  <a:gd name="T85" fmla="*/ 46 h 46"/>
                  <a:gd name="T86" fmla="*/ 33 w 75"/>
                  <a:gd name="T87" fmla="*/ 40 h 46"/>
                  <a:gd name="T88" fmla="*/ 35 w 75"/>
                  <a:gd name="T89" fmla="*/ 38 h 46"/>
                  <a:gd name="T90" fmla="*/ 36 w 75"/>
                  <a:gd name="T91" fmla="*/ 38 h 46"/>
                  <a:gd name="T92" fmla="*/ 40 w 75"/>
                  <a:gd name="T93" fmla="*/ 40 h 46"/>
                  <a:gd name="T94" fmla="*/ 46 w 75"/>
                  <a:gd name="T95" fmla="*/ 42 h 46"/>
                  <a:gd name="T96" fmla="*/ 50 w 75"/>
                  <a:gd name="T97" fmla="*/ 44 h 46"/>
                  <a:gd name="T98" fmla="*/ 56 w 75"/>
                  <a:gd name="T99" fmla="*/ 42 h 46"/>
                  <a:gd name="T100" fmla="*/ 59 w 75"/>
                  <a:gd name="T101" fmla="*/ 4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5" h="46">
                    <a:moveTo>
                      <a:pt x="59" y="42"/>
                    </a:moveTo>
                    <a:lnTo>
                      <a:pt x="61" y="40"/>
                    </a:lnTo>
                    <a:lnTo>
                      <a:pt x="65" y="36"/>
                    </a:lnTo>
                    <a:lnTo>
                      <a:pt x="67" y="34"/>
                    </a:lnTo>
                    <a:lnTo>
                      <a:pt x="67" y="31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3" y="25"/>
                    </a:lnTo>
                    <a:lnTo>
                      <a:pt x="71" y="21"/>
                    </a:lnTo>
                    <a:lnTo>
                      <a:pt x="67" y="17"/>
                    </a:lnTo>
                    <a:lnTo>
                      <a:pt x="63" y="15"/>
                    </a:lnTo>
                    <a:lnTo>
                      <a:pt x="59" y="15"/>
                    </a:lnTo>
                    <a:lnTo>
                      <a:pt x="56" y="13"/>
                    </a:lnTo>
                    <a:lnTo>
                      <a:pt x="50" y="9"/>
                    </a:lnTo>
                    <a:lnTo>
                      <a:pt x="46" y="9"/>
                    </a:lnTo>
                    <a:lnTo>
                      <a:pt x="44" y="8"/>
                    </a:lnTo>
                    <a:lnTo>
                      <a:pt x="40" y="6"/>
                    </a:lnTo>
                    <a:lnTo>
                      <a:pt x="36" y="6"/>
                    </a:lnTo>
                    <a:lnTo>
                      <a:pt x="35" y="4"/>
                    </a:lnTo>
                    <a:lnTo>
                      <a:pt x="31" y="2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17" y="4"/>
                    </a:lnTo>
                    <a:lnTo>
                      <a:pt x="11" y="8"/>
                    </a:lnTo>
                    <a:lnTo>
                      <a:pt x="10" y="9"/>
                    </a:lnTo>
                    <a:lnTo>
                      <a:pt x="6" y="13"/>
                    </a:lnTo>
                    <a:lnTo>
                      <a:pt x="2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2" y="17"/>
                    </a:lnTo>
                    <a:lnTo>
                      <a:pt x="4" y="23"/>
                    </a:lnTo>
                    <a:lnTo>
                      <a:pt x="6" y="25"/>
                    </a:lnTo>
                    <a:lnTo>
                      <a:pt x="8" y="29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5" y="38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21" y="44"/>
                    </a:lnTo>
                    <a:lnTo>
                      <a:pt x="23" y="46"/>
                    </a:lnTo>
                    <a:lnTo>
                      <a:pt x="27" y="46"/>
                    </a:lnTo>
                    <a:lnTo>
                      <a:pt x="29" y="46"/>
                    </a:lnTo>
                    <a:lnTo>
                      <a:pt x="33" y="40"/>
                    </a:lnTo>
                    <a:lnTo>
                      <a:pt x="35" y="38"/>
                    </a:lnTo>
                    <a:lnTo>
                      <a:pt x="36" y="38"/>
                    </a:lnTo>
                    <a:lnTo>
                      <a:pt x="40" y="40"/>
                    </a:lnTo>
                    <a:lnTo>
                      <a:pt x="46" y="42"/>
                    </a:lnTo>
                    <a:lnTo>
                      <a:pt x="50" y="44"/>
                    </a:lnTo>
                    <a:lnTo>
                      <a:pt x="56" y="42"/>
                    </a:lnTo>
                    <a:lnTo>
                      <a:pt x="59" y="4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7" name="Freeform 205"/>
              <p:cNvSpPr>
                <a:spLocks noEditPoints="1"/>
              </p:cNvSpPr>
              <p:nvPr/>
            </p:nvSpPr>
            <p:spPr bwMode="gray">
              <a:xfrm>
                <a:off x="4965550" y="3559176"/>
                <a:ext cx="46032" cy="26988"/>
              </a:xfrm>
              <a:custGeom>
                <a:avLst/>
                <a:gdLst>
                  <a:gd name="T0" fmla="*/ 20 w 29"/>
                  <a:gd name="T1" fmla="*/ 13 h 17"/>
                  <a:gd name="T2" fmla="*/ 18 w 29"/>
                  <a:gd name="T3" fmla="*/ 15 h 17"/>
                  <a:gd name="T4" fmla="*/ 16 w 29"/>
                  <a:gd name="T5" fmla="*/ 17 h 17"/>
                  <a:gd name="T6" fmla="*/ 10 w 29"/>
                  <a:gd name="T7" fmla="*/ 17 h 17"/>
                  <a:gd name="T8" fmla="*/ 4 w 29"/>
                  <a:gd name="T9" fmla="*/ 17 h 17"/>
                  <a:gd name="T10" fmla="*/ 2 w 29"/>
                  <a:gd name="T11" fmla="*/ 15 h 17"/>
                  <a:gd name="T12" fmla="*/ 0 w 29"/>
                  <a:gd name="T13" fmla="*/ 13 h 17"/>
                  <a:gd name="T14" fmla="*/ 0 w 29"/>
                  <a:gd name="T15" fmla="*/ 12 h 17"/>
                  <a:gd name="T16" fmla="*/ 2 w 29"/>
                  <a:gd name="T17" fmla="*/ 12 h 17"/>
                  <a:gd name="T18" fmla="*/ 4 w 29"/>
                  <a:gd name="T19" fmla="*/ 13 h 17"/>
                  <a:gd name="T20" fmla="*/ 8 w 29"/>
                  <a:gd name="T21" fmla="*/ 13 h 17"/>
                  <a:gd name="T22" fmla="*/ 10 w 29"/>
                  <a:gd name="T23" fmla="*/ 12 h 17"/>
                  <a:gd name="T24" fmla="*/ 10 w 29"/>
                  <a:gd name="T25" fmla="*/ 12 h 17"/>
                  <a:gd name="T26" fmla="*/ 12 w 29"/>
                  <a:gd name="T27" fmla="*/ 10 h 17"/>
                  <a:gd name="T28" fmla="*/ 14 w 29"/>
                  <a:gd name="T29" fmla="*/ 12 h 17"/>
                  <a:gd name="T30" fmla="*/ 16 w 29"/>
                  <a:gd name="T31" fmla="*/ 12 h 17"/>
                  <a:gd name="T32" fmla="*/ 20 w 29"/>
                  <a:gd name="T33" fmla="*/ 13 h 17"/>
                  <a:gd name="T34" fmla="*/ 20 w 29"/>
                  <a:gd name="T35" fmla="*/ 13 h 17"/>
                  <a:gd name="T36" fmla="*/ 25 w 29"/>
                  <a:gd name="T37" fmla="*/ 4 h 17"/>
                  <a:gd name="T38" fmla="*/ 29 w 29"/>
                  <a:gd name="T39" fmla="*/ 0 h 17"/>
                  <a:gd name="T40" fmla="*/ 25 w 29"/>
                  <a:gd name="T41" fmla="*/ 4 h 17"/>
                  <a:gd name="T42" fmla="*/ 22 w 29"/>
                  <a:gd name="T43" fmla="*/ 6 h 17"/>
                  <a:gd name="T44" fmla="*/ 12 w 29"/>
                  <a:gd name="T45" fmla="*/ 8 h 17"/>
                  <a:gd name="T46" fmla="*/ 2 w 29"/>
                  <a:gd name="T47" fmla="*/ 10 h 17"/>
                  <a:gd name="T48" fmla="*/ 2 w 29"/>
                  <a:gd name="T49" fmla="*/ 10 h 17"/>
                  <a:gd name="T50" fmla="*/ 2 w 29"/>
                  <a:gd name="T51" fmla="*/ 12 h 17"/>
                  <a:gd name="T52" fmla="*/ 4 w 29"/>
                  <a:gd name="T53" fmla="*/ 13 h 17"/>
                  <a:gd name="T54" fmla="*/ 8 w 29"/>
                  <a:gd name="T55" fmla="*/ 13 h 17"/>
                  <a:gd name="T56" fmla="*/ 10 w 29"/>
                  <a:gd name="T57" fmla="*/ 12 h 17"/>
                  <a:gd name="T58" fmla="*/ 10 w 29"/>
                  <a:gd name="T59" fmla="*/ 12 h 17"/>
                  <a:gd name="T60" fmla="*/ 12 w 29"/>
                  <a:gd name="T61" fmla="*/ 10 h 17"/>
                  <a:gd name="T62" fmla="*/ 14 w 29"/>
                  <a:gd name="T63" fmla="*/ 12 h 17"/>
                  <a:gd name="T64" fmla="*/ 16 w 29"/>
                  <a:gd name="T65" fmla="*/ 12 h 17"/>
                  <a:gd name="T66" fmla="*/ 20 w 29"/>
                  <a:gd name="T67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" h="17">
                    <a:moveTo>
                      <a:pt x="20" y="13"/>
                    </a:moveTo>
                    <a:lnTo>
                      <a:pt x="18" y="15"/>
                    </a:lnTo>
                    <a:lnTo>
                      <a:pt x="16" y="17"/>
                    </a:lnTo>
                    <a:lnTo>
                      <a:pt x="10" y="17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4" y="13"/>
                    </a:lnTo>
                    <a:lnTo>
                      <a:pt x="8" y="13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20" y="13"/>
                    </a:lnTo>
                    <a:close/>
                    <a:moveTo>
                      <a:pt x="20" y="13"/>
                    </a:moveTo>
                    <a:lnTo>
                      <a:pt x="25" y="4"/>
                    </a:lnTo>
                    <a:lnTo>
                      <a:pt x="29" y="0"/>
                    </a:lnTo>
                    <a:lnTo>
                      <a:pt x="25" y="4"/>
                    </a:lnTo>
                    <a:lnTo>
                      <a:pt x="22" y="6"/>
                    </a:lnTo>
                    <a:lnTo>
                      <a:pt x="12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4" y="13"/>
                    </a:lnTo>
                    <a:lnTo>
                      <a:pt x="8" y="13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20" y="1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8" name="Freeform 206"/>
              <p:cNvSpPr>
                <a:spLocks noEditPoints="1"/>
              </p:cNvSpPr>
              <p:nvPr/>
            </p:nvSpPr>
            <p:spPr bwMode="gray">
              <a:xfrm>
                <a:off x="2657582" y="3879851"/>
                <a:ext cx="196828" cy="87313"/>
              </a:xfrm>
              <a:custGeom>
                <a:avLst/>
                <a:gdLst>
                  <a:gd name="T0" fmla="*/ 19 w 124"/>
                  <a:gd name="T1" fmla="*/ 17 h 55"/>
                  <a:gd name="T2" fmla="*/ 19 w 124"/>
                  <a:gd name="T3" fmla="*/ 21 h 55"/>
                  <a:gd name="T4" fmla="*/ 21 w 124"/>
                  <a:gd name="T5" fmla="*/ 24 h 55"/>
                  <a:gd name="T6" fmla="*/ 17 w 124"/>
                  <a:gd name="T7" fmla="*/ 26 h 55"/>
                  <a:gd name="T8" fmla="*/ 19 w 124"/>
                  <a:gd name="T9" fmla="*/ 26 h 55"/>
                  <a:gd name="T10" fmla="*/ 23 w 124"/>
                  <a:gd name="T11" fmla="*/ 23 h 55"/>
                  <a:gd name="T12" fmla="*/ 25 w 124"/>
                  <a:gd name="T13" fmla="*/ 19 h 55"/>
                  <a:gd name="T14" fmla="*/ 21 w 124"/>
                  <a:gd name="T15" fmla="*/ 19 h 55"/>
                  <a:gd name="T16" fmla="*/ 19 w 124"/>
                  <a:gd name="T17" fmla="*/ 17 h 55"/>
                  <a:gd name="T18" fmla="*/ 19 w 124"/>
                  <a:gd name="T19" fmla="*/ 0 h 55"/>
                  <a:gd name="T20" fmla="*/ 11 w 124"/>
                  <a:gd name="T21" fmla="*/ 3 h 55"/>
                  <a:gd name="T22" fmla="*/ 6 w 124"/>
                  <a:gd name="T23" fmla="*/ 9 h 55"/>
                  <a:gd name="T24" fmla="*/ 2 w 124"/>
                  <a:gd name="T25" fmla="*/ 15 h 55"/>
                  <a:gd name="T26" fmla="*/ 0 w 124"/>
                  <a:gd name="T27" fmla="*/ 21 h 55"/>
                  <a:gd name="T28" fmla="*/ 4 w 124"/>
                  <a:gd name="T29" fmla="*/ 21 h 55"/>
                  <a:gd name="T30" fmla="*/ 9 w 124"/>
                  <a:gd name="T31" fmla="*/ 19 h 55"/>
                  <a:gd name="T32" fmla="*/ 9 w 124"/>
                  <a:gd name="T33" fmla="*/ 15 h 55"/>
                  <a:gd name="T34" fmla="*/ 15 w 124"/>
                  <a:gd name="T35" fmla="*/ 11 h 55"/>
                  <a:gd name="T36" fmla="*/ 21 w 124"/>
                  <a:gd name="T37" fmla="*/ 5 h 55"/>
                  <a:gd name="T38" fmla="*/ 27 w 124"/>
                  <a:gd name="T39" fmla="*/ 5 h 55"/>
                  <a:gd name="T40" fmla="*/ 32 w 124"/>
                  <a:gd name="T41" fmla="*/ 7 h 55"/>
                  <a:gd name="T42" fmla="*/ 34 w 124"/>
                  <a:gd name="T43" fmla="*/ 11 h 55"/>
                  <a:gd name="T44" fmla="*/ 36 w 124"/>
                  <a:gd name="T45" fmla="*/ 13 h 55"/>
                  <a:gd name="T46" fmla="*/ 40 w 124"/>
                  <a:gd name="T47" fmla="*/ 13 h 55"/>
                  <a:gd name="T48" fmla="*/ 44 w 124"/>
                  <a:gd name="T49" fmla="*/ 13 h 55"/>
                  <a:gd name="T50" fmla="*/ 46 w 124"/>
                  <a:gd name="T51" fmla="*/ 17 h 55"/>
                  <a:gd name="T52" fmla="*/ 48 w 124"/>
                  <a:gd name="T53" fmla="*/ 17 h 55"/>
                  <a:gd name="T54" fmla="*/ 52 w 124"/>
                  <a:gd name="T55" fmla="*/ 17 h 55"/>
                  <a:gd name="T56" fmla="*/ 53 w 124"/>
                  <a:gd name="T57" fmla="*/ 21 h 55"/>
                  <a:gd name="T58" fmla="*/ 59 w 124"/>
                  <a:gd name="T59" fmla="*/ 26 h 55"/>
                  <a:gd name="T60" fmla="*/ 65 w 124"/>
                  <a:gd name="T61" fmla="*/ 26 h 55"/>
                  <a:gd name="T62" fmla="*/ 73 w 124"/>
                  <a:gd name="T63" fmla="*/ 26 h 55"/>
                  <a:gd name="T64" fmla="*/ 73 w 124"/>
                  <a:gd name="T65" fmla="*/ 28 h 55"/>
                  <a:gd name="T66" fmla="*/ 73 w 124"/>
                  <a:gd name="T67" fmla="*/ 32 h 55"/>
                  <a:gd name="T68" fmla="*/ 75 w 124"/>
                  <a:gd name="T69" fmla="*/ 36 h 55"/>
                  <a:gd name="T70" fmla="*/ 78 w 124"/>
                  <a:gd name="T71" fmla="*/ 40 h 55"/>
                  <a:gd name="T72" fmla="*/ 84 w 124"/>
                  <a:gd name="T73" fmla="*/ 42 h 55"/>
                  <a:gd name="T74" fmla="*/ 90 w 124"/>
                  <a:gd name="T75" fmla="*/ 44 h 55"/>
                  <a:gd name="T76" fmla="*/ 86 w 124"/>
                  <a:gd name="T77" fmla="*/ 49 h 55"/>
                  <a:gd name="T78" fmla="*/ 84 w 124"/>
                  <a:gd name="T79" fmla="*/ 55 h 55"/>
                  <a:gd name="T80" fmla="*/ 103 w 124"/>
                  <a:gd name="T81" fmla="*/ 53 h 55"/>
                  <a:gd name="T82" fmla="*/ 124 w 124"/>
                  <a:gd name="T83" fmla="*/ 49 h 55"/>
                  <a:gd name="T84" fmla="*/ 123 w 124"/>
                  <a:gd name="T85" fmla="*/ 42 h 55"/>
                  <a:gd name="T86" fmla="*/ 115 w 124"/>
                  <a:gd name="T87" fmla="*/ 42 h 55"/>
                  <a:gd name="T88" fmla="*/ 109 w 124"/>
                  <a:gd name="T89" fmla="*/ 42 h 55"/>
                  <a:gd name="T90" fmla="*/ 107 w 124"/>
                  <a:gd name="T91" fmla="*/ 32 h 55"/>
                  <a:gd name="T92" fmla="*/ 101 w 124"/>
                  <a:gd name="T93" fmla="*/ 32 h 55"/>
                  <a:gd name="T94" fmla="*/ 96 w 124"/>
                  <a:gd name="T95" fmla="*/ 32 h 55"/>
                  <a:gd name="T96" fmla="*/ 94 w 124"/>
                  <a:gd name="T97" fmla="*/ 28 h 55"/>
                  <a:gd name="T98" fmla="*/ 94 w 124"/>
                  <a:gd name="T99" fmla="*/ 26 h 55"/>
                  <a:gd name="T100" fmla="*/ 82 w 124"/>
                  <a:gd name="T101" fmla="*/ 21 h 55"/>
                  <a:gd name="T102" fmla="*/ 71 w 124"/>
                  <a:gd name="T103" fmla="*/ 15 h 55"/>
                  <a:gd name="T104" fmla="*/ 67 w 124"/>
                  <a:gd name="T105" fmla="*/ 15 h 55"/>
                  <a:gd name="T106" fmla="*/ 65 w 124"/>
                  <a:gd name="T107" fmla="*/ 15 h 55"/>
                  <a:gd name="T108" fmla="*/ 61 w 124"/>
                  <a:gd name="T109" fmla="*/ 9 h 55"/>
                  <a:gd name="T110" fmla="*/ 59 w 124"/>
                  <a:gd name="T111" fmla="*/ 5 h 55"/>
                  <a:gd name="T112" fmla="*/ 38 w 124"/>
                  <a:gd name="T113" fmla="*/ 1 h 55"/>
                  <a:gd name="T114" fmla="*/ 19 w 124"/>
                  <a:gd name="T11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4" h="55">
                    <a:moveTo>
                      <a:pt x="19" y="17"/>
                    </a:moveTo>
                    <a:lnTo>
                      <a:pt x="19" y="21"/>
                    </a:lnTo>
                    <a:lnTo>
                      <a:pt x="21" y="24"/>
                    </a:lnTo>
                    <a:lnTo>
                      <a:pt x="17" y="26"/>
                    </a:lnTo>
                    <a:lnTo>
                      <a:pt x="19" y="26"/>
                    </a:lnTo>
                    <a:lnTo>
                      <a:pt x="23" y="23"/>
                    </a:lnTo>
                    <a:lnTo>
                      <a:pt x="25" y="19"/>
                    </a:lnTo>
                    <a:lnTo>
                      <a:pt x="21" y="19"/>
                    </a:lnTo>
                    <a:lnTo>
                      <a:pt x="19" y="17"/>
                    </a:lnTo>
                    <a:close/>
                    <a:moveTo>
                      <a:pt x="19" y="0"/>
                    </a:moveTo>
                    <a:lnTo>
                      <a:pt x="11" y="3"/>
                    </a:lnTo>
                    <a:lnTo>
                      <a:pt x="6" y="9"/>
                    </a:lnTo>
                    <a:lnTo>
                      <a:pt x="2" y="15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9" y="19"/>
                    </a:lnTo>
                    <a:lnTo>
                      <a:pt x="9" y="15"/>
                    </a:lnTo>
                    <a:lnTo>
                      <a:pt x="15" y="11"/>
                    </a:lnTo>
                    <a:lnTo>
                      <a:pt x="21" y="5"/>
                    </a:lnTo>
                    <a:lnTo>
                      <a:pt x="27" y="5"/>
                    </a:lnTo>
                    <a:lnTo>
                      <a:pt x="32" y="7"/>
                    </a:lnTo>
                    <a:lnTo>
                      <a:pt x="34" y="11"/>
                    </a:lnTo>
                    <a:lnTo>
                      <a:pt x="36" y="13"/>
                    </a:lnTo>
                    <a:lnTo>
                      <a:pt x="40" y="13"/>
                    </a:lnTo>
                    <a:lnTo>
                      <a:pt x="44" y="13"/>
                    </a:lnTo>
                    <a:lnTo>
                      <a:pt x="46" y="17"/>
                    </a:lnTo>
                    <a:lnTo>
                      <a:pt x="48" y="17"/>
                    </a:lnTo>
                    <a:lnTo>
                      <a:pt x="52" y="17"/>
                    </a:lnTo>
                    <a:lnTo>
                      <a:pt x="53" y="21"/>
                    </a:lnTo>
                    <a:lnTo>
                      <a:pt x="59" y="26"/>
                    </a:lnTo>
                    <a:lnTo>
                      <a:pt x="65" y="26"/>
                    </a:lnTo>
                    <a:lnTo>
                      <a:pt x="73" y="26"/>
                    </a:lnTo>
                    <a:lnTo>
                      <a:pt x="73" y="28"/>
                    </a:lnTo>
                    <a:lnTo>
                      <a:pt x="73" y="32"/>
                    </a:lnTo>
                    <a:lnTo>
                      <a:pt x="75" y="36"/>
                    </a:lnTo>
                    <a:lnTo>
                      <a:pt x="78" y="40"/>
                    </a:lnTo>
                    <a:lnTo>
                      <a:pt x="84" y="42"/>
                    </a:lnTo>
                    <a:lnTo>
                      <a:pt x="90" y="44"/>
                    </a:lnTo>
                    <a:lnTo>
                      <a:pt x="86" y="49"/>
                    </a:lnTo>
                    <a:lnTo>
                      <a:pt x="84" y="55"/>
                    </a:lnTo>
                    <a:lnTo>
                      <a:pt x="103" y="53"/>
                    </a:lnTo>
                    <a:lnTo>
                      <a:pt x="124" y="49"/>
                    </a:lnTo>
                    <a:lnTo>
                      <a:pt x="123" y="42"/>
                    </a:lnTo>
                    <a:lnTo>
                      <a:pt x="115" y="42"/>
                    </a:lnTo>
                    <a:lnTo>
                      <a:pt x="109" y="42"/>
                    </a:lnTo>
                    <a:lnTo>
                      <a:pt x="107" y="32"/>
                    </a:lnTo>
                    <a:lnTo>
                      <a:pt x="101" y="32"/>
                    </a:lnTo>
                    <a:lnTo>
                      <a:pt x="96" y="32"/>
                    </a:lnTo>
                    <a:lnTo>
                      <a:pt x="94" y="28"/>
                    </a:lnTo>
                    <a:lnTo>
                      <a:pt x="94" y="26"/>
                    </a:lnTo>
                    <a:lnTo>
                      <a:pt x="82" y="21"/>
                    </a:lnTo>
                    <a:lnTo>
                      <a:pt x="71" y="15"/>
                    </a:lnTo>
                    <a:lnTo>
                      <a:pt x="67" y="15"/>
                    </a:lnTo>
                    <a:lnTo>
                      <a:pt x="65" y="15"/>
                    </a:lnTo>
                    <a:lnTo>
                      <a:pt x="61" y="9"/>
                    </a:lnTo>
                    <a:lnTo>
                      <a:pt x="59" y="5"/>
                    </a:lnTo>
                    <a:lnTo>
                      <a:pt x="38" y="1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09" name="Freeform 207"/>
              <p:cNvSpPr>
                <a:spLocks/>
              </p:cNvSpPr>
              <p:nvPr/>
            </p:nvSpPr>
            <p:spPr bwMode="gray">
              <a:xfrm>
                <a:off x="4594116" y="3244851"/>
                <a:ext cx="122224" cy="134938"/>
              </a:xfrm>
              <a:custGeom>
                <a:avLst/>
                <a:gdLst>
                  <a:gd name="T0" fmla="*/ 64 w 77"/>
                  <a:gd name="T1" fmla="*/ 85 h 85"/>
                  <a:gd name="T2" fmla="*/ 64 w 77"/>
                  <a:gd name="T3" fmla="*/ 79 h 85"/>
                  <a:gd name="T4" fmla="*/ 60 w 77"/>
                  <a:gd name="T5" fmla="*/ 75 h 85"/>
                  <a:gd name="T6" fmla="*/ 56 w 77"/>
                  <a:gd name="T7" fmla="*/ 73 h 85"/>
                  <a:gd name="T8" fmla="*/ 52 w 77"/>
                  <a:gd name="T9" fmla="*/ 69 h 85"/>
                  <a:gd name="T10" fmla="*/ 43 w 77"/>
                  <a:gd name="T11" fmla="*/ 58 h 85"/>
                  <a:gd name="T12" fmla="*/ 37 w 77"/>
                  <a:gd name="T13" fmla="*/ 50 h 85"/>
                  <a:gd name="T14" fmla="*/ 33 w 77"/>
                  <a:gd name="T15" fmla="*/ 41 h 85"/>
                  <a:gd name="T16" fmla="*/ 29 w 77"/>
                  <a:gd name="T17" fmla="*/ 35 h 85"/>
                  <a:gd name="T18" fmla="*/ 31 w 77"/>
                  <a:gd name="T19" fmla="*/ 29 h 85"/>
                  <a:gd name="T20" fmla="*/ 37 w 77"/>
                  <a:gd name="T21" fmla="*/ 35 h 85"/>
                  <a:gd name="T22" fmla="*/ 41 w 77"/>
                  <a:gd name="T23" fmla="*/ 33 h 85"/>
                  <a:gd name="T24" fmla="*/ 50 w 77"/>
                  <a:gd name="T25" fmla="*/ 35 h 85"/>
                  <a:gd name="T26" fmla="*/ 60 w 77"/>
                  <a:gd name="T27" fmla="*/ 37 h 85"/>
                  <a:gd name="T28" fmla="*/ 62 w 77"/>
                  <a:gd name="T29" fmla="*/ 37 h 85"/>
                  <a:gd name="T30" fmla="*/ 69 w 77"/>
                  <a:gd name="T31" fmla="*/ 41 h 85"/>
                  <a:gd name="T32" fmla="*/ 75 w 77"/>
                  <a:gd name="T33" fmla="*/ 39 h 85"/>
                  <a:gd name="T34" fmla="*/ 77 w 77"/>
                  <a:gd name="T35" fmla="*/ 35 h 85"/>
                  <a:gd name="T36" fmla="*/ 75 w 77"/>
                  <a:gd name="T37" fmla="*/ 29 h 85"/>
                  <a:gd name="T38" fmla="*/ 75 w 77"/>
                  <a:gd name="T39" fmla="*/ 27 h 85"/>
                  <a:gd name="T40" fmla="*/ 66 w 77"/>
                  <a:gd name="T41" fmla="*/ 25 h 85"/>
                  <a:gd name="T42" fmla="*/ 56 w 77"/>
                  <a:gd name="T43" fmla="*/ 20 h 85"/>
                  <a:gd name="T44" fmla="*/ 46 w 77"/>
                  <a:gd name="T45" fmla="*/ 8 h 85"/>
                  <a:gd name="T46" fmla="*/ 39 w 77"/>
                  <a:gd name="T47" fmla="*/ 0 h 85"/>
                  <a:gd name="T48" fmla="*/ 35 w 77"/>
                  <a:gd name="T49" fmla="*/ 4 h 85"/>
                  <a:gd name="T50" fmla="*/ 31 w 77"/>
                  <a:gd name="T51" fmla="*/ 6 h 85"/>
                  <a:gd name="T52" fmla="*/ 27 w 77"/>
                  <a:gd name="T53" fmla="*/ 10 h 85"/>
                  <a:gd name="T54" fmla="*/ 21 w 77"/>
                  <a:gd name="T55" fmla="*/ 21 h 85"/>
                  <a:gd name="T56" fmla="*/ 16 w 77"/>
                  <a:gd name="T57" fmla="*/ 18 h 85"/>
                  <a:gd name="T58" fmla="*/ 16 w 77"/>
                  <a:gd name="T59" fmla="*/ 25 h 85"/>
                  <a:gd name="T60" fmla="*/ 0 w 77"/>
                  <a:gd name="T61" fmla="*/ 29 h 85"/>
                  <a:gd name="T62" fmla="*/ 2 w 77"/>
                  <a:gd name="T63" fmla="*/ 43 h 85"/>
                  <a:gd name="T64" fmla="*/ 6 w 77"/>
                  <a:gd name="T65" fmla="*/ 39 h 85"/>
                  <a:gd name="T66" fmla="*/ 12 w 77"/>
                  <a:gd name="T67" fmla="*/ 37 h 85"/>
                  <a:gd name="T68" fmla="*/ 14 w 77"/>
                  <a:gd name="T69" fmla="*/ 29 h 85"/>
                  <a:gd name="T70" fmla="*/ 18 w 77"/>
                  <a:gd name="T71" fmla="*/ 33 h 85"/>
                  <a:gd name="T72" fmla="*/ 16 w 77"/>
                  <a:gd name="T73" fmla="*/ 45 h 85"/>
                  <a:gd name="T74" fmla="*/ 21 w 77"/>
                  <a:gd name="T75" fmla="*/ 54 h 85"/>
                  <a:gd name="T76" fmla="*/ 27 w 77"/>
                  <a:gd name="T77" fmla="*/ 60 h 85"/>
                  <a:gd name="T78" fmla="*/ 37 w 77"/>
                  <a:gd name="T79" fmla="*/ 64 h 85"/>
                  <a:gd name="T80" fmla="*/ 44 w 77"/>
                  <a:gd name="T81" fmla="*/ 68 h 85"/>
                  <a:gd name="T82" fmla="*/ 54 w 77"/>
                  <a:gd name="T83" fmla="*/ 75 h 85"/>
                  <a:gd name="T84" fmla="*/ 60 w 77"/>
                  <a:gd name="T85" fmla="*/ 79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7" h="85">
                    <a:moveTo>
                      <a:pt x="62" y="83"/>
                    </a:moveTo>
                    <a:lnTo>
                      <a:pt x="64" y="85"/>
                    </a:lnTo>
                    <a:lnTo>
                      <a:pt x="66" y="81"/>
                    </a:lnTo>
                    <a:lnTo>
                      <a:pt x="64" y="79"/>
                    </a:lnTo>
                    <a:lnTo>
                      <a:pt x="62" y="77"/>
                    </a:lnTo>
                    <a:lnTo>
                      <a:pt x="60" y="75"/>
                    </a:lnTo>
                    <a:lnTo>
                      <a:pt x="58" y="73"/>
                    </a:lnTo>
                    <a:lnTo>
                      <a:pt x="56" y="73"/>
                    </a:lnTo>
                    <a:lnTo>
                      <a:pt x="52" y="73"/>
                    </a:lnTo>
                    <a:lnTo>
                      <a:pt x="52" y="69"/>
                    </a:lnTo>
                    <a:lnTo>
                      <a:pt x="48" y="64"/>
                    </a:lnTo>
                    <a:lnTo>
                      <a:pt x="43" y="58"/>
                    </a:lnTo>
                    <a:lnTo>
                      <a:pt x="37" y="52"/>
                    </a:lnTo>
                    <a:lnTo>
                      <a:pt x="37" y="50"/>
                    </a:lnTo>
                    <a:lnTo>
                      <a:pt x="37" y="48"/>
                    </a:lnTo>
                    <a:lnTo>
                      <a:pt x="33" y="41"/>
                    </a:lnTo>
                    <a:lnTo>
                      <a:pt x="31" y="37"/>
                    </a:lnTo>
                    <a:lnTo>
                      <a:pt x="29" y="35"/>
                    </a:lnTo>
                    <a:lnTo>
                      <a:pt x="29" y="33"/>
                    </a:lnTo>
                    <a:lnTo>
                      <a:pt x="31" y="29"/>
                    </a:lnTo>
                    <a:lnTo>
                      <a:pt x="35" y="31"/>
                    </a:lnTo>
                    <a:lnTo>
                      <a:pt x="37" y="35"/>
                    </a:lnTo>
                    <a:lnTo>
                      <a:pt x="39" y="35"/>
                    </a:lnTo>
                    <a:lnTo>
                      <a:pt x="41" y="33"/>
                    </a:lnTo>
                    <a:lnTo>
                      <a:pt x="44" y="37"/>
                    </a:lnTo>
                    <a:lnTo>
                      <a:pt x="50" y="35"/>
                    </a:lnTo>
                    <a:lnTo>
                      <a:pt x="56" y="35"/>
                    </a:lnTo>
                    <a:lnTo>
                      <a:pt x="60" y="37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39"/>
                    </a:lnTo>
                    <a:lnTo>
                      <a:pt x="69" y="41"/>
                    </a:lnTo>
                    <a:lnTo>
                      <a:pt x="75" y="41"/>
                    </a:lnTo>
                    <a:lnTo>
                      <a:pt x="75" y="39"/>
                    </a:lnTo>
                    <a:lnTo>
                      <a:pt x="77" y="39"/>
                    </a:lnTo>
                    <a:lnTo>
                      <a:pt x="77" y="35"/>
                    </a:lnTo>
                    <a:lnTo>
                      <a:pt x="75" y="33"/>
                    </a:lnTo>
                    <a:lnTo>
                      <a:pt x="75" y="29"/>
                    </a:lnTo>
                    <a:lnTo>
                      <a:pt x="77" y="27"/>
                    </a:lnTo>
                    <a:lnTo>
                      <a:pt x="75" y="27"/>
                    </a:lnTo>
                    <a:lnTo>
                      <a:pt x="71" y="27"/>
                    </a:lnTo>
                    <a:lnTo>
                      <a:pt x="66" y="25"/>
                    </a:lnTo>
                    <a:lnTo>
                      <a:pt x="62" y="23"/>
                    </a:lnTo>
                    <a:lnTo>
                      <a:pt x="56" y="20"/>
                    </a:lnTo>
                    <a:lnTo>
                      <a:pt x="50" y="14"/>
                    </a:lnTo>
                    <a:lnTo>
                      <a:pt x="46" y="8"/>
                    </a:lnTo>
                    <a:lnTo>
                      <a:pt x="43" y="2"/>
                    </a:lnTo>
                    <a:lnTo>
                      <a:pt x="39" y="0"/>
                    </a:lnTo>
                    <a:lnTo>
                      <a:pt x="37" y="0"/>
                    </a:lnTo>
                    <a:lnTo>
                      <a:pt x="35" y="4"/>
                    </a:lnTo>
                    <a:lnTo>
                      <a:pt x="33" y="6"/>
                    </a:lnTo>
                    <a:lnTo>
                      <a:pt x="31" y="6"/>
                    </a:lnTo>
                    <a:lnTo>
                      <a:pt x="27" y="6"/>
                    </a:lnTo>
                    <a:lnTo>
                      <a:pt x="27" y="10"/>
                    </a:lnTo>
                    <a:lnTo>
                      <a:pt x="25" y="16"/>
                    </a:lnTo>
                    <a:lnTo>
                      <a:pt x="21" y="21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8" y="29"/>
                    </a:lnTo>
                    <a:lnTo>
                      <a:pt x="0" y="29"/>
                    </a:lnTo>
                    <a:lnTo>
                      <a:pt x="0" y="37"/>
                    </a:lnTo>
                    <a:lnTo>
                      <a:pt x="2" y="43"/>
                    </a:lnTo>
                    <a:lnTo>
                      <a:pt x="6" y="41"/>
                    </a:lnTo>
                    <a:lnTo>
                      <a:pt x="6" y="39"/>
                    </a:lnTo>
                    <a:lnTo>
                      <a:pt x="8" y="37"/>
                    </a:lnTo>
                    <a:lnTo>
                      <a:pt x="12" y="37"/>
                    </a:lnTo>
                    <a:lnTo>
                      <a:pt x="12" y="33"/>
                    </a:lnTo>
                    <a:lnTo>
                      <a:pt x="14" y="29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6" y="39"/>
                    </a:lnTo>
                    <a:lnTo>
                      <a:pt x="16" y="45"/>
                    </a:lnTo>
                    <a:lnTo>
                      <a:pt x="23" y="50"/>
                    </a:lnTo>
                    <a:lnTo>
                      <a:pt x="21" y="54"/>
                    </a:lnTo>
                    <a:lnTo>
                      <a:pt x="21" y="56"/>
                    </a:lnTo>
                    <a:lnTo>
                      <a:pt x="27" y="60"/>
                    </a:lnTo>
                    <a:lnTo>
                      <a:pt x="33" y="64"/>
                    </a:lnTo>
                    <a:lnTo>
                      <a:pt x="37" y="64"/>
                    </a:lnTo>
                    <a:lnTo>
                      <a:pt x="41" y="64"/>
                    </a:lnTo>
                    <a:lnTo>
                      <a:pt x="44" y="68"/>
                    </a:lnTo>
                    <a:lnTo>
                      <a:pt x="48" y="73"/>
                    </a:lnTo>
                    <a:lnTo>
                      <a:pt x="54" y="75"/>
                    </a:lnTo>
                    <a:lnTo>
                      <a:pt x="60" y="77"/>
                    </a:lnTo>
                    <a:lnTo>
                      <a:pt x="60" y="79"/>
                    </a:lnTo>
                    <a:lnTo>
                      <a:pt x="62" y="8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0" name="Freeform 208"/>
              <p:cNvSpPr>
                <a:spLocks/>
              </p:cNvSpPr>
              <p:nvPr/>
            </p:nvSpPr>
            <p:spPr bwMode="gray">
              <a:xfrm>
                <a:off x="2629010" y="4171951"/>
                <a:ext cx="65080" cy="79375"/>
              </a:xfrm>
              <a:custGeom>
                <a:avLst/>
                <a:gdLst>
                  <a:gd name="T0" fmla="*/ 2 w 41"/>
                  <a:gd name="T1" fmla="*/ 0 h 50"/>
                  <a:gd name="T2" fmla="*/ 0 w 41"/>
                  <a:gd name="T3" fmla="*/ 0 h 50"/>
                  <a:gd name="T4" fmla="*/ 0 w 41"/>
                  <a:gd name="T5" fmla="*/ 0 h 50"/>
                  <a:gd name="T6" fmla="*/ 2 w 41"/>
                  <a:gd name="T7" fmla="*/ 6 h 50"/>
                  <a:gd name="T8" fmla="*/ 2 w 41"/>
                  <a:gd name="T9" fmla="*/ 11 h 50"/>
                  <a:gd name="T10" fmla="*/ 2 w 41"/>
                  <a:gd name="T11" fmla="*/ 17 h 50"/>
                  <a:gd name="T12" fmla="*/ 0 w 41"/>
                  <a:gd name="T13" fmla="*/ 23 h 50"/>
                  <a:gd name="T14" fmla="*/ 4 w 41"/>
                  <a:gd name="T15" fmla="*/ 27 h 50"/>
                  <a:gd name="T16" fmla="*/ 6 w 41"/>
                  <a:gd name="T17" fmla="*/ 29 h 50"/>
                  <a:gd name="T18" fmla="*/ 12 w 41"/>
                  <a:gd name="T19" fmla="*/ 27 h 50"/>
                  <a:gd name="T20" fmla="*/ 12 w 41"/>
                  <a:gd name="T21" fmla="*/ 23 h 50"/>
                  <a:gd name="T22" fmla="*/ 14 w 41"/>
                  <a:gd name="T23" fmla="*/ 21 h 50"/>
                  <a:gd name="T24" fmla="*/ 20 w 41"/>
                  <a:gd name="T25" fmla="*/ 29 h 50"/>
                  <a:gd name="T26" fmla="*/ 29 w 41"/>
                  <a:gd name="T27" fmla="*/ 34 h 50"/>
                  <a:gd name="T28" fmla="*/ 27 w 41"/>
                  <a:gd name="T29" fmla="*/ 40 h 50"/>
                  <a:gd name="T30" fmla="*/ 29 w 41"/>
                  <a:gd name="T31" fmla="*/ 44 h 50"/>
                  <a:gd name="T32" fmla="*/ 29 w 41"/>
                  <a:gd name="T33" fmla="*/ 48 h 50"/>
                  <a:gd name="T34" fmla="*/ 31 w 41"/>
                  <a:gd name="T35" fmla="*/ 46 h 50"/>
                  <a:gd name="T36" fmla="*/ 31 w 41"/>
                  <a:gd name="T37" fmla="*/ 42 h 50"/>
                  <a:gd name="T38" fmla="*/ 35 w 41"/>
                  <a:gd name="T39" fmla="*/ 42 h 50"/>
                  <a:gd name="T40" fmla="*/ 37 w 41"/>
                  <a:gd name="T41" fmla="*/ 50 h 50"/>
                  <a:gd name="T42" fmla="*/ 37 w 41"/>
                  <a:gd name="T43" fmla="*/ 48 h 50"/>
                  <a:gd name="T44" fmla="*/ 37 w 41"/>
                  <a:gd name="T45" fmla="*/ 44 h 50"/>
                  <a:gd name="T46" fmla="*/ 37 w 41"/>
                  <a:gd name="T47" fmla="*/ 40 h 50"/>
                  <a:gd name="T48" fmla="*/ 35 w 41"/>
                  <a:gd name="T49" fmla="*/ 34 h 50"/>
                  <a:gd name="T50" fmla="*/ 37 w 41"/>
                  <a:gd name="T51" fmla="*/ 30 h 50"/>
                  <a:gd name="T52" fmla="*/ 35 w 41"/>
                  <a:gd name="T53" fmla="*/ 29 h 50"/>
                  <a:gd name="T54" fmla="*/ 39 w 41"/>
                  <a:gd name="T55" fmla="*/ 29 h 50"/>
                  <a:gd name="T56" fmla="*/ 41 w 41"/>
                  <a:gd name="T57" fmla="*/ 29 h 50"/>
                  <a:gd name="T58" fmla="*/ 39 w 41"/>
                  <a:gd name="T59" fmla="*/ 23 h 50"/>
                  <a:gd name="T60" fmla="*/ 39 w 41"/>
                  <a:gd name="T61" fmla="*/ 21 h 50"/>
                  <a:gd name="T62" fmla="*/ 33 w 41"/>
                  <a:gd name="T63" fmla="*/ 13 h 50"/>
                  <a:gd name="T64" fmla="*/ 25 w 41"/>
                  <a:gd name="T65" fmla="*/ 6 h 50"/>
                  <a:gd name="T66" fmla="*/ 25 w 41"/>
                  <a:gd name="T67" fmla="*/ 6 h 50"/>
                  <a:gd name="T68" fmla="*/ 24 w 41"/>
                  <a:gd name="T69" fmla="*/ 7 h 50"/>
                  <a:gd name="T70" fmla="*/ 20 w 41"/>
                  <a:gd name="T71" fmla="*/ 6 h 50"/>
                  <a:gd name="T72" fmla="*/ 20 w 41"/>
                  <a:gd name="T73" fmla="*/ 4 h 50"/>
                  <a:gd name="T74" fmla="*/ 18 w 41"/>
                  <a:gd name="T75" fmla="*/ 4 h 50"/>
                  <a:gd name="T76" fmla="*/ 14 w 41"/>
                  <a:gd name="T77" fmla="*/ 4 h 50"/>
                  <a:gd name="T78" fmla="*/ 14 w 41"/>
                  <a:gd name="T79" fmla="*/ 6 h 50"/>
                  <a:gd name="T80" fmla="*/ 16 w 41"/>
                  <a:gd name="T81" fmla="*/ 6 h 50"/>
                  <a:gd name="T82" fmla="*/ 12 w 41"/>
                  <a:gd name="T83" fmla="*/ 4 h 50"/>
                  <a:gd name="T84" fmla="*/ 6 w 41"/>
                  <a:gd name="T85" fmla="*/ 4 h 50"/>
                  <a:gd name="T86" fmla="*/ 4 w 41"/>
                  <a:gd name="T87" fmla="*/ 2 h 50"/>
                  <a:gd name="T88" fmla="*/ 2 w 41"/>
                  <a:gd name="T8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1" h="50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11"/>
                    </a:lnTo>
                    <a:lnTo>
                      <a:pt x="2" y="17"/>
                    </a:lnTo>
                    <a:lnTo>
                      <a:pt x="0" y="23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12" y="27"/>
                    </a:lnTo>
                    <a:lnTo>
                      <a:pt x="12" y="23"/>
                    </a:lnTo>
                    <a:lnTo>
                      <a:pt x="14" y="21"/>
                    </a:lnTo>
                    <a:lnTo>
                      <a:pt x="20" y="29"/>
                    </a:lnTo>
                    <a:lnTo>
                      <a:pt x="29" y="34"/>
                    </a:lnTo>
                    <a:lnTo>
                      <a:pt x="27" y="40"/>
                    </a:lnTo>
                    <a:lnTo>
                      <a:pt x="29" y="44"/>
                    </a:lnTo>
                    <a:lnTo>
                      <a:pt x="29" y="48"/>
                    </a:lnTo>
                    <a:lnTo>
                      <a:pt x="31" y="46"/>
                    </a:lnTo>
                    <a:lnTo>
                      <a:pt x="31" y="42"/>
                    </a:lnTo>
                    <a:lnTo>
                      <a:pt x="35" y="42"/>
                    </a:lnTo>
                    <a:lnTo>
                      <a:pt x="37" y="50"/>
                    </a:lnTo>
                    <a:lnTo>
                      <a:pt x="37" y="48"/>
                    </a:lnTo>
                    <a:lnTo>
                      <a:pt x="37" y="44"/>
                    </a:lnTo>
                    <a:lnTo>
                      <a:pt x="37" y="40"/>
                    </a:lnTo>
                    <a:lnTo>
                      <a:pt x="35" y="34"/>
                    </a:lnTo>
                    <a:lnTo>
                      <a:pt x="37" y="30"/>
                    </a:lnTo>
                    <a:lnTo>
                      <a:pt x="35" y="29"/>
                    </a:lnTo>
                    <a:lnTo>
                      <a:pt x="39" y="29"/>
                    </a:lnTo>
                    <a:lnTo>
                      <a:pt x="41" y="29"/>
                    </a:lnTo>
                    <a:lnTo>
                      <a:pt x="39" y="23"/>
                    </a:lnTo>
                    <a:lnTo>
                      <a:pt x="39" y="21"/>
                    </a:lnTo>
                    <a:lnTo>
                      <a:pt x="33" y="13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4" y="7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2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1" name="Freeform 209"/>
              <p:cNvSpPr>
                <a:spLocks/>
              </p:cNvSpPr>
              <p:nvPr/>
            </p:nvSpPr>
            <p:spPr bwMode="gray">
              <a:xfrm>
                <a:off x="4546497" y="4360864"/>
                <a:ext cx="149208" cy="206375"/>
              </a:xfrm>
              <a:custGeom>
                <a:avLst/>
                <a:gdLst>
                  <a:gd name="T0" fmla="*/ 9 w 94"/>
                  <a:gd name="T1" fmla="*/ 128 h 130"/>
                  <a:gd name="T2" fmla="*/ 19 w 94"/>
                  <a:gd name="T3" fmla="*/ 124 h 130"/>
                  <a:gd name="T4" fmla="*/ 23 w 94"/>
                  <a:gd name="T5" fmla="*/ 123 h 130"/>
                  <a:gd name="T6" fmla="*/ 26 w 94"/>
                  <a:gd name="T7" fmla="*/ 124 h 130"/>
                  <a:gd name="T8" fmla="*/ 32 w 94"/>
                  <a:gd name="T9" fmla="*/ 123 h 130"/>
                  <a:gd name="T10" fmla="*/ 38 w 94"/>
                  <a:gd name="T11" fmla="*/ 121 h 130"/>
                  <a:gd name="T12" fmla="*/ 38 w 94"/>
                  <a:gd name="T13" fmla="*/ 117 h 130"/>
                  <a:gd name="T14" fmla="*/ 46 w 94"/>
                  <a:gd name="T15" fmla="*/ 117 h 130"/>
                  <a:gd name="T16" fmla="*/ 48 w 94"/>
                  <a:gd name="T17" fmla="*/ 124 h 130"/>
                  <a:gd name="T18" fmla="*/ 55 w 94"/>
                  <a:gd name="T19" fmla="*/ 124 h 130"/>
                  <a:gd name="T20" fmla="*/ 61 w 94"/>
                  <a:gd name="T21" fmla="*/ 123 h 130"/>
                  <a:gd name="T22" fmla="*/ 67 w 94"/>
                  <a:gd name="T23" fmla="*/ 121 h 130"/>
                  <a:gd name="T24" fmla="*/ 69 w 94"/>
                  <a:gd name="T25" fmla="*/ 111 h 130"/>
                  <a:gd name="T26" fmla="*/ 73 w 94"/>
                  <a:gd name="T27" fmla="*/ 105 h 130"/>
                  <a:gd name="T28" fmla="*/ 74 w 94"/>
                  <a:gd name="T29" fmla="*/ 100 h 130"/>
                  <a:gd name="T30" fmla="*/ 71 w 94"/>
                  <a:gd name="T31" fmla="*/ 88 h 130"/>
                  <a:gd name="T32" fmla="*/ 74 w 94"/>
                  <a:gd name="T33" fmla="*/ 78 h 130"/>
                  <a:gd name="T34" fmla="*/ 80 w 94"/>
                  <a:gd name="T35" fmla="*/ 73 h 130"/>
                  <a:gd name="T36" fmla="*/ 84 w 94"/>
                  <a:gd name="T37" fmla="*/ 59 h 130"/>
                  <a:gd name="T38" fmla="*/ 86 w 94"/>
                  <a:gd name="T39" fmla="*/ 44 h 130"/>
                  <a:gd name="T40" fmla="*/ 86 w 94"/>
                  <a:gd name="T41" fmla="*/ 34 h 130"/>
                  <a:gd name="T42" fmla="*/ 88 w 94"/>
                  <a:gd name="T43" fmla="*/ 23 h 130"/>
                  <a:gd name="T44" fmla="*/ 92 w 94"/>
                  <a:gd name="T45" fmla="*/ 15 h 130"/>
                  <a:gd name="T46" fmla="*/ 94 w 94"/>
                  <a:gd name="T47" fmla="*/ 0 h 130"/>
                  <a:gd name="T48" fmla="*/ 86 w 94"/>
                  <a:gd name="T49" fmla="*/ 2 h 130"/>
                  <a:gd name="T50" fmla="*/ 78 w 94"/>
                  <a:gd name="T51" fmla="*/ 2 h 130"/>
                  <a:gd name="T52" fmla="*/ 74 w 94"/>
                  <a:gd name="T53" fmla="*/ 7 h 130"/>
                  <a:gd name="T54" fmla="*/ 69 w 94"/>
                  <a:gd name="T55" fmla="*/ 9 h 130"/>
                  <a:gd name="T56" fmla="*/ 65 w 94"/>
                  <a:gd name="T57" fmla="*/ 17 h 130"/>
                  <a:gd name="T58" fmla="*/ 69 w 94"/>
                  <a:gd name="T59" fmla="*/ 23 h 130"/>
                  <a:gd name="T60" fmla="*/ 61 w 94"/>
                  <a:gd name="T61" fmla="*/ 21 h 130"/>
                  <a:gd name="T62" fmla="*/ 53 w 94"/>
                  <a:gd name="T63" fmla="*/ 21 h 130"/>
                  <a:gd name="T64" fmla="*/ 50 w 94"/>
                  <a:gd name="T65" fmla="*/ 19 h 130"/>
                  <a:gd name="T66" fmla="*/ 40 w 94"/>
                  <a:gd name="T67" fmla="*/ 17 h 130"/>
                  <a:gd name="T68" fmla="*/ 30 w 94"/>
                  <a:gd name="T69" fmla="*/ 21 h 130"/>
                  <a:gd name="T70" fmla="*/ 30 w 94"/>
                  <a:gd name="T71" fmla="*/ 30 h 130"/>
                  <a:gd name="T72" fmla="*/ 36 w 94"/>
                  <a:gd name="T73" fmla="*/ 30 h 130"/>
                  <a:gd name="T74" fmla="*/ 44 w 94"/>
                  <a:gd name="T75" fmla="*/ 32 h 130"/>
                  <a:gd name="T76" fmla="*/ 46 w 94"/>
                  <a:gd name="T77" fmla="*/ 42 h 130"/>
                  <a:gd name="T78" fmla="*/ 40 w 94"/>
                  <a:gd name="T79" fmla="*/ 42 h 130"/>
                  <a:gd name="T80" fmla="*/ 34 w 94"/>
                  <a:gd name="T81" fmla="*/ 46 h 130"/>
                  <a:gd name="T82" fmla="*/ 36 w 94"/>
                  <a:gd name="T83" fmla="*/ 53 h 130"/>
                  <a:gd name="T84" fmla="*/ 34 w 94"/>
                  <a:gd name="T85" fmla="*/ 55 h 130"/>
                  <a:gd name="T86" fmla="*/ 40 w 94"/>
                  <a:gd name="T87" fmla="*/ 61 h 130"/>
                  <a:gd name="T88" fmla="*/ 40 w 94"/>
                  <a:gd name="T89" fmla="*/ 67 h 130"/>
                  <a:gd name="T90" fmla="*/ 40 w 94"/>
                  <a:gd name="T91" fmla="*/ 75 h 130"/>
                  <a:gd name="T92" fmla="*/ 40 w 94"/>
                  <a:gd name="T93" fmla="*/ 80 h 130"/>
                  <a:gd name="T94" fmla="*/ 44 w 94"/>
                  <a:gd name="T95" fmla="*/ 84 h 130"/>
                  <a:gd name="T96" fmla="*/ 42 w 94"/>
                  <a:gd name="T97" fmla="*/ 88 h 130"/>
                  <a:gd name="T98" fmla="*/ 40 w 94"/>
                  <a:gd name="T99" fmla="*/ 94 h 130"/>
                  <a:gd name="T100" fmla="*/ 32 w 94"/>
                  <a:gd name="T101" fmla="*/ 88 h 130"/>
                  <a:gd name="T102" fmla="*/ 25 w 94"/>
                  <a:gd name="T103" fmla="*/ 90 h 130"/>
                  <a:gd name="T104" fmla="*/ 21 w 94"/>
                  <a:gd name="T105" fmla="*/ 86 h 130"/>
                  <a:gd name="T106" fmla="*/ 19 w 94"/>
                  <a:gd name="T107" fmla="*/ 90 h 130"/>
                  <a:gd name="T108" fmla="*/ 11 w 94"/>
                  <a:gd name="T109" fmla="*/ 94 h 130"/>
                  <a:gd name="T110" fmla="*/ 11 w 94"/>
                  <a:gd name="T111" fmla="*/ 98 h 130"/>
                  <a:gd name="T112" fmla="*/ 15 w 94"/>
                  <a:gd name="T113" fmla="*/ 107 h 130"/>
                  <a:gd name="T114" fmla="*/ 15 w 94"/>
                  <a:gd name="T115" fmla="*/ 111 h 130"/>
                  <a:gd name="T116" fmla="*/ 11 w 94"/>
                  <a:gd name="T117" fmla="*/ 113 h 130"/>
                  <a:gd name="T118" fmla="*/ 3 w 94"/>
                  <a:gd name="T119" fmla="*/ 109 h 130"/>
                  <a:gd name="T120" fmla="*/ 0 w 94"/>
                  <a:gd name="T121" fmla="*/ 119 h 130"/>
                  <a:gd name="T122" fmla="*/ 5 w 94"/>
                  <a:gd name="T123" fmla="*/ 124 h 130"/>
                  <a:gd name="T124" fmla="*/ 7 w 94"/>
                  <a:gd name="T125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4" h="130">
                    <a:moveTo>
                      <a:pt x="7" y="130"/>
                    </a:moveTo>
                    <a:lnTo>
                      <a:pt x="9" y="128"/>
                    </a:lnTo>
                    <a:lnTo>
                      <a:pt x="15" y="126"/>
                    </a:lnTo>
                    <a:lnTo>
                      <a:pt x="19" y="124"/>
                    </a:lnTo>
                    <a:lnTo>
                      <a:pt x="19" y="123"/>
                    </a:lnTo>
                    <a:lnTo>
                      <a:pt x="23" y="123"/>
                    </a:lnTo>
                    <a:lnTo>
                      <a:pt x="25" y="124"/>
                    </a:lnTo>
                    <a:lnTo>
                      <a:pt x="26" y="124"/>
                    </a:lnTo>
                    <a:lnTo>
                      <a:pt x="28" y="123"/>
                    </a:lnTo>
                    <a:lnTo>
                      <a:pt x="32" y="123"/>
                    </a:lnTo>
                    <a:lnTo>
                      <a:pt x="36" y="123"/>
                    </a:lnTo>
                    <a:lnTo>
                      <a:pt x="38" y="121"/>
                    </a:lnTo>
                    <a:lnTo>
                      <a:pt x="38" y="117"/>
                    </a:lnTo>
                    <a:lnTo>
                      <a:pt x="38" y="117"/>
                    </a:lnTo>
                    <a:lnTo>
                      <a:pt x="42" y="119"/>
                    </a:lnTo>
                    <a:lnTo>
                      <a:pt x="46" y="117"/>
                    </a:lnTo>
                    <a:lnTo>
                      <a:pt x="48" y="117"/>
                    </a:lnTo>
                    <a:lnTo>
                      <a:pt x="48" y="124"/>
                    </a:lnTo>
                    <a:lnTo>
                      <a:pt x="50" y="124"/>
                    </a:lnTo>
                    <a:lnTo>
                      <a:pt x="55" y="124"/>
                    </a:lnTo>
                    <a:lnTo>
                      <a:pt x="59" y="124"/>
                    </a:lnTo>
                    <a:lnTo>
                      <a:pt x="61" y="123"/>
                    </a:lnTo>
                    <a:lnTo>
                      <a:pt x="65" y="123"/>
                    </a:lnTo>
                    <a:lnTo>
                      <a:pt x="67" y="121"/>
                    </a:lnTo>
                    <a:lnTo>
                      <a:pt x="69" y="117"/>
                    </a:lnTo>
                    <a:lnTo>
                      <a:pt x="69" y="111"/>
                    </a:lnTo>
                    <a:lnTo>
                      <a:pt x="69" y="109"/>
                    </a:lnTo>
                    <a:lnTo>
                      <a:pt x="73" y="105"/>
                    </a:lnTo>
                    <a:lnTo>
                      <a:pt x="73" y="103"/>
                    </a:lnTo>
                    <a:lnTo>
                      <a:pt x="74" y="100"/>
                    </a:lnTo>
                    <a:lnTo>
                      <a:pt x="73" y="94"/>
                    </a:lnTo>
                    <a:lnTo>
                      <a:pt x="71" y="88"/>
                    </a:lnTo>
                    <a:lnTo>
                      <a:pt x="73" y="84"/>
                    </a:lnTo>
                    <a:lnTo>
                      <a:pt x="74" y="78"/>
                    </a:lnTo>
                    <a:lnTo>
                      <a:pt x="78" y="77"/>
                    </a:lnTo>
                    <a:lnTo>
                      <a:pt x="80" y="73"/>
                    </a:lnTo>
                    <a:lnTo>
                      <a:pt x="80" y="65"/>
                    </a:lnTo>
                    <a:lnTo>
                      <a:pt x="84" y="59"/>
                    </a:lnTo>
                    <a:lnTo>
                      <a:pt x="86" y="52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88" y="23"/>
                    </a:lnTo>
                    <a:lnTo>
                      <a:pt x="88" y="17"/>
                    </a:lnTo>
                    <a:lnTo>
                      <a:pt x="92" y="15"/>
                    </a:lnTo>
                    <a:lnTo>
                      <a:pt x="94" y="6"/>
                    </a:lnTo>
                    <a:lnTo>
                      <a:pt x="94" y="0"/>
                    </a:lnTo>
                    <a:lnTo>
                      <a:pt x="90" y="0"/>
                    </a:lnTo>
                    <a:lnTo>
                      <a:pt x="86" y="2"/>
                    </a:lnTo>
                    <a:lnTo>
                      <a:pt x="82" y="2"/>
                    </a:lnTo>
                    <a:lnTo>
                      <a:pt x="78" y="2"/>
                    </a:lnTo>
                    <a:lnTo>
                      <a:pt x="76" y="4"/>
                    </a:lnTo>
                    <a:lnTo>
                      <a:pt x="74" y="7"/>
                    </a:lnTo>
                    <a:lnTo>
                      <a:pt x="71" y="9"/>
                    </a:lnTo>
                    <a:lnTo>
                      <a:pt x="69" y="9"/>
                    </a:lnTo>
                    <a:lnTo>
                      <a:pt x="67" y="13"/>
                    </a:lnTo>
                    <a:lnTo>
                      <a:pt x="65" y="17"/>
                    </a:lnTo>
                    <a:lnTo>
                      <a:pt x="67" y="21"/>
                    </a:lnTo>
                    <a:lnTo>
                      <a:pt x="69" y="23"/>
                    </a:lnTo>
                    <a:lnTo>
                      <a:pt x="67" y="23"/>
                    </a:lnTo>
                    <a:lnTo>
                      <a:pt x="61" y="21"/>
                    </a:lnTo>
                    <a:lnTo>
                      <a:pt x="57" y="21"/>
                    </a:lnTo>
                    <a:lnTo>
                      <a:pt x="53" y="21"/>
                    </a:lnTo>
                    <a:lnTo>
                      <a:pt x="51" y="21"/>
                    </a:lnTo>
                    <a:lnTo>
                      <a:pt x="50" y="19"/>
                    </a:lnTo>
                    <a:lnTo>
                      <a:pt x="46" y="17"/>
                    </a:lnTo>
                    <a:lnTo>
                      <a:pt x="40" y="17"/>
                    </a:lnTo>
                    <a:lnTo>
                      <a:pt x="30" y="17"/>
                    </a:lnTo>
                    <a:lnTo>
                      <a:pt x="30" y="21"/>
                    </a:lnTo>
                    <a:lnTo>
                      <a:pt x="30" y="27"/>
                    </a:lnTo>
                    <a:lnTo>
                      <a:pt x="30" y="30"/>
                    </a:lnTo>
                    <a:lnTo>
                      <a:pt x="32" y="32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6" y="32"/>
                    </a:lnTo>
                    <a:lnTo>
                      <a:pt x="46" y="42"/>
                    </a:lnTo>
                    <a:lnTo>
                      <a:pt x="44" y="42"/>
                    </a:lnTo>
                    <a:lnTo>
                      <a:pt x="40" y="42"/>
                    </a:lnTo>
                    <a:lnTo>
                      <a:pt x="36" y="44"/>
                    </a:lnTo>
                    <a:lnTo>
                      <a:pt x="34" y="46"/>
                    </a:lnTo>
                    <a:lnTo>
                      <a:pt x="34" y="52"/>
                    </a:lnTo>
                    <a:lnTo>
                      <a:pt x="36" y="53"/>
                    </a:lnTo>
                    <a:lnTo>
                      <a:pt x="34" y="53"/>
                    </a:lnTo>
                    <a:lnTo>
                      <a:pt x="34" y="55"/>
                    </a:lnTo>
                    <a:lnTo>
                      <a:pt x="36" y="57"/>
                    </a:lnTo>
                    <a:lnTo>
                      <a:pt x="40" y="61"/>
                    </a:lnTo>
                    <a:lnTo>
                      <a:pt x="40" y="63"/>
                    </a:lnTo>
                    <a:lnTo>
                      <a:pt x="40" y="67"/>
                    </a:lnTo>
                    <a:lnTo>
                      <a:pt x="38" y="71"/>
                    </a:lnTo>
                    <a:lnTo>
                      <a:pt x="40" y="75"/>
                    </a:lnTo>
                    <a:lnTo>
                      <a:pt x="40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4" y="84"/>
                    </a:lnTo>
                    <a:lnTo>
                      <a:pt x="44" y="86"/>
                    </a:lnTo>
                    <a:lnTo>
                      <a:pt x="42" y="88"/>
                    </a:lnTo>
                    <a:lnTo>
                      <a:pt x="42" y="94"/>
                    </a:lnTo>
                    <a:lnTo>
                      <a:pt x="40" y="94"/>
                    </a:lnTo>
                    <a:lnTo>
                      <a:pt x="36" y="90"/>
                    </a:lnTo>
                    <a:lnTo>
                      <a:pt x="32" y="88"/>
                    </a:lnTo>
                    <a:lnTo>
                      <a:pt x="28" y="88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1" y="86"/>
                    </a:lnTo>
                    <a:lnTo>
                      <a:pt x="21" y="88"/>
                    </a:lnTo>
                    <a:lnTo>
                      <a:pt x="19" y="90"/>
                    </a:lnTo>
                    <a:lnTo>
                      <a:pt x="13" y="90"/>
                    </a:lnTo>
                    <a:lnTo>
                      <a:pt x="11" y="94"/>
                    </a:lnTo>
                    <a:lnTo>
                      <a:pt x="13" y="96"/>
                    </a:lnTo>
                    <a:lnTo>
                      <a:pt x="11" y="98"/>
                    </a:lnTo>
                    <a:lnTo>
                      <a:pt x="11" y="101"/>
                    </a:lnTo>
                    <a:lnTo>
                      <a:pt x="15" y="107"/>
                    </a:lnTo>
                    <a:lnTo>
                      <a:pt x="15" y="109"/>
                    </a:lnTo>
                    <a:lnTo>
                      <a:pt x="15" y="111"/>
                    </a:lnTo>
                    <a:lnTo>
                      <a:pt x="13" y="113"/>
                    </a:lnTo>
                    <a:lnTo>
                      <a:pt x="11" y="113"/>
                    </a:lnTo>
                    <a:lnTo>
                      <a:pt x="7" y="111"/>
                    </a:lnTo>
                    <a:lnTo>
                      <a:pt x="3" y="109"/>
                    </a:lnTo>
                    <a:lnTo>
                      <a:pt x="2" y="115"/>
                    </a:lnTo>
                    <a:lnTo>
                      <a:pt x="0" y="119"/>
                    </a:lnTo>
                    <a:lnTo>
                      <a:pt x="3" y="123"/>
                    </a:lnTo>
                    <a:lnTo>
                      <a:pt x="5" y="124"/>
                    </a:lnTo>
                    <a:lnTo>
                      <a:pt x="5" y="128"/>
                    </a:lnTo>
                    <a:lnTo>
                      <a:pt x="7" y="13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2" name="Freeform 210"/>
              <p:cNvSpPr>
                <a:spLocks/>
              </p:cNvSpPr>
              <p:nvPr/>
            </p:nvSpPr>
            <p:spPr bwMode="gray">
              <a:xfrm>
                <a:off x="2760758" y="4162426"/>
                <a:ext cx="252384" cy="398463"/>
              </a:xfrm>
              <a:custGeom>
                <a:avLst/>
                <a:gdLst>
                  <a:gd name="T0" fmla="*/ 6 w 159"/>
                  <a:gd name="T1" fmla="*/ 169 h 251"/>
                  <a:gd name="T2" fmla="*/ 13 w 159"/>
                  <a:gd name="T3" fmla="*/ 175 h 251"/>
                  <a:gd name="T4" fmla="*/ 19 w 159"/>
                  <a:gd name="T5" fmla="*/ 182 h 251"/>
                  <a:gd name="T6" fmla="*/ 35 w 159"/>
                  <a:gd name="T7" fmla="*/ 184 h 251"/>
                  <a:gd name="T8" fmla="*/ 50 w 159"/>
                  <a:gd name="T9" fmla="*/ 190 h 251"/>
                  <a:gd name="T10" fmla="*/ 58 w 159"/>
                  <a:gd name="T11" fmla="*/ 198 h 251"/>
                  <a:gd name="T12" fmla="*/ 65 w 159"/>
                  <a:gd name="T13" fmla="*/ 207 h 251"/>
                  <a:gd name="T14" fmla="*/ 73 w 159"/>
                  <a:gd name="T15" fmla="*/ 215 h 251"/>
                  <a:gd name="T16" fmla="*/ 83 w 159"/>
                  <a:gd name="T17" fmla="*/ 219 h 251"/>
                  <a:gd name="T18" fmla="*/ 92 w 159"/>
                  <a:gd name="T19" fmla="*/ 217 h 251"/>
                  <a:gd name="T20" fmla="*/ 107 w 159"/>
                  <a:gd name="T21" fmla="*/ 223 h 251"/>
                  <a:gd name="T22" fmla="*/ 102 w 159"/>
                  <a:gd name="T23" fmla="*/ 248 h 251"/>
                  <a:gd name="T24" fmla="*/ 119 w 159"/>
                  <a:gd name="T25" fmla="*/ 215 h 251"/>
                  <a:gd name="T26" fmla="*/ 115 w 159"/>
                  <a:gd name="T27" fmla="*/ 202 h 251"/>
                  <a:gd name="T28" fmla="*/ 121 w 159"/>
                  <a:gd name="T29" fmla="*/ 196 h 251"/>
                  <a:gd name="T30" fmla="*/ 113 w 159"/>
                  <a:gd name="T31" fmla="*/ 190 h 251"/>
                  <a:gd name="T32" fmla="*/ 121 w 159"/>
                  <a:gd name="T33" fmla="*/ 180 h 251"/>
                  <a:gd name="T34" fmla="*/ 138 w 159"/>
                  <a:gd name="T35" fmla="*/ 173 h 251"/>
                  <a:gd name="T36" fmla="*/ 148 w 159"/>
                  <a:gd name="T37" fmla="*/ 167 h 251"/>
                  <a:gd name="T38" fmla="*/ 157 w 159"/>
                  <a:gd name="T39" fmla="*/ 175 h 251"/>
                  <a:gd name="T40" fmla="*/ 155 w 159"/>
                  <a:gd name="T41" fmla="*/ 163 h 251"/>
                  <a:gd name="T42" fmla="*/ 154 w 159"/>
                  <a:gd name="T43" fmla="*/ 157 h 251"/>
                  <a:gd name="T44" fmla="*/ 150 w 159"/>
                  <a:gd name="T45" fmla="*/ 154 h 251"/>
                  <a:gd name="T46" fmla="*/ 157 w 159"/>
                  <a:gd name="T47" fmla="*/ 142 h 251"/>
                  <a:gd name="T48" fmla="*/ 146 w 159"/>
                  <a:gd name="T49" fmla="*/ 131 h 251"/>
                  <a:gd name="T50" fmla="*/ 136 w 159"/>
                  <a:gd name="T51" fmla="*/ 119 h 251"/>
                  <a:gd name="T52" fmla="*/ 136 w 159"/>
                  <a:gd name="T53" fmla="*/ 106 h 251"/>
                  <a:gd name="T54" fmla="*/ 129 w 159"/>
                  <a:gd name="T55" fmla="*/ 96 h 251"/>
                  <a:gd name="T56" fmla="*/ 117 w 159"/>
                  <a:gd name="T57" fmla="*/ 94 h 251"/>
                  <a:gd name="T58" fmla="*/ 106 w 159"/>
                  <a:gd name="T59" fmla="*/ 84 h 251"/>
                  <a:gd name="T60" fmla="*/ 86 w 159"/>
                  <a:gd name="T61" fmla="*/ 83 h 251"/>
                  <a:gd name="T62" fmla="*/ 81 w 159"/>
                  <a:gd name="T63" fmla="*/ 71 h 251"/>
                  <a:gd name="T64" fmla="*/ 81 w 159"/>
                  <a:gd name="T65" fmla="*/ 63 h 251"/>
                  <a:gd name="T66" fmla="*/ 69 w 159"/>
                  <a:gd name="T67" fmla="*/ 52 h 251"/>
                  <a:gd name="T68" fmla="*/ 71 w 159"/>
                  <a:gd name="T69" fmla="*/ 36 h 251"/>
                  <a:gd name="T70" fmla="*/ 77 w 159"/>
                  <a:gd name="T71" fmla="*/ 27 h 251"/>
                  <a:gd name="T72" fmla="*/ 90 w 159"/>
                  <a:gd name="T73" fmla="*/ 6 h 251"/>
                  <a:gd name="T74" fmla="*/ 94 w 159"/>
                  <a:gd name="T75" fmla="*/ 0 h 251"/>
                  <a:gd name="T76" fmla="*/ 86 w 159"/>
                  <a:gd name="T77" fmla="*/ 6 h 251"/>
                  <a:gd name="T78" fmla="*/ 67 w 159"/>
                  <a:gd name="T79" fmla="*/ 15 h 251"/>
                  <a:gd name="T80" fmla="*/ 59 w 159"/>
                  <a:gd name="T81" fmla="*/ 23 h 251"/>
                  <a:gd name="T82" fmla="*/ 54 w 159"/>
                  <a:gd name="T83" fmla="*/ 21 h 251"/>
                  <a:gd name="T84" fmla="*/ 48 w 159"/>
                  <a:gd name="T85" fmla="*/ 36 h 251"/>
                  <a:gd name="T86" fmla="*/ 44 w 159"/>
                  <a:gd name="T87" fmla="*/ 44 h 251"/>
                  <a:gd name="T88" fmla="*/ 35 w 159"/>
                  <a:gd name="T89" fmla="*/ 50 h 251"/>
                  <a:gd name="T90" fmla="*/ 33 w 159"/>
                  <a:gd name="T91" fmla="*/ 61 h 251"/>
                  <a:gd name="T92" fmla="*/ 23 w 159"/>
                  <a:gd name="T93" fmla="*/ 61 h 251"/>
                  <a:gd name="T94" fmla="*/ 25 w 159"/>
                  <a:gd name="T95" fmla="*/ 71 h 251"/>
                  <a:gd name="T96" fmla="*/ 23 w 159"/>
                  <a:gd name="T97" fmla="*/ 86 h 251"/>
                  <a:gd name="T98" fmla="*/ 17 w 159"/>
                  <a:gd name="T99" fmla="*/ 127 h 251"/>
                  <a:gd name="T100" fmla="*/ 15 w 159"/>
                  <a:gd name="T101" fmla="*/ 140 h 251"/>
                  <a:gd name="T102" fmla="*/ 8 w 159"/>
                  <a:gd name="T103" fmla="*/ 157 h 251"/>
                  <a:gd name="T104" fmla="*/ 0 w 159"/>
                  <a:gd name="T105" fmla="*/ 159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9" h="251">
                    <a:moveTo>
                      <a:pt x="2" y="163"/>
                    </a:moveTo>
                    <a:lnTo>
                      <a:pt x="2" y="165"/>
                    </a:lnTo>
                    <a:lnTo>
                      <a:pt x="6" y="169"/>
                    </a:lnTo>
                    <a:lnTo>
                      <a:pt x="10" y="171"/>
                    </a:lnTo>
                    <a:lnTo>
                      <a:pt x="13" y="173"/>
                    </a:lnTo>
                    <a:lnTo>
                      <a:pt x="13" y="175"/>
                    </a:lnTo>
                    <a:lnTo>
                      <a:pt x="15" y="178"/>
                    </a:lnTo>
                    <a:lnTo>
                      <a:pt x="17" y="180"/>
                    </a:lnTo>
                    <a:lnTo>
                      <a:pt x="19" y="182"/>
                    </a:lnTo>
                    <a:lnTo>
                      <a:pt x="31" y="184"/>
                    </a:lnTo>
                    <a:lnTo>
                      <a:pt x="31" y="182"/>
                    </a:lnTo>
                    <a:lnTo>
                      <a:pt x="35" y="184"/>
                    </a:lnTo>
                    <a:lnTo>
                      <a:pt x="40" y="188"/>
                    </a:lnTo>
                    <a:lnTo>
                      <a:pt x="44" y="190"/>
                    </a:lnTo>
                    <a:lnTo>
                      <a:pt x="50" y="190"/>
                    </a:lnTo>
                    <a:lnTo>
                      <a:pt x="50" y="192"/>
                    </a:lnTo>
                    <a:lnTo>
                      <a:pt x="54" y="196"/>
                    </a:lnTo>
                    <a:lnTo>
                      <a:pt x="58" y="198"/>
                    </a:lnTo>
                    <a:lnTo>
                      <a:pt x="58" y="203"/>
                    </a:lnTo>
                    <a:lnTo>
                      <a:pt x="61" y="205"/>
                    </a:lnTo>
                    <a:lnTo>
                      <a:pt x="65" y="207"/>
                    </a:lnTo>
                    <a:lnTo>
                      <a:pt x="71" y="209"/>
                    </a:lnTo>
                    <a:lnTo>
                      <a:pt x="71" y="213"/>
                    </a:lnTo>
                    <a:lnTo>
                      <a:pt x="73" y="215"/>
                    </a:lnTo>
                    <a:lnTo>
                      <a:pt x="77" y="217"/>
                    </a:lnTo>
                    <a:lnTo>
                      <a:pt x="81" y="219"/>
                    </a:lnTo>
                    <a:lnTo>
                      <a:pt x="83" y="219"/>
                    </a:lnTo>
                    <a:lnTo>
                      <a:pt x="84" y="215"/>
                    </a:lnTo>
                    <a:lnTo>
                      <a:pt x="88" y="215"/>
                    </a:lnTo>
                    <a:lnTo>
                      <a:pt x="92" y="217"/>
                    </a:lnTo>
                    <a:lnTo>
                      <a:pt x="98" y="219"/>
                    </a:lnTo>
                    <a:lnTo>
                      <a:pt x="102" y="221"/>
                    </a:lnTo>
                    <a:lnTo>
                      <a:pt x="107" y="223"/>
                    </a:lnTo>
                    <a:lnTo>
                      <a:pt x="107" y="225"/>
                    </a:lnTo>
                    <a:lnTo>
                      <a:pt x="96" y="248"/>
                    </a:lnTo>
                    <a:lnTo>
                      <a:pt x="102" y="248"/>
                    </a:lnTo>
                    <a:lnTo>
                      <a:pt x="106" y="251"/>
                    </a:lnTo>
                    <a:lnTo>
                      <a:pt x="113" y="234"/>
                    </a:lnTo>
                    <a:lnTo>
                      <a:pt x="119" y="215"/>
                    </a:lnTo>
                    <a:lnTo>
                      <a:pt x="119" y="211"/>
                    </a:lnTo>
                    <a:lnTo>
                      <a:pt x="119" y="205"/>
                    </a:lnTo>
                    <a:lnTo>
                      <a:pt x="115" y="202"/>
                    </a:lnTo>
                    <a:lnTo>
                      <a:pt x="111" y="202"/>
                    </a:lnTo>
                    <a:lnTo>
                      <a:pt x="111" y="198"/>
                    </a:lnTo>
                    <a:lnTo>
                      <a:pt x="121" y="196"/>
                    </a:lnTo>
                    <a:lnTo>
                      <a:pt x="121" y="192"/>
                    </a:lnTo>
                    <a:lnTo>
                      <a:pt x="119" y="190"/>
                    </a:lnTo>
                    <a:lnTo>
                      <a:pt x="113" y="190"/>
                    </a:lnTo>
                    <a:lnTo>
                      <a:pt x="113" y="180"/>
                    </a:lnTo>
                    <a:lnTo>
                      <a:pt x="115" y="180"/>
                    </a:lnTo>
                    <a:lnTo>
                      <a:pt x="121" y="180"/>
                    </a:lnTo>
                    <a:lnTo>
                      <a:pt x="131" y="178"/>
                    </a:lnTo>
                    <a:lnTo>
                      <a:pt x="138" y="178"/>
                    </a:lnTo>
                    <a:lnTo>
                      <a:pt x="138" y="173"/>
                    </a:lnTo>
                    <a:lnTo>
                      <a:pt x="142" y="175"/>
                    </a:lnTo>
                    <a:lnTo>
                      <a:pt x="146" y="175"/>
                    </a:lnTo>
                    <a:lnTo>
                      <a:pt x="148" y="167"/>
                    </a:lnTo>
                    <a:lnTo>
                      <a:pt x="152" y="169"/>
                    </a:lnTo>
                    <a:lnTo>
                      <a:pt x="154" y="175"/>
                    </a:lnTo>
                    <a:lnTo>
                      <a:pt x="157" y="175"/>
                    </a:lnTo>
                    <a:lnTo>
                      <a:pt x="157" y="167"/>
                    </a:lnTo>
                    <a:lnTo>
                      <a:pt x="157" y="167"/>
                    </a:lnTo>
                    <a:lnTo>
                      <a:pt x="155" y="163"/>
                    </a:lnTo>
                    <a:lnTo>
                      <a:pt x="155" y="159"/>
                    </a:lnTo>
                    <a:lnTo>
                      <a:pt x="154" y="159"/>
                    </a:lnTo>
                    <a:lnTo>
                      <a:pt x="154" y="157"/>
                    </a:lnTo>
                    <a:lnTo>
                      <a:pt x="152" y="159"/>
                    </a:lnTo>
                    <a:lnTo>
                      <a:pt x="150" y="157"/>
                    </a:lnTo>
                    <a:lnTo>
                      <a:pt x="150" y="154"/>
                    </a:lnTo>
                    <a:lnTo>
                      <a:pt x="152" y="152"/>
                    </a:lnTo>
                    <a:lnTo>
                      <a:pt x="155" y="148"/>
                    </a:lnTo>
                    <a:lnTo>
                      <a:pt x="157" y="142"/>
                    </a:lnTo>
                    <a:lnTo>
                      <a:pt x="159" y="138"/>
                    </a:lnTo>
                    <a:lnTo>
                      <a:pt x="154" y="134"/>
                    </a:lnTo>
                    <a:lnTo>
                      <a:pt x="146" y="131"/>
                    </a:lnTo>
                    <a:lnTo>
                      <a:pt x="142" y="127"/>
                    </a:lnTo>
                    <a:lnTo>
                      <a:pt x="140" y="123"/>
                    </a:lnTo>
                    <a:lnTo>
                      <a:pt x="136" y="119"/>
                    </a:lnTo>
                    <a:lnTo>
                      <a:pt x="132" y="113"/>
                    </a:lnTo>
                    <a:lnTo>
                      <a:pt x="134" y="107"/>
                    </a:lnTo>
                    <a:lnTo>
                      <a:pt x="136" y="106"/>
                    </a:lnTo>
                    <a:lnTo>
                      <a:pt x="136" y="98"/>
                    </a:lnTo>
                    <a:lnTo>
                      <a:pt x="134" y="98"/>
                    </a:lnTo>
                    <a:lnTo>
                      <a:pt x="129" y="96"/>
                    </a:lnTo>
                    <a:lnTo>
                      <a:pt x="123" y="98"/>
                    </a:lnTo>
                    <a:lnTo>
                      <a:pt x="119" y="98"/>
                    </a:lnTo>
                    <a:lnTo>
                      <a:pt x="117" y="94"/>
                    </a:lnTo>
                    <a:lnTo>
                      <a:pt x="113" y="86"/>
                    </a:lnTo>
                    <a:lnTo>
                      <a:pt x="109" y="84"/>
                    </a:lnTo>
                    <a:lnTo>
                      <a:pt x="106" y="84"/>
                    </a:lnTo>
                    <a:lnTo>
                      <a:pt x="98" y="84"/>
                    </a:lnTo>
                    <a:lnTo>
                      <a:pt x="94" y="84"/>
                    </a:lnTo>
                    <a:lnTo>
                      <a:pt x="86" y="83"/>
                    </a:lnTo>
                    <a:lnTo>
                      <a:pt x="84" y="81"/>
                    </a:lnTo>
                    <a:lnTo>
                      <a:pt x="83" y="75"/>
                    </a:lnTo>
                    <a:lnTo>
                      <a:pt x="81" y="71"/>
                    </a:lnTo>
                    <a:lnTo>
                      <a:pt x="79" y="67"/>
                    </a:lnTo>
                    <a:lnTo>
                      <a:pt x="79" y="63"/>
                    </a:lnTo>
                    <a:lnTo>
                      <a:pt x="81" y="63"/>
                    </a:lnTo>
                    <a:lnTo>
                      <a:pt x="75" y="52"/>
                    </a:lnTo>
                    <a:lnTo>
                      <a:pt x="71" y="52"/>
                    </a:lnTo>
                    <a:lnTo>
                      <a:pt x="69" y="52"/>
                    </a:lnTo>
                    <a:lnTo>
                      <a:pt x="69" y="48"/>
                    </a:lnTo>
                    <a:lnTo>
                      <a:pt x="71" y="42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1" y="29"/>
                    </a:lnTo>
                    <a:lnTo>
                      <a:pt x="77" y="27"/>
                    </a:lnTo>
                    <a:lnTo>
                      <a:pt x="81" y="13"/>
                    </a:lnTo>
                    <a:lnTo>
                      <a:pt x="88" y="8"/>
                    </a:lnTo>
                    <a:lnTo>
                      <a:pt x="90" y="6"/>
                    </a:lnTo>
                    <a:lnTo>
                      <a:pt x="94" y="4"/>
                    </a:lnTo>
                    <a:lnTo>
                      <a:pt x="94" y="2"/>
                    </a:lnTo>
                    <a:lnTo>
                      <a:pt x="94" y="0"/>
                    </a:lnTo>
                    <a:lnTo>
                      <a:pt x="88" y="0"/>
                    </a:lnTo>
                    <a:lnTo>
                      <a:pt x="86" y="2"/>
                    </a:lnTo>
                    <a:lnTo>
                      <a:pt x="86" y="6"/>
                    </a:lnTo>
                    <a:lnTo>
                      <a:pt x="79" y="12"/>
                    </a:lnTo>
                    <a:lnTo>
                      <a:pt x="71" y="17"/>
                    </a:lnTo>
                    <a:lnTo>
                      <a:pt x="67" y="15"/>
                    </a:lnTo>
                    <a:lnTo>
                      <a:pt x="61" y="15"/>
                    </a:lnTo>
                    <a:lnTo>
                      <a:pt x="59" y="19"/>
                    </a:lnTo>
                    <a:lnTo>
                      <a:pt x="59" y="23"/>
                    </a:lnTo>
                    <a:lnTo>
                      <a:pt x="58" y="23"/>
                    </a:lnTo>
                    <a:lnTo>
                      <a:pt x="58" y="21"/>
                    </a:lnTo>
                    <a:lnTo>
                      <a:pt x="54" y="21"/>
                    </a:lnTo>
                    <a:lnTo>
                      <a:pt x="50" y="21"/>
                    </a:lnTo>
                    <a:lnTo>
                      <a:pt x="48" y="29"/>
                    </a:lnTo>
                    <a:lnTo>
                      <a:pt x="48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5" y="50"/>
                    </a:lnTo>
                    <a:lnTo>
                      <a:pt x="33" y="54"/>
                    </a:lnTo>
                    <a:lnTo>
                      <a:pt x="33" y="58"/>
                    </a:lnTo>
                    <a:lnTo>
                      <a:pt x="33" y="61"/>
                    </a:lnTo>
                    <a:lnTo>
                      <a:pt x="29" y="59"/>
                    </a:lnTo>
                    <a:lnTo>
                      <a:pt x="25" y="56"/>
                    </a:lnTo>
                    <a:lnTo>
                      <a:pt x="23" y="61"/>
                    </a:lnTo>
                    <a:lnTo>
                      <a:pt x="25" y="63"/>
                    </a:lnTo>
                    <a:lnTo>
                      <a:pt x="27" y="67"/>
                    </a:lnTo>
                    <a:lnTo>
                      <a:pt x="25" y="71"/>
                    </a:lnTo>
                    <a:lnTo>
                      <a:pt x="23" y="73"/>
                    </a:lnTo>
                    <a:lnTo>
                      <a:pt x="23" y="77"/>
                    </a:lnTo>
                    <a:lnTo>
                      <a:pt x="23" y="86"/>
                    </a:lnTo>
                    <a:lnTo>
                      <a:pt x="25" y="94"/>
                    </a:lnTo>
                    <a:lnTo>
                      <a:pt x="21" y="109"/>
                    </a:lnTo>
                    <a:lnTo>
                      <a:pt x="17" y="127"/>
                    </a:lnTo>
                    <a:lnTo>
                      <a:pt x="21" y="129"/>
                    </a:lnTo>
                    <a:lnTo>
                      <a:pt x="25" y="131"/>
                    </a:lnTo>
                    <a:lnTo>
                      <a:pt x="15" y="140"/>
                    </a:lnTo>
                    <a:lnTo>
                      <a:pt x="6" y="146"/>
                    </a:lnTo>
                    <a:lnTo>
                      <a:pt x="4" y="152"/>
                    </a:lnTo>
                    <a:lnTo>
                      <a:pt x="8" y="157"/>
                    </a:lnTo>
                    <a:lnTo>
                      <a:pt x="4" y="157"/>
                    </a:lnTo>
                    <a:lnTo>
                      <a:pt x="0" y="157"/>
                    </a:lnTo>
                    <a:lnTo>
                      <a:pt x="0" y="159"/>
                    </a:lnTo>
                    <a:lnTo>
                      <a:pt x="2" y="163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3" name="Freeform 211"/>
              <p:cNvSpPr>
                <a:spLocks noEditPoints="1"/>
              </p:cNvSpPr>
              <p:nvPr/>
            </p:nvSpPr>
            <p:spPr bwMode="gray">
              <a:xfrm>
                <a:off x="5773498" y="3044826"/>
                <a:ext cx="1219064" cy="971550"/>
              </a:xfrm>
              <a:custGeom>
                <a:avLst/>
                <a:gdLst>
                  <a:gd name="T0" fmla="*/ 762 w 768"/>
                  <a:gd name="T1" fmla="*/ 119 h 612"/>
                  <a:gd name="T2" fmla="*/ 743 w 768"/>
                  <a:gd name="T3" fmla="*/ 103 h 612"/>
                  <a:gd name="T4" fmla="*/ 706 w 768"/>
                  <a:gd name="T5" fmla="*/ 78 h 612"/>
                  <a:gd name="T6" fmla="*/ 668 w 768"/>
                  <a:gd name="T7" fmla="*/ 32 h 612"/>
                  <a:gd name="T8" fmla="*/ 612 w 768"/>
                  <a:gd name="T9" fmla="*/ 5 h 612"/>
                  <a:gd name="T10" fmla="*/ 587 w 768"/>
                  <a:gd name="T11" fmla="*/ 38 h 612"/>
                  <a:gd name="T12" fmla="*/ 559 w 768"/>
                  <a:gd name="T13" fmla="*/ 78 h 612"/>
                  <a:gd name="T14" fmla="*/ 541 w 768"/>
                  <a:gd name="T15" fmla="*/ 113 h 612"/>
                  <a:gd name="T16" fmla="*/ 570 w 768"/>
                  <a:gd name="T17" fmla="*/ 128 h 612"/>
                  <a:gd name="T18" fmla="*/ 511 w 768"/>
                  <a:gd name="T19" fmla="*/ 163 h 612"/>
                  <a:gd name="T20" fmla="*/ 472 w 768"/>
                  <a:gd name="T21" fmla="*/ 195 h 612"/>
                  <a:gd name="T22" fmla="*/ 390 w 768"/>
                  <a:gd name="T23" fmla="*/ 218 h 612"/>
                  <a:gd name="T24" fmla="*/ 296 w 768"/>
                  <a:gd name="T25" fmla="*/ 199 h 612"/>
                  <a:gd name="T26" fmla="*/ 238 w 768"/>
                  <a:gd name="T27" fmla="*/ 157 h 612"/>
                  <a:gd name="T28" fmla="*/ 200 w 768"/>
                  <a:gd name="T29" fmla="*/ 111 h 612"/>
                  <a:gd name="T30" fmla="*/ 150 w 768"/>
                  <a:gd name="T31" fmla="*/ 105 h 612"/>
                  <a:gd name="T32" fmla="*/ 117 w 768"/>
                  <a:gd name="T33" fmla="*/ 157 h 612"/>
                  <a:gd name="T34" fmla="*/ 84 w 768"/>
                  <a:gd name="T35" fmla="*/ 205 h 612"/>
                  <a:gd name="T36" fmla="*/ 42 w 768"/>
                  <a:gd name="T37" fmla="*/ 236 h 612"/>
                  <a:gd name="T38" fmla="*/ 10 w 768"/>
                  <a:gd name="T39" fmla="*/ 247 h 612"/>
                  <a:gd name="T40" fmla="*/ 13 w 768"/>
                  <a:gd name="T41" fmla="*/ 268 h 612"/>
                  <a:gd name="T42" fmla="*/ 36 w 768"/>
                  <a:gd name="T43" fmla="*/ 313 h 612"/>
                  <a:gd name="T44" fmla="*/ 79 w 768"/>
                  <a:gd name="T45" fmla="*/ 332 h 612"/>
                  <a:gd name="T46" fmla="*/ 67 w 768"/>
                  <a:gd name="T47" fmla="*/ 378 h 612"/>
                  <a:gd name="T48" fmla="*/ 92 w 768"/>
                  <a:gd name="T49" fmla="*/ 410 h 612"/>
                  <a:gd name="T50" fmla="*/ 142 w 768"/>
                  <a:gd name="T51" fmla="*/ 430 h 612"/>
                  <a:gd name="T52" fmla="*/ 198 w 768"/>
                  <a:gd name="T53" fmla="*/ 455 h 612"/>
                  <a:gd name="T54" fmla="*/ 257 w 768"/>
                  <a:gd name="T55" fmla="*/ 443 h 612"/>
                  <a:gd name="T56" fmla="*/ 297 w 768"/>
                  <a:gd name="T57" fmla="*/ 455 h 612"/>
                  <a:gd name="T58" fmla="*/ 317 w 768"/>
                  <a:gd name="T59" fmla="*/ 489 h 612"/>
                  <a:gd name="T60" fmla="*/ 321 w 768"/>
                  <a:gd name="T61" fmla="*/ 518 h 612"/>
                  <a:gd name="T62" fmla="*/ 338 w 768"/>
                  <a:gd name="T63" fmla="*/ 547 h 612"/>
                  <a:gd name="T64" fmla="*/ 370 w 768"/>
                  <a:gd name="T65" fmla="*/ 539 h 612"/>
                  <a:gd name="T66" fmla="*/ 413 w 768"/>
                  <a:gd name="T67" fmla="*/ 550 h 612"/>
                  <a:gd name="T68" fmla="*/ 461 w 768"/>
                  <a:gd name="T69" fmla="*/ 577 h 612"/>
                  <a:gd name="T70" fmla="*/ 478 w 768"/>
                  <a:gd name="T71" fmla="*/ 554 h 612"/>
                  <a:gd name="T72" fmla="*/ 530 w 768"/>
                  <a:gd name="T73" fmla="*/ 539 h 612"/>
                  <a:gd name="T74" fmla="*/ 570 w 768"/>
                  <a:gd name="T75" fmla="*/ 508 h 612"/>
                  <a:gd name="T76" fmla="*/ 574 w 768"/>
                  <a:gd name="T77" fmla="*/ 479 h 612"/>
                  <a:gd name="T78" fmla="*/ 591 w 768"/>
                  <a:gd name="T79" fmla="*/ 455 h 612"/>
                  <a:gd name="T80" fmla="*/ 606 w 768"/>
                  <a:gd name="T81" fmla="*/ 432 h 612"/>
                  <a:gd name="T82" fmla="*/ 597 w 768"/>
                  <a:gd name="T83" fmla="*/ 416 h 612"/>
                  <a:gd name="T84" fmla="*/ 601 w 768"/>
                  <a:gd name="T85" fmla="*/ 385 h 612"/>
                  <a:gd name="T86" fmla="*/ 580 w 768"/>
                  <a:gd name="T87" fmla="*/ 351 h 612"/>
                  <a:gd name="T88" fmla="*/ 608 w 768"/>
                  <a:gd name="T89" fmla="*/ 303 h 612"/>
                  <a:gd name="T90" fmla="*/ 572 w 768"/>
                  <a:gd name="T91" fmla="*/ 299 h 612"/>
                  <a:gd name="T92" fmla="*/ 580 w 768"/>
                  <a:gd name="T93" fmla="*/ 251 h 612"/>
                  <a:gd name="T94" fmla="*/ 601 w 768"/>
                  <a:gd name="T95" fmla="*/ 261 h 612"/>
                  <a:gd name="T96" fmla="*/ 631 w 768"/>
                  <a:gd name="T97" fmla="*/ 249 h 612"/>
                  <a:gd name="T98" fmla="*/ 676 w 768"/>
                  <a:gd name="T99" fmla="*/ 207 h 612"/>
                  <a:gd name="T100" fmla="*/ 708 w 768"/>
                  <a:gd name="T101" fmla="*/ 195 h 612"/>
                  <a:gd name="T102" fmla="*/ 729 w 768"/>
                  <a:gd name="T103" fmla="*/ 157 h 612"/>
                  <a:gd name="T104" fmla="*/ 507 w 768"/>
                  <a:gd name="T105" fmla="*/ 535 h 612"/>
                  <a:gd name="T106" fmla="*/ 464 w 768"/>
                  <a:gd name="T107" fmla="*/ 610 h 612"/>
                  <a:gd name="T108" fmla="*/ 486 w 768"/>
                  <a:gd name="T109" fmla="*/ 433 h 612"/>
                  <a:gd name="T110" fmla="*/ 541 w 768"/>
                  <a:gd name="T111" fmla="*/ 428 h 612"/>
                  <a:gd name="T112" fmla="*/ 589 w 768"/>
                  <a:gd name="T113" fmla="*/ 399 h 612"/>
                  <a:gd name="T114" fmla="*/ 593 w 768"/>
                  <a:gd name="T115" fmla="*/ 391 h 612"/>
                  <a:gd name="T116" fmla="*/ 342 w 768"/>
                  <a:gd name="T117" fmla="*/ 303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68" h="612">
                    <a:moveTo>
                      <a:pt x="737" y="155"/>
                    </a:moveTo>
                    <a:lnTo>
                      <a:pt x="739" y="157"/>
                    </a:lnTo>
                    <a:lnTo>
                      <a:pt x="743" y="153"/>
                    </a:lnTo>
                    <a:lnTo>
                      <a:pt x="748" y="149"/>
                    </a:lnTo>
                    <a:lnTo>
                      <a:pt x="748" y="146"/>
                    </a:lnTo>
                    <a:lnTo>
                      <a:pt x="752" y="144"/>
                    </a:lnTo>
                    <a:lnTo>
                      <a:pt x="758" y="138"/>
                    </a:lnTo>
                    <a:lnTo>
                      <a:pt x="762" y="132"/>
                    </a:lnTo>
                    <a:lnTo>
                      <a:pt x="762" y="123"/>
                    </a:lnTo>
                    <a:lnTo>
                      <a:pt x="762" y="119"/>
                    </a:lnTo>
                    <a:lnTo>
                      <a:pt x="766" y="115"/>
                    </a:lnTo>
                    <a:lnTo>
                      <a:pt x="768" y="109"/>
                    </a:lnTo>
                    <a:lnTo>
                      <a:pt x="764" y="105"/>
                    </a:lnTo>
                    <a:lnTo>
                      <a:pt x="764" y="101"/>
                    </a:lnTo>
                    <a:lnTo>
                      <a:pt x="768" y="94"/>
                    </a:lnTo>
                    <a:lnTo>
                      <a:pt x="760" y="96"/>
                    </a:lnTo>
                    <a:lnTo>
                      <a:pt x="758" y="100"/>
                    </a:lnTo>
                    <a:lnTo>
                      <a:pt x="752" y="101"/>
                    </a:lnTo>
                    <a:lnTo>
                      <a:pt x="748" y="101"/>
                    </a:lnTo>
                    <a:lnTo>
                      <a:pt x="743" y="103"/>
                    </a:lnTo>
                    <a:lnTo>
                      <a:pt x="739" y="109"/>
                    </a:lnTo>
                    <a:lnTo>
                      <a:pt x="733" y="111"/>
                    </a:lnTo>
                    <a:lnTo>
                      <a:pt x="731" y="113"/>
                    </a:lnTo>
                    <a:lnTo>
                      <a:pt x="724" y="109"/>
                    </a:lnTo>
                    <a:lnTo>
                      <a:pt x="720" y="105"/>
                    </a:lnTo>
                    <a:lnTo>
                      <a:pt x="716" y="101"/>
                    </a:lnTo>
                    <a:lnTo>
                      <a:pt x="718" y="96"/>
                    </a:lnTo>
                    <a:lnTo>
                      <a:pt x="714" y="90"/>
                    </a:lnTo>
                    <a:lnTo>
                      <a:pt x="710" y="84"/>
                    </a:lnTo>
                    <a:lnTo>
                      <a:pt x="706" y="78"/>
                    </a:lnTo>
                    <a:lnTo>
                      <a:pt x="704" y="73"/>
                    </a:lnTo>
                    <a:lnTo>
                      <a:pt x="701" y="69"/>
                    </a:lnTo>
                    <a:lnTo>
                      <a:pt x="695" y="67"/>
                    </a:lnTo>
                    <a:lnTo>
                      <a:pt x="689" y="67"/>
                    </a:lnTo>
                    <a:lnTo>
                      <a:pt x="683" y="67"/>
                    </a:lnTo>
                    <a:lnTo>
                      <a:pt x="679" y="63"/>
                    </a:lnTo>
                    <a:lnTo>
                      <a:pt x="676" y="55"/>
                    </a:lnTo>
                    <a:lnTo>
                      <a:pt x="670" y="46"/>
                    </a:lnTo>
                    <a:lnTo>
                      <a:pt x="668" y="38"/>
                    </a:lnTo>
                    <a:lnTo>
                      <a:pt x="668" y="32"/>
                    </a:lnTo>
                    <a:lnTo>
                      <a:pt x="664" y="25"/>
                    </a:lnTo>
                    <a:lnTo>
                      <a:pt x="660" y="21"/>
                    </a:lnTo>
                    <a:lnTo>
                      <a:pt x="653" y="15"/>
                    </a:lnTo>
                    <a:lnTo>
                      <a:pt x="645" y="15"/>
                    </a:lnTo>
                    <a:lnTo>
                      <a:pt x="639" y="9"/>
                    </a:lnTo>
                    <a:lnTo>
                      <a:pt x="635" y="5"/>
                    </a:lnTo>
                    <a:lnTo>
                      <a:pt x="630" y="2"/>
                    </a:lnTo>
                    <a:lnTo>
                      <a:pt x="622" y="0"/>
                    </a:lnTo>
                    <a:lnTo>
                      <a:pt x="618" y="2"/>
                    </a:lnTo>
                    <a:lnTo>
                      <a:pt x="612" y="5"/>
                    </a:lnTo>
                    <a:lnTo>
                      <a:pt x="605" y="5"/>
                    </a:lnTo>
                    <a:lnTo>
                      <a:pt x="601" y="9"/>
                    </a:lnTo>
                    <a:lnTo>
                      <a:pt x="595" y="13"/>
                    </a:lnTo>
                    <a:lnTo>
                      <a:pt x="589" y="19"/>
                    </a:lnTo>
                    <a:lnTo>
                      <a:pt x="587" y="21"/>
                    </a:lnTo>
                    <a:lnTo>
                      <a:pt x="587" y="25"/>
                    </a:lnTo>
                    <a:lnTo>
                      <a:pt x="591" y="23"/>
                    </a:lnTo>
                    <a:lnTo>
                      <a:pt x="591" y="30"/>
                    </a:lnTo>
                    <a:lnTo>
                      <a:pt x="591" y="36"/>
                    </a:lnTo>
                    <a:lnTo>
                      <a:pt x="587" y="38"/>
                    </a:lnTo>
                    <a:lnTo>
                      <a:pt x="589" y="46"/>
                    </a:lnTo>
                    <a:lnTo>
                      <a:pt x="585" y="52"/>
                    </a:lnTo>
                    <a:lnTo>
                      <a:pt x="582" y="57"/>
                    </a:lnTo>
                    <a:lnTo>
                      <a:pt x="580" y="59"/>
                    </a:lnTo>
                    <a:lnTo>
                      <a:pt x="576" y="61"/>
                    </a:lnTo>
                    <a:lnTo>
                      <a:pt x="574" y="65"/>
                    </a:lnTo>
                    <a:lnTo>
                      <a:pt x="576" y="67"/>
                    </a:lnTo>
                    <a:lnTo>
                      <a:pt x="572" y="71"/>
                    </a:lnTo>
                    <a:lnTo>
                      <a:pt x="566" y="73"/>
                    </a:lnTo>
                    <a:lnTo>
                      <a:pt x="559" y="78"/>
                    </a:lnTo>
                    <a:lnTo>
                      <a:pt x="553" y="76"/>
                    </a:lnTo>
                    <a:lnTo>
                      <a:pt x="545" y="71"/>
                    </a:lnTo>
                    <a:lnTo>
                      <a:pt x="539" y="73"/>
                    </a:lnTo>
                    <a:lnTo>
                      <a:pt x="534" y="88"/>
                    </a:lnTo>
                    <a:lnTo>
                      <a:pt x="534" y="90"/>
                    </a:lnTo>
                    <a:lnTo>
                      <a:pt x="535" y="94"/>
                    </a:lnTo>
                    <a:lnTo>
                      <a:pt x="534" y="100"/>
                    </a:lnTo>
                    <a:lnTo>
                      <a:pt x="532" y="103"/>
                    </a:lnTo>
                    <a:lnTo>
                      <a:pt x="532" y="109"/>
                    </a:lnTo>
                    <a:lnTo>
                      <a:pt x="541" y="113"/>
                    </a:lnTo>
                    <a:lnTo>
                      <a:pt x="549" y="111"/>
                    </a:lnTo>
                    <a:lnTo>
                      <a:pt x="557" y="105"/>
                    </a:lnTo>
                    <a:lnTo>
                      <a:pt x="560" y="105"/>
                    </a:lnTo>
                    <a:lnTo>
                      <a:pt x="564" y="109"/>
                    </a:lnTo>
                    <a:lnTo>
                      <a:pt x="570" y="115"/>
                    </a:lnTo>
                    <a:lnTo>
                      <a:pt x="578" y="117"/>
                    </a:lnTo>
                    <a:lnTo>
                      <a:pt x="583" y="123"/>
                    </a:lnTo>
                    <a:lnTo>
                      <a:pt x="582" y="128"/>
                    </a:lnTo>
                    <a:lnTo>
                      <a:pt x="578" y="128"/>
                    </a:lnTo>
                    <a:lnTo>
                      <a:pt x="570" y="128"/>
                    </a:lnTo>
                    <a:lnTo>
                      <a:pt x="564" y="132"/>
                    </a:lnTo>
                    <a:lnTo>
                      <a:pt x="562" y="136"/>
                    </a:lnTo>
                    <a:lnTo>
                      <a:pt x="555" y="134"/>
                    </a:lnTo>
                    <a:lnTo>
                      <a:pt x="545" y="142"/>
                    </a:lnTo>
                    <a:lnTo>
                      <a:pt x="539" y="138"/>
                    </a:lnTo>
                    <a:lnTo>
                      <a:pt x="535" y="140"/>
                    </a:lnTo>
                    <a:lnTo>
                      <a:pt x="534" y="146"/>
                    </a:lnTo>
                    <a:lnTo>
                      <a:pt x="530" y="149"/>
                    </a:lnTo>
                    <a:lnTo>
                      <a:pt x="512" y="153"/>
                    </a:lnTo>
                    <a:lnTo>
                      <a:pt x="511" y="163"/>
                    </a:lnTo>
                    <a:lnTo>
                      <a:pt x="501" y="167"/>
                    </a:lnTo>
                    <a:lnTo>
                      <a:pt x="493" y="165"/>
                    </a:lnTo>
                    <a:lnTo>
                      <a:pt x="487" y="159"/>
                    </a:lnTo>
                    <a:lnTo>
                      <a:pt x="482" y="157"/>
                    </a:lnTo>
                    <a:lnTo>
                      <a:pt x="476" y="161"/>
                    </a:lnTo>
                    <a:lnTo>
                      <a:pt x="474" y="167"/>
                    </a:lnTo>
                    <a:lnTo>
                      <a:pt x="472" y="174"/>
                    </a:lnTo>
                    <a:lnTo>
                      <a:pt x="474" y="182"/>
                    </a:lnTo>
                    <a:lnTo>
                      <a:pt x="476" y="188"/>
                    </a:lnTo>
                    <a:lnTo>
                      <a:pt x="472" y="195"/>
                    </a:lnTo>
                    <a:lnTo>
                      <a:pt x="466" y="197"/>
                    </a:lnTo>
                    <a:lnTo>
                      <a:pt x="457" y="199"/>
                    </a:lnTo>
                    <a:lnTo>
                      <a:pt x="445" y="203"/>
                    </a:lnTo>
                    <a:lnTo>
                      <a:pt x="434" y="203"/>
                    </a:lnTo>
                    <a:lnTo>
                      <a:pt x="426" y="205"/>
                    </a:lnTo>
                    <a:lnTo>
                      <a:pt x="422" y="205"/>
                    </a:lnTo>
                    <a:lnTo>
                      <a:pt x="415" y="213"/>
                    </a:lnTo>
                    <a:lnTo>
                      <a:pt x="407" y="215"/>
                    </a:lnTo>
                    <a:lnTo>
                      <a:pt x="397" y="215"/>
                    </a:lnTo>
                    <a:lnTo>
                      <a:pt x="390" y="218"/>
                    </a:lnTo>
                    <a:lnTo>
                      <a:pt x="376" y="218"/>
                    </a:lnTo>
                    <a:lnTo>
                      <a:pt x="370" y="215"/>
                    </a:lnTo>
                    <a:lnTo>
                      <a:pt x="365" y="207"/>
                    </a:lnTo>
                    <a:lnTo>
                      <a:pt x="361" y="207"/>
                    </a:lnTo>
                    <a:lnTo>
                      <a:pt x="342" y="205"/>
                    </a:lnTo>
                    <a:lnTo>
                      <a:pt x="330" y="203"/>
                    </a:lnTo>
                    <a:lnTo>
                      <a:pt x="321" y="203"/>
                    </a:lnTo>
                    <a:lnTo>
                      <a:pt x="311" y="203"/>
                    </a:lnTo>
                    <a:lnTo>
                      <a:pt x="303" y="203"/>
                    </a:lnTo>
                    <a:lnTo>
                      <a:pt x="296" y="199"/>
                    </a:lnTo>
                    <a:lnTo>
                      <a:pt x="290" y="192"/>
                    </a:lnTo>
                    <a:lnTo>
                      <a:pt x="282" y="186"/>
                    </a:lnTo>
                    <a:lnTo>
                      <a:pt x="278" y="182"/>
                    </a:lnTo>
                    <a:lnTo>
                      <a:pt x="276" y="176"/>
                    </a:lnTo>
                    <a:lnTo>
                      <a:pt x="271" y="171"/>
                    </a:lnTo>
                    <a:lnTo>
                      <a:pt x="263" y="167"/>
                    </a:lnTo>
                    <a:lnTo>
                      <a:pt x="259" y="165"/>
                    </a:lnTo>
                    <a:lnTo>
                      <a:pt x="253" y="161"/>
                    </a:lnTo>
                    <a:lnTo>
                      <a:pt x="244" y="159"/>
                    </a:lnTo>
                    <a:lnTo>
                      <a:pt x="238" y="157"/>
                    </a:lnTo>
                    <a:lnTo>
                      <a:pt x="236" y="151"/>
                    </a:lnTo>
                    <a:lnTo>
                      <a:pt x="238" y="144"/>
                    </a:lnTo>
                    <a:lnTo>
                      <a:pt x="240" y="138"/>
                    </a:lnTo>
                    <a:lnTo>
                      <a:pt x="234" y="132"/>
                    </a:lnTo>
                    <a:lnTo>
                      <a:pt x="228" y="128"/>
                    </a:lnTo>
                    <a:lnTo>
                      <a:pt x="228" y="124"/>
                    </a:lnTo>
                    <a:lnTo>
                      <a:pt x="221" y="115"/>
                    </a:lnTo>
                    <a:lnTo>
                      <a:pt x="213" y="111"/>
                    </a:lnTo>
                    <a:lnTo>
                      <a:pt x="205" y="113"/>
                    </a:lnTo>
                    <a:lnTo>
                      <a:pt x="200" y="111"/>
                    </a:lnTo>
                    <a:lnTo>
                      <a:pt x="194" y="107"/>
                    </a:lnTo>
                    <a:lnTo>
                      <a:pt x="194" y="103"/>
                    </a:lnTo>
                    <a:lnTo>
                      <a:pt x="192" y="92"/>
                    </a:lnTo>
                    <a:lnTo>
                      <a:pt x="192" y="80"/>
                    </a:lnTo>
                    <a:lnTo>
                      <a:pt x="186" y="84"/>
                    </a:lnTo>
                    <a:lnTo>
                      <a:pt x="169" y="88"/>
                    </a:lnTo>
                    <a:lnTo>
                      <a:pt x="163" y="94"/>
                    </a:lnTo>
                    <a:lnTo>
                      <a:pt x="159" y="98"/>
                    </a:lnTo>
                    <a:lnTo>
                      <a:pt x="152" y="101"/>
                    </a:lnTo>
                    <a:lnTo>
                      <a:pt x="150" y="105"/>
                    </a:lnTo>
                    <a:lnTo>
                      <a:pt x="148" y="111"/>
                    </a:lnTo>
                    <a:lnTo>
                      <a:pt x="138" y="117"/>
                    </a:lnTo>
                    <a:lnTo>
                      <a:pt x="131" y="117"/>
                    </a:lnTo>
                    <a:lnTo>
                      <a:pt x="127" y="119"/>
                    </a:lnTo>
                    <a:lnTo>
                      <a:pt x="123" y="126"/>
                    </a:lnTo>
                    <a:lnTo>
                      <a:pt x="117" y="130"/>
                    </a:lnTo>
                    <a:lnTo>
                      <a:pt x="115" y="140"/>
                    </a:lnTo>
                    <a:lnTo>
                      <a:pt x="117" y="149"/>
                    </a:lnTo>
                    <a:lnTo>
                      <a:pt x="121" y="153"/>
                    </a:lnTo>
                    <a:lnTo>
                      <a:pt x="117" y="157"/>
                    </a:lnTo>
                    <a:lnTo>
                      <a:pt x="106" y="157"/>
                    </a:lnTo>
                    <a:lnTo>
                      <a:pt x="96" y="161"/>
                    </a:lnTo>
                    <a:lnTo>
                      <a:pt x="86" y="163"/>
                    </a:lnTo>
                    <a:lnTo>
                      <a:pt x="83" y="167"/>
                    </a:lnTo>
                    <a:lnTo>
                      <a:pt x="84" y="171"/>
                    </a:lnTo>
                    <a:lnTo>
                      <a:pt x="92" y="176"/>
                    </a:lnTo>
                    <a:lnTo>
                      <a:pt x="94" y="182"/>
                    </a:lnTo>
                    <a:lnTo>
                      <a:pt x="88" y="194"/>
                    </a:lnTo>
                    <a:lnTo>
                      <a:pt x="88" y="203"/>
                    </a:lnTo>
                    <a:lnTo>
                      <a:pt x="84" y="205"/>
                    </a:lnTo>
                    <a:lnTo>
                      <a:pt x="79" y="209"/>
                    </a:lnTo>
                    <a:lnTo>
                      <a:pt x="77" y="211"/>
                    </a:lnTo>
                    <a:lnTo>
                      <a:pt x="73" y="215"/>
                    </a:lnTo>
                    <a:lnTo>
                      <a:pt x="69" y="215"/>
                    </a:lnTo>
                    <a:lnTo>
                      <a:pt x="67" y="217"/>
                    </a:lnTo>
                    <a:lnTo>
                      <a:pt x="65" y="218"/>
                    </a:lnTo>
                    <a:lnTo>
                      <a:pt x="65" y="222"/>
                    </a:lnTo>
                    <a:lnTo>
                      <a:pt x="56" y="224"/>
                    </a:lnTo>
                    <a:lnTo>
                      <a:pt x="44" y="230"/>
                    </a:lnTo>
                    <a:lnTo>
                      <a:pt x="42" y="236"/>
                    </a:lnTo>
                    <a:lnTo>
                      <a:pt x="40" y="242"/>
                    </a:lnTo>
                    <a:lnTo>
                      <a:pt x="36" y="243"/>
                    </a:lnTo>
                    <a:lnTo>
                      <a:pt x="31" y="243"/>
                    </a:lnTo>
                    <a:lnTo>
                      <a:pt x="27" y="245"/>
                    </a:lnTo>
                    <a:lnTo>
                      <a:pt x="25" y="247"/>
                    </a:lnTo>
                    <a:lnTo>
                      <a:pt x="21" y="243"/>
                    </a:lnTo>
                    <a:lnTo>
                      <a:pt x="19" y="242"/>
                    </a:lnTo>
                    <a:lnTo>
                      <a:pt x="15" y="242"/>
                    </a:lnTo>
                    <a:lnTo>
                      <a:pt x="13" y="245"/>
                    </a:lnTo>
                    <a:lnTo>
                      <a:pt x="10" y="247"/>
                    </a:lnTo>
                    <a:lnTo>
                      <a:pt x="8" y="249"/>
                    </a:lnTo>
                    <a:lnTo>
                      <a:pt x="6" y="251"/>
                    </a:lnTo>
                    <a:lnTo>
                      <a:pt x="4" y="253"/>
                    </a:lnTo>
                    <a:lnTo>
                      <a:pt x="2" y="253"/>
                    </a:lnTo>
                    <a:lnTo>
                      <a:pt x="0" y="255"/>
                    </a:lnTo>
                    <a:lnTo>
                      <a:pt x="0" y="263"/>
                    </a:lnTo>
                    <a:lnTo>
                      <a:pt x="0" y="266"/>
                    </a:lnTo>
                    <a:lnTo>
                      <a:pt x="4" y="270"/>
                    </a:lnTo>
                    <a:lnTo>
                      <a:pt x="12" y="266"/>
                    </a:lnTo>
                    <a:lnTo>
                      <a:pt x="13" y="268"/>
                    </a:lnTo>
                    <a:lnTo>
                      <a:pt x="13" y="272"/>
                    </a:lnTo>
                    <a:lnTo>
                      <a:pt x="12" y="278"/>
                    </a:lnTo>
                    <a:lnTo>
                      <a:pt x="15" y="286"/>
                    </a:lnTo>
                    <a:lnTo>
                      <a:pt x="15" y="291"/>
                    </a:lnTo>
                    <a:lnTo>
                      <a:pt x="17" y="293"/>
                    </a:lnTo>
                    <a:lnTo>
                      <a:pt x="19" y="297"/>
                    </a:lnTo>
                    <a:lnTo>
                      <a:pt x="13" y="299"/>
                    </a:lnTo>
                    <a:lnTo>
                      <a:pt x="13" y="305"/>
                    </a:lnTo>
                    <a:lnTo>
                      <a:pt x="23" y="305"/>
                    </a:lnTo>
                    <a:lnTo>
                      <a:pt x="36" y="313"/>
                    </a:lnTo>
                    <a:lnTo>
                      <a:pt x="40" y="316"/>
                    </a:lnTo>
                    <a:lnTo>
                      <a:pt x="44" y="322"/>
                    </a:lnTo>
                    <a:lnTo>
                      <a:pt x="50" y="318"/>
                    </a:lnTo>
                    <a:lnTo>
                      <a:pt x="54" y="314"/>
                    </a:lnTo>
                    <a:lnTo>
                      <a:pt x="60" y="314"/>
                    </a:lnTo>
                    <a:lnTo>
                      <a:pt x="63" y="316"/>
                    </a:lnTo>
                    <a:lnTo>
                      <a:pt x="71" y="316"/>
                    </a:lnTo>
                    <a:lnTo>
                      <a:pt x="73" y="322"/>
                    </a:lnTo>
                    <a:lnTo>
                      <a:pt x="77" y="326"/>
                    </a:lnTo>
                    <a:lnTo>
                      <a:pt x="79" y="332"/>
                    </a:lnTo>
                    <a:lnTo>
                      <a:pt x="75" y="336"/>
                    </a:lnTo>
                    <a:lnTo>
                      <a:pt x="75" y="339"/>
                    </a:lnTo>
                    <a:lnTo>
                      <a:pt x="71" y="343"/>
                    </a:lnTo>
                    <a:lnTo>
                      <a:pt x="67" y="347"/>
                    </a:lnTo>
                    <a:lnTo>
                      <a:pt x="65" y="353"/>
                    </a:lnTo>
                    <a:lnTo>
                      <a:pt x="63" y="355"/>
                    </a:lnTo>
                    <a:lnTo>
                      <a:pt x="60" y="361"/>
                    </a:lnTo>
                    <a:lnTo>
                      <a:pt x="65" y="364"/>
                    </a:lnTo>
                    <a:lnTo>
                      <a:pt x="69" y="368"/>
                    </a:lnTo>
                    <a:lnTo>
                      <a:pt x="67" y="378"/>
                    </a:lnTo>
                    <a:lnTo>
                      <a:pt x="73" y="380"/>
                    </a:lnTo>
                    <a:lnTo>
                      <a:pt x="75" y="380"/>
                    </a:lnTo>
                    <a:lnTo>
                      <a:pt x="75" y="385"/>
                    </a:lnTo>
                    <a:lnTo>
                      <a:pt x="73" y="391"/>
                    </a:lnTo>
                    <a:lnTo>
                      <a:pt x="75" y="395"/>
                    </a:lnTo>
                    <a:lnTo>
                      <a:pt x="71" y="397"/>
                    </a:lnTo>
                    <a:lnTo>
                      <a:pt x="73" y="403"/>
                    </a:lnTo>
                    <a:lnTo>
                      <a:pt x="81" y="407"/>
                    </a:lnTo>
                    <a:lnTo>
                      <a:pt x="84" y="408"/>
                    </a:lnTo>
                    <a:lnTo>
                      <a:pt x="92" y="410"/>
                    </a:lnTo>
                    <a:lnTo>
                      <a:pt x="96" y="414"/>
                    </a:lnTo>
                    <a:lnTo>
                      <a:pt x="100" y="418"/>
                    </a:lnTo>
                    <a:lnTo>
                      <a:pt x="104" y="418"/>
                    </a:lnTo>
                    <a:lnTo>
                      <a:pt x="109" y="418"/>
                    </a:lnTo>
                    <a:lnTo>
                      <a:pt x="115" y="418"/>
                    </a:lnTo>
                    <a:lnTo>
                      <a:pt x="119" y="420"/>
                    </a:lnTo>
                    <a:lnTo>
                      <a:pt x="125" y="428"/>
                    </a:lnTo>
                    <a:lnTo>
                      <a:pt x="131" y="428"/>
                    </a:lnTo>
                    <a:lnTo>
                      <a:pt x="138" y="428"/>
                    </a:lnTo>
                    <a:lnTo>
                      <a:pt x="142" y="430"/>
                    </a:lnTo>
                    <a:lnTo>
                      <a:pt x="142" y="435"/>
                    </a:lnTo>
                    <a:lnTo>
                      <a:pt x="150" y="439"/>
                    </a:lnTo>
                    <a:lnTo>
                      <a:pt x="154" y="445"/>
                    </a:lnTo>
                    <a:lnTo>
                      <a:pt x="157" y="451"/>
                    </a:lnTo>
                    <a:lnTo>
                      <a:pt x="163" y="451"/>
                    </a:lnTo>
                    <a:lnTo>
                      <a:pt x="169" y="455"/>
                    </a:lnTo>
                    <a:lnTo>
                      <a:pt x="180" y="455"/>
                    </a:lnTo>
                    <a:lnTo>
                      <a:pt x="188" y="456"/>
                    </a:lnTo>
                    <a:lnTo>
                      <a:pt x="194" y="455"/>
                    </a:lnTo>
                    <a:lnTo>
                      <a:pt x="198" y="455"/>
                    </a:lnTo>
                    <a:lnTo>
                      <a:pt x="202" y="460"/>
                    </a:lnTo>
                    <a:lnTo>
                      <a:pt x="207" y="451"/>
                    </a:lnTo>
                    <a:lnTo>
                      <a:pt x="211" y="449"/>
                    </a:lnTo>
                    <a:lnTo>
                      <a:pt x="219" y="449"/>
                    </a:lnTo>
                    <a:lnTo>
                      <a:pt x="225" y="451"/>
                    </a:lnTo>
                    <a:lnTo>
                      <a:pt x="230" y="451"/>
                    </a:lnTo>
                    <a:lnTo>
                      <a:pt x="238" y="453"/>
                    </a:lnTo>
                    <a:lnTo>
                      <a:pt x="246" y="451"/>
                    </a:lnTo>
                    <a:lnTo>
                      <a:pt x="251" y="447"/>
                    </a:lnTo>
                    <a:lnTo>
                      <a:pt x="257" y="443"/>
                    </a:lnTo>
                    <a:lnTo>
                      <a:pt x="263" y="443"/>
                    </a:lnTo>
                    <a:lnTo>
                      <a:pt x="267" y="445"/>
                    </a:lnTo>
                    <a:lnTo>
                      <a:pt x="273" y="439"/>
                    </a:lnTo>
                    <a:lnTo>
                      <a:pt x="276" y="441"/>
                    </a:lnTo>
                    <a:lnTo>
                      <a:pt x="284" y="443"/>
                    </a:lnTo>
                    <a:lnTo>
                      <a:pt x="284" y="451"/>
                    </a:lnTo>
                    <a:lnTo>
                      <a:pt x="286" y="453"/>
                    </a:lnTo>
                    <a:lnTo>
                      <a:pt x="290" y="453"/>
                    </a:lnTo>
                    <a:lnTo>
                      <a:pt x="294" y="453"/>
                    </a:lnTo>
                    <a:lnTo>
                      <a:pt x="297" y="455"/>
                    </a:lnTo>
                    <a:lnTo>
                      <a:pt x="303" y="456"/>
                    </a:lnTo>
                    <a:lnTo>
                      <a:pt x="305" y="460"/>
                    </a:lnTo>
                    <a:lnTo>
                      <a:pt x="305" y="464"/>
                    </a:lnTo>
                    <a:lnTo>
                      <a:pt x="309" y="464"/>
                    </a:lnTo>
                    <a:lnTo>
                      <a:pt x="313" y="464"/>
                    </a:lnTo>
                    <a:lnTo>
                      <a:pt x="315" y="470"/>
                    </a:lnTo>
                    <a:lnTo>
                      <a:pt x="319" y="474"/>
                    </a:lnTo>
                    <a:lnTo>
                      <a:pt x="317" y="479"/>
                    </a:lnTo>
                    <a:lnTo>
                      <a:pt x="319" y="485"/>
                    </a:lnTo>
                    <a:lnTo>
                      <a:pt x="317" y="489"/>
                    </a:lnTo>
                    <a:lnTo>
                      <a:pt x="317" y="497"/>
                    </a:lnTo>
                    <a:lnTo>
                      <a:pt x="313" y="504"/>
                    </a:lnTo>
                    <a:lnTo>
                      <a:pt x="307" y="510"/>
                    </a:lnTo>
                    <a:lnTo>
                      <a:pt x="307" y="514"/>
                    </a:lnTo>
                    <a:lnTo>
                      <a:pt x="311" y="518"/>
                    </a:lnTo>
                    <a:lnTo>
                      <a:pt x="311" y="522"/>
                    </a:lnTo>
                    <a:lnTo>
                      <a:pt x="311" y="524"/>
                    </a:lnTo>
                    <a:lnTo>
                      <a:pt x="313" y="524"/>
                    </a:lnTo>
                    <a:lnTo>
                      <a:pt x="317" y="520"/>
                    </a:lnTo>
                    <a:lnTo>
                      <a:pt x="321" y="518"/>
                    </a:lnTo>
                    <a:lnTo>
                      <a:pt x="324" y="520"/>
                    </a:lnTo>
                    <a:lnTo>
                      <a:pt x="328" y="522"/>
                    </a:lnTo>
                    <a:lnTo>
                      <a:pt x="326" y="527"/>
                    </a:lnTo>
                    <a:lnTo>
                      <a:pt x="328" y="531"/>
                    </a:lnTo>
                    <a:lnTo>
                      <a:pt x="332" y="531"/>
                    </a:lnTo>
                    <a:lnTo>
                      <a:pt x="334" y="535"/>
                    </a:lnTo>
                    <a:lnTo>
                      <a:pt x="330" y="541"/>
                    </a:lnTo>
                    <a:lnTo>
                      <a:pt x="330" y="545"/>
                    </a:lnTo>
                    <a:lnTo>
                      <a:pt x="334" y="545"/>
                    </a:lnTo>
                    <a:lnTo>
                      <a:pt x="338" y="547"/>
                    </a:lnTo>
                    <a:lnTo>
                      <a:pt x="340" y="552"/>
                    </a:lnTo>
                    <a:lnTo>
                      <a:pt x="342" y="558"/>
                    </a:lnTo>
                    <a:lnTo>
                      <a:pt x="349" y="562"/>
                    </a:lnTo>
                    <a:lnTo>
                      <a:pt x="353" y="562"/>
                    </a:lnTo>
                    <a:lnTo>
                      <a:pt x="359" y="558"/>
                    </a:lnTo>
                    <a:lnTo>
                      <a:pt x="361" y="550"/>
                    </a:lnTo>
                    <a:lnTo>
                      <a:pt x="355" y="539"/>
                    </a:lnTo>
                    <a:lnTo>
                      <a:pt x="357" y="533"/>
                    </a:lnTo>
                    <a:lnTo>
                      <a:pt x="365" y="533"/>
                    </a:lnTo>
                    <a:lnTo>
                      <a:pt x="370" y="539"/>
                    </a:lnTo>
                    <a:lnTo>
                      <a:pt x="376" y="537"/>
                    </a:lnTo>
                    <a:lnTo>
                      <a:pt x="382" y="541"/>
                    </a:lnTo>
                    <a:lnTo>
                      <a:pt x="388" y="537"/>
                    </a:lnTo>
                    <a:lnTo>
                      <a:pt x="395" y="537"/>
                    </a:lnTo>
                    <a:lnTo>
                      <a:pt x="399" y="533"/>
                    </a:lnTo>
                    <a:lnTo>
                      <a:pt x="405" y="535"/>
                    </a:lnTo>
                    <a:lnTo>
                      <a:pt x="411" y="541"/>
                    </a:lnTo>
                    <a:lnTo>
                      <a:pt x="415" y="541"/>
                    </a:lnTo>
                    <a:lnTo>
                      <a:pt x="415" y="545"/>
                    </a:lnTo>
                    <a:lnTo>
                      <a:pt x="413" y="550"/>
                    </a:lnTo>
                    <a:lnTo>
                      <a:pt x="418" y="558"/>
                    </a:lnTo>
                    <a:lnTo>
                      <a:pt x="424" y="554"/>
                    </a:lnTo>
                    <a:lnTo>
                      <a:pt x="432" y="554"/>
                    </a:lnTo>
                    <a:lnTo>
                      <a:pt x="438" y="558"/>
                    </a:lnTo>
                    <a:lnTo>
                      <a:pt x="445" y="554"/>
                    </a:lnTo>
                    <a:lnTo>
                      <a:pt x="457" y="554"/>
                    </a:lnTo>
                    <a:lnTo>
                      <a:pt x="455" y="562"/>
                    </a:lnTo>
                    <a:lnTo>
                      <a:pt x="455" y="566"/>
                    </a:lnTo>
                    <a:lnTo>
                      <a:pt x="457" y="572"/>
                    </a:lnTo>
                    <a:lnTo>
                      <a:pt x="461" y="577"/>
                    </a:lnTo>
                    <a:lnTo>
                      <a:pt x="463" y="575"/>
                    </a:lnTo>
                    <a:lnTo>
                      <a:pt x="466" y="575"/>
                    </a:lnTo>
                    <a:lnTo>
                      <a:pt x="466" y="574"/>
                    </a:lnTo>
                    <a:lnTo>
                      <a:pt x="466" y="570"/>
                    </a:lnTo>
                    <a:lnTo>
                      <a:pt x="464" y="568"/>
                    </a:lnTo>
                    <a:lnTo>
                      <a:pt x="463" y="566"/>
                    </a:lnTo>
                    <a:lnTo>
                      <a:pt x="468" y="564"/>
                    </a:lnTo>
                    <a:lnTo>
                      <a:pt x="474" y="560"/>
                    </a:lnTo>
                    <a:lnTo>
                      <a:pt x="476" y="556"/>
                    </a:lnTo>
                    <a:lnTo>
                      <a:pt x="478" y="554"/>
                    </a:lnTo>
                    <a:lnTo>
                      <a:pt x="487" y="552"/>
                    </a:lnTo>
                    <a:lnTo>
                      <a:pt x="499" y="550"/>
                    </a:lnTo>
                    <a:lnTo>
                      <a:pt x="503" y="545"/>
                    </a:lnTo>
                    <a:lnTo>
                      <a:pt x="507" y="539"/>
                    </a:lnTo>
                    <a:lnTo>
                      <a:pt x="512" y="545"/>
                    </a:lnTo>
                    <a:lnTo>
                      <a:pt x="516" y="543"/>
                    </a:lnTo>
                    <a:lnTo>
                      <a:pt x="518" y="541"/>
                    </a:lnTo>
                    <a:lnTo>
                      <a:pt x="524" y="539"/>
                    </a:lnTo>
                    <a:lnTo>
                      <a:pt x="526" y="539"/>
                    </a:lnTo>
                    <a:lnTo>
                      <a:pt x="530" y="539"/>
                    </a:lnTo>
                    <a:lnTo>
                      <a:pt x="534" y="539"/>
                    </a:lnTo>
                    <a:lnTo>
                      <a:pt x="537" y="537"/>
                    </a:lnTo>
                    <a:lnTo>
                      <a:pt x="537" y="533"/>
                    </a:lnTo>
                    <a:lnTo>
                      <a:pt x="537" y="527"/>
                    </a:lnTo>
                    <a:lnTo>
                      <a:pt x="547" y="522"/>
                    </a:lnTo>
                    <a:lnTo>
                      <a:pt x="557" y="518"/>
                    </a:lnTo>
                    <a:lnTo>
                      <a:pt x="557" y="514"/>
                    </a:lnTo>
                    <a:lnTo>
                      <a:pt x="557" y="510"/>
                    </a:lnTo>
                    <a:lnTo>
                      <a:pt x="564" y="508"/>
                    </a:lnTo>
                    <a:lnTo>
                      <a:pt x="570" y="508"/>
                    </a:lnTo>
                    <a:lnTo>
                      <a:pt x="568" y="503"/>
                    </a:lnTo>
                    <a:lnTo>
                      <a:pt x="572" y="501"/>
                    </a:lnTo>
                    <a:lnTo>
                      <a:pt x="570" y="501"/>
                    </a:lnTo>
                    <a:lnTo>
                      <a:pt x="570" y="497"/>
                    </a:lnTo>
                    <a:lnTo>
                      <a:pt x="574" y="497"/>
                    </a:lnTo>
                    <a:lnTo>
                      <a:pt x="578" y="497"/>
                    </a:lnTo>
                    <a:lnTo>
                      <a:pt x="578" y="489"/>
                    </a:lnTo>
                    <a:lnTo>
                      <a:pt x="578" y="483"/>
                    </a:lnTo>
                    <a:lnTo>
                      <a:pt x="576" y="481"/>
                    </a:lnTo>
                    <a:lnTo>
                      <a:pt x="574" y="479"/>
                    </a:lnTo>
                    <a:lnTo>
                      <a:pt x="576" y="479"/>
                    </a:lnTo>
                    <a:lnTo>
                      <a:pt x="576" y="476"/>
                    </a:lnTo>
                    <a:lnTo>
                      <a:pt x="578" y="470"/>
                    </a:lnTo>
                    <a:lnTo>
                      <a:pt x="580" y="470"/>
                    </a:lnTo>
                    <a:lnTo>
                      <a:pt x="583" y="470"/>
                    </a:lnTo>
                    <a:lnTo>
                      <a:pt x="585" y="466"/>
                    </a:lnTo>
                    <a:lnTo>
                      <a:pt x="589" y="462"/>
                    </a:lnTo>
                    <a:lnTo>
                      <a:pt x="591" y="462"/>
                    </a:lnTo>
                    <a:lnTo>
                      <a:pt x="591" y="458"/>
                    </a:lnTo>
                    <a:lnTo>
                      <a:pt x="591" y="455"/>
                    </a:lnTo>
                    <a:lnTo>
                      <a:pt x="593" y="451"/>
                    </a:lnTo>
                    <a:lnTo>
                      <a:pt x="597" y="447"/>
                    </a:lnTo>
                    <a:lnTo>
                      <a:pt x="599" y="447"/>
                    </a:lnTo>
                    <a:lnTo>
                      <a:pt x="603" y="447"/>
                    </a:lnTo>
                    <a:lnTo>
                      <a:pt x="601" y="441"/>
                    </a:lnTo>
                    <a:lnTo>
                      <a:pt x="601" y="439"/>
                    </a:lnTo>
                    <a:lnTo>
                      <a:pt x="601" y="435"/>
                    </a:lnTo>
                    <a:lnTo>
                      <a:pt x="601" y="432"/>
                    </a:lnTo>
                    <a:lnTo>
                      <a:pt x="605" y="432"/>
                    </a:lnTo>
                    <a:lnTo>
                      <a:pt x="606" y="432"/>
                    </a:lnTo>
                    <a:lnTo>
                      <a:pt x="608" y="426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5" y="424"/>
                    </a:lnTo>
                    <a:lnTo>
                      <a:pt x="606" y="424"/>
                    </a:lnTo>
                    <a:lnTo>
                      <a:pt x="610" y="420"/>
                    </a:lnTo>
                    <a:lnTo>
                      <a:pt x="608" y="416"/>
                    </a:lnTo>
                    <a:lnTo>
                      <a:pt x="605" y="414"/>
                    </a:lnTo>
                    <a:lnTo>
                      <a:pt x="599" y="414"/>
                    </a:lnTo>
                    <a:lnTo>
                      <a:pt x="597" y="416"/>
                    </a:lnTo>
                    <a:lnTo>
                      <a:pt x="595" y="414"/>
                    </a:lnTo>
                    <a:lnTo>
                      <a:pt x="593" y="412"/>
                    </a:lnTo>
                    <a:lnTo>
                      <a:pt x="601" y="407"/>
                    </a:lnTo>
                    <a:lnTo>
                      <a:pt x="606" y="403"/>
                    </a:lnTo>
                    <a:lnTo>
                      <a:pt x="606" y="399"/>
                    </a:lnTo>
                    <a:lnTo>
                      <a:pt x="605" y="397"/>
                    </a:lnTo>
                    <a:lnTo>
                      <a:pt x="601" y="393"/>
                    </a:lnTo>
                    <a:lnTo>
                      <a:pt x="597" y="389"/>
                    </a:lnTo>
                    <a:lnTo>
                      <a:pt x="601" y="389"/>
                    </a:lnTo>
                    <a:lnTo>
                      <a:pt x="601" y="385"/>
                    </a:lnTo>
                    <a:lnTo>
                      <a:pt x="601" y="384"/>
                    </a:lnTo>
                    <a:lnTo>
                      <a:pt x="593" y="376"/>
                    </a:lnTo>
                    <a:lnTo>
                      <a:pt x="587" y="368"/>
                    </a:lnTo>
                    <a:lnTo>
                      <a:pt x="587" y="364"/>
                    </a:lnTo>
                    <a:lnTo>
                      <a:pt x="587" y="361"/>
                    </a:lnTo>
                    <a:lnTo>
                      <a:pt x="585" y="359"/>
                    </a:lnTo>
                    <a:lnTo>
                      <a:pt x="582" y="359"/>
                    </a:lnTo>
                    <a:lnTo>
                      <a:pt x="583" y="357"/>
                    </a:lnTo>
                    <a:lnTo>
                      <a:pt x="583" y="355"/>
                    </a:lnTo>
                    <a:lnTo>
                      <a:pt x="580" y="351"/>
                    </a:lnTo>
                    <a:lnTo>
                      <a:pt x="578" y="345"/>
                    </a:lnTo>
                    <a:lnTo>
                      <a:pt x="576" y="339"/>
                    </a:lnTo>
                    <a:lnTo>
                      <a:pt x="576" y="332"/>
                    </a:lnTo>
                    <a:lnTo>
                      <a:pt x="580" y="328"/>
                    </a:lnTo>
                    <a:lnTo>
                      <a:pt x="585" y="324"/>
                    </a:lnTo>
                    <a:lnTo>
                      <a:pt x="585" y="322"/>
                    </a:lnTo>
                    <a:lnTo>
                      <a:pt x="583" y="320"/>
                    </a:lnTo>
                    <a:lnTo>
                      <a:pt x="591" y="313"/>
                    </a:lnTo>
                    <a:lnTo>
                      <a:pt x="601" y="305"/>
                    </a:lnTo>
                    <a:lnTo>
                      <a:pt x="608" y="303"/>
                    </a:lnTo>
                    <a:lnTo>
                      <a:pt x="616" y="301"/>
                    </a:lnTo>
                    <a:lnTo>
                      <a:pt x="618" y="295"/>
                    </a:lnTo>
                    <a:lnTo>
                      <a:pt x="618" y="291"/>
                    </a:lnTo>
                    <a:lnTo>
                      <a:pt x="610" y="291"/>
                    </a:lnTo>
                    <a:lnTo>
                      <a:pt x="601" y="291"/>
                    </a:lnTo>
                    <a:lnTo>
                      <a:pt x="597" y="289"/>
                    </a:lnTo>
                    <a:lnTo>
                      <a:pt x="587" y="288"/>
                    </a:lnTo>
                    <a:lnTo>
                      <a:pt x="582" y="291"/>
                    </a:lnTo>
                    <a:lnTo>
                      <a:pt x="578" y="297"/>
                    </a:lnTo>
                    <a:lnTo>
                      <a:pt x="572" y="299"/>
                    </a:lnTo>
                    <a:lnTo>
                      <a:pt x="568" y="299"/>
                    </a:lnTo>
                    <a:lnTo>
                      <a:pt x="560" y="284"/>
                    </a:lnTo>
                    <a:lnTo>
                      <a:pt x="553" y="270"/>
                    </a:lnTo>
                    <a:lnTo>
                      <a:pt x="555" y="266"/>
                    </a:lnTo>
                    <a:lnTo>
                      <a:pt x="557" y="265"/>
                    </a:lnTo>
                    <a:lnTo>
                      <a:pt x="564" y="265"/>
                    </a:lnTo>
                    <a:lnTo>
                      <a:pt x="570" y="265"/>
                    </a:lnTo>
                    <a:lnTo>
                      <a:pt x="572" y="261"/>
                    </a:lnTo>
                    <a:lnTo>
                      <a:pt x="574" y="255"/>
                    </a:lnTo>
                    <a:lnTo>
                      <a:pt x="580" y="251"/>
                    </a:lnTo>
                    <a:lnTo>
                      <a:pt x="587" y="249"/>
                    </a:lnTo>
                    <a:lnTo>
                      <a:pt x="593" y="240"/>
                    </a:lnTo>
                    <a:lnTo>
                      <a:pt x="599" y="230"/>
                    </a:lnTo>
                    <a:lnTo>
                      <a:pt x="610" y="234"/>
                    </a:lnTo>
                    <a:lnTo>
                      <a:pt x="614" y="236"/>
                    </a:lnTo>
                    <a:lnTo>
                      <a:pt x="610" y="242"/>
                    </a:lnTo>
                    <a:lnTo>
                      <a:pt x="606" y="249"/>
                    </a:lnTo>
                    <a:lnTo>
                      <a:pt x="605" y="253"/>
                    </a:lnTo>
                    <a:lnTo>
                      <a:pt x="603" y="259"/>
                    </a:lnTo>
                    <a:lnTo>
                      <a:pt x="601" y="261"/>
                    </a:lnTo>
                    <a:lnTo>
                      <a:pt x="603" y="263"/>
                    </a:lnTo>
                    <a:lnTo>
                      <a:pt x="603" y="263"/>
                    </a:lnTo>
                    <a:lnTo>
                      <a:pt x="606" y="261"/>
                    </a:lnTo>
                    <a:lnTo>
                      <a:pt x="605" y="266"/>
                    </a:lnTo>
                    <a:lnTo>
                      <a:pt x="605" y="270"/>
                    </a:lnTo>
                    <a:lnTo>
                      <a:pt x="610" y="265"/>
                    </a:lnTo>
                    <a:lnTo>
                      <a:pt x="618" y="257"/>
                    </a:lnTo>
                    <a:lnTo>
                      <a:pt x="622" y="255"/>
                    </a:lnTo>
                    <a:lnTo>
                      <a:pt x="626" y="251"/>
                    </a:lnTo>
                    <a:lnTo>
                      <a:pt x="631" y="249"/>
                    </a:lnTo>
                    <a:lnTo>
                      <a:pt x="635" y="249"/>
                    </a:lnTo>
                    <a:lnTo>
                      <a:pt x="637" y="251"/>
                    </a:lnTo>
                    <a:lnTo>
                      <a:pt x="645" y="253"/>
                    </a:lnTo>
                    <a:lnTo>
                      <a:pt x="649" y="242"/>
                    </a:lnTo>
                    <a:lnTo>
                      <a:pt x="654" y="238"/>
                    </a:lnTo>
                    <a:lnTo>
                      <a:pt x="658" y="230"/>
                    </a:lnTo>
                    <a:lnTo>
                      <a:pt x="662" y="224"/>
                    </a:lnTo>
                    <a:lnTo>
                      <a:pt x="670" y="217"/>
                    </a:lnTo>
                    <a:lnTo>
                      <a:pt x="670" y="209"/>
                    </a:lnTo>
                    <a:lnTo>
                      <a:pt x="676" y="207"/>
                    </a:lnTo>
                    <a:lnTo>
                      <a:pt x="677" y="213"/>
                    </a:lnTo>
                    <a:lnTo>
                      <a:pt x="683" y="215"/>
                    </a:lnTo>
                    <a:lnTo>
                      <a:pt x="691" y="215"/>
                    </a:lnTo>
                    <a:lnTo>
                      <a:pt x="691" y="211"/>
                    </a:lnTo>
                    <a:lnTo>
                      <a:pt x="689" y="207"/>
                    </a:lnTo>
                    <a:lnTo>
                      <a:pt x="695" y="203"/>
                    </a:lnTo>
                    <a:lnTo>
                      <a:pt x="701" y="203"/>
                    </a:lnTo>
                    <a:lnTo>
                      <a:pt x="702" y="201"/>
                    </a:lnTo>
                    <a:lnTo>
                      <a:pt x="702" y="197"/>
                    </a:lnTo>
                    <a:lnTo>
                      <a:pt x="708" y="195"/>
                    </a:lnTo>
                    <a:lnTo>
                      <a:pt x="710" y="186"/>
                    </a:lnTo>
                    <a:lnTo>
                      <a:pt x="718" y="197"/>
                    </a:lnTo>
                    <a:lnTo>
                      <a:pt x="720" y="194"/>
                    </a:lnTo>
                    <a:lnTo>
                      <a:pt x="720" y="190"/>
                    </a:lnTo>
                    <a:lnTo>
                      <a:pt x="724" y="186"/>
                    </a:lnTo>
                    <a:lnTo>
                      <a:pt x="724" y="180"/>
                    </a:lnTo>
                    <a:lnTo>
                      <a:pt x="722" y="172"/>
                    </a:lnTo>
                    <a:lnTo>
                      <a:pt x="724" y="165"/>
                    </a:lnTo>
                    <a:lnTo>
                      <a:pt x="724" y="161"/>
                    </a:lnTo>
                    <a:lnTo>
                      <a:pt x="729" y="157"/>
                    </a:lnTo>
                    <a:lnTo>
                      <a:pt x="731" y="155"/>
                    </a:lnTo>
                    <a:lnTo>
                      <a:pt x="729" y="153"/>
                    </a:lnTo>
                    <a:lnTo>
                      <a:pt x="731" y="151"/>
                    </a:lnTo>
                    <a:lnTo>
                      <a:pt x="735" y="153"/>
                    </a:lnTo>
                    <a:lnTo>
                      <a:pt x="737" y="155"/>
                    </a:lnTo>
                    <a:close/>
                    <a:moveTo>
                      <a:pt x="507" y="535"/>
                    </a:moveTo>
                    <a:lnTo>
                      <a:pt x="507" y="537"/>
                    </a:lnTo>
                    <a:lnTo>
                      <a:pt x="505" y="539"/>
                    </a:lnTo>
                    <a:lnTo>
                      <a:pt x="505" y="535"/>
                    </a:lnTo>
                    <a:lnTo>
                      <a:pt x="507" y="535"/>
                    </a:lnTo>
                    <a:close/>
                    <a:moveTo>
                      <a:pt x="464" y="581"/>
                    </a:moveTo>
                    <a:lnTo>
                      <a:pt x="453" y="587"/>
                    </a:lnTo>
                    <a:lnTo>
                      <a:pt x="441" y="595"/>
                    </a:lnTo>
                    <a:lnTo>
                      <a:pt x="443" y="602"/>
                    </a:lnTo>
                    <a:lnTo>
                      <a:pt x="445" y="608"/>
                    </a:lnTo>
                    <a:lnTo>
                      <a:pt x="447" y="610"/>
                    </a:lnTo>
                    <a:lnTo>
                      <a:pt x="451" y="612"/>
                    </a:lnTo>
                    <a:lnTo>
                      <a:pt x="455" y="612"/>
                    </a:lnTo>
                    <a:lnTo>
                      <a:pt x="459" y="612"/>
                    </a:lnTo>
                    <a:lnTo>
                      <a:pt x="464" y="610"/>
                    </a:lnTo>
                    <a:lnTo>
                      <a:pt x="468" y="604"/>
                    </a:lnTo>
                    <a:lnTo>
                      <a:pt x="470" y="597"/>
                    </a:lnTo>
                    <a:lnTo>
                      <a:pt x="472" y="589"/>
                    </a:lnTo>
                    <a:lnTo>
                      <a:pt x="476" y="589"/>
                    </a:lnTo>
                    <a:lnTo>
                      <a:pt x="476" y="585"/>
                    </a:lnTo>
                    <a:lnTo>
                      <a:pt x="476" y="583"/>
                    </a:lnTo>
                    <a:lnTo>
                      <a:pt x="474" y="583"/>
                    </a:lnTo>
                    <a:lnTo>
                      <a:pt x="470" y="581"/>
                    </a:lnTo>
                    <a:lnTo>
                      <a:pt x="464" y="581"/>
                    </a:lnTo>
                    <a:close/>
                    <a:moveTo>
                      <a:pt x="486" y="433"/>
                    </a:moveTo>
                    <a:lnTo>
                      <a:pt x="491" y="435"/>
                    </a:lnTo>
                    <a:lnTo>
                      <a:pt x="495" y="435"/>
                    </a:lnTo>
                    <a:lnTo>
                      <a:pt x="495" y="437"/>
                    </a:lnTo>
                    <a:lnTo>
                      <a:pt x="493" y="437"/>
                    </a:lnTo>
                    <a:lnTo>
                      <a:pt x="493" y="441"/>
                    </a:lnTo>
                    <a:lnTo>
                      <a:pt x="489" y="441"/>
                    </a:lnTo>
                    <a:lnTo>
                      <a:pt x="486" y="441"/>
                    </a:lnTo>
                    <a:lnTo>
                      <a:pt x="484" y="437"/>
                    </a:lnTo>
                    <a:lnTo>
                      <a:pt x="486" y="433"/>
                    </a:lnTo>
                    <a:close/>
                    <a:moveTo>
                      <a:pt x="541" y="428"/>
                    </a:moveTo>
                    <a:lnTo>
                      <a:pt x="545" y="428"/>
                    </a:lnTo>
                    <a:lnTo>
                      <a:pt x="547" y="430"/>
                    </a:lnTo>
                    <a:lnTo>
                      <a:pt x="545" y="432"/>
                    </a:lnTo>
                    <a:lnTo>
                      <a:pt x="545" y="432"/>
                    </a:lnTo>
                    <a:lnTo>
                      <a:pt x="541" y="430"/>
                    </a:lnTo>
                    <a:lnTo>
                      <a:pt x="541" y="428"/>
                    </a:lnTo>
                    <a:close/>
                    <a:moveTo>
                      <a:pt x="587" y="393"/>
                    </a:moveTo>
                    <a:lnTo>
                      <a:pt x="589" y="395"/>
                    </a:lnTo>
                    <a:lnTo>
                      <a:pt x="591" y="397"/>
                    </a:lnTo>
                    <a:lnTo>
                      <a:pt x="589" y="399"/>
                    </a:lnTo>
                    <a:lnTo>
                      <a:pt x="585" y="401"/>
                    </a:lnTo>
                    <a:lnTo>
                      <a:pt x="585" y="399"/>
                    </a:lnTo>
                    <a:lnTo>
                      <a:pt x="583" y="397"/>
                    </a:lnTo>
                    <a:lnTo>
                      <a:pt x="585" y="393"/>
                    </a:lnTo>
                    <a:lnTo>
                      <a:pt x="587" y="393"/>
                    </a:lnTo>
                    <a:close/>
                    <a:moveTo>
                      <a:pt x="593" y="385"/>
                    </a:moveTo>
                    <a:lnTo>
                      <a:pt x="593" y="385"/>
                    </a:lnTo>
                    <a:lnTo>
                      <a:pt x="595" y="387"/>
                    </a:lnTo>
                    <a:lnTo>
                      <a:pt x="595" y="389"/>
                    </a:lnTo>
                    <a:lnTo>
                      <a:pt x="593" y="391"/>
                    </a:lnTo>
                    <a:lnTo>
                      <a:pt x="589" y="391"/>
                    </a:lnTo>
                    <a:lnTo>
                      <a:pt x="587" y="389"/>
                    </a:lnTo>
                    <a:lnTo>
                      <a:pt x="589" y="387"/>
                    </a:lnTo>
                    <a:lnTo>
                      <a:pt x="593" y="385"/>
                    </a:lnTo>
                    <a:close/>
                    <a:moveTo>
                      <a:pt x="340" y="297"/>
                    </a:moveTo>
                    <a:lnTo>
                      <a:pt x="342" y="299"/>
                    </a:lnTo>
                    <a:lnTo>
                      <a:pt x="344" y="301"/>
                    </a:lnTo>
                    <a:lnTo>
                      <a:pt x="344" y="303"/>
                    </a:lnTo>
                    <a:lnTo>
                      <a:pt x="344" y="303"/>
                    </a:lnTo>
                    <a:lnTo>
                      <a:pt x="342" y="303"/>
                    </a:lnTo>
                    <a:lnTo>
                      <a:pt x="340" y="303"/>
                    </a:lnTo>
                    <a:lnTo>
                      <a:pt x="338" y="299"/>
                    </a:lnTo>
                    <a:lnTo>
                      <a:pt x="340" y="29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4" name="Freeform 212"/>
              <p:cNvSpPr>
                <a:spLocks noEditPoints="1"/>
              </p:cNvSpPr>
              <p:nvPr/>
            </p:nvSpPr>
            <p:spPr bwMode="gray">
              <a:xfrm>
                <a:off x="2830600" y="4881564"/>
                <a:ext cx="201590" cy="1063625"/>
              </a:xfrm>
              <a:custGeom>
                <a:avLst/>
                <a:gdLst>
                  <a:gd name="T0" fmla="*/ 67 w 127"/>
                  <a:gd name="T1" fmla="*/ 94 h 670"/>
                  <a:gd name="T2" fmla="*/ 60 w 127"/>
                  <a:gd name="T3" fmla="*/ 152 h 670"/>
                  <a:gd name="T4" fmla="*/ 54 w 127"/>
                  <a:gd name="T5" fmla="*/ 236 h 670"/>
                  <a:gd name="T6" fmla="*/ 39 w 127"/>
                  <a:gd name="T7" fmla="*/ 301 h 670"/>
                  <a:gd name="T8" fmla="*/ 27 w 127"/>
                  <a:gd name="T9" fmla="*/ 338 h 670"/>
                  <a:gd name="T10" fmla="*/ 27 w 127"/>
                  <a:gd name="T11" fmla="*/ 405 h 670"/>
                  <a:gd name="T12" fmla="*/ 37 w 127"/>
                  <a:gd name="T13" fmla="*/ 449 h 670"/>
                  <a:gd name="T14" fmla="*/ 21 w 127"/>
                  <a:gd name="T15" fmla="*/ 489 h 670"/>
                  <a:gd name="T16" fmla="*/ 8 w 127"/>
                  <a:gd name="T17" fmla="*/ 491 h 670"/>
                  <a:gd name="T18" fmla="*/ 17 w 127"/>
                  <a:gd name="T19" fmla="*/ 503 h 670"/>
                  <a:gd name="T20" fmla="*/ 19 w 127"/>
                  <a:gd name="T21" fmla="*/ 533 h 670"/>
                  <a:gd name="T22" fmla="*/ 15 w 127"/>
                  <a:gd name="T23" fmla="*/ 558 h 670"/>
                  <a:gd name="T24" fmla="*/ 0 w 127"/>
                  <a:gd name="T25" fmla="*/ 535 h 670"/>
                  <a:gd name="T26" fmla="*/ 15 w 127"/>
                  <a:gd name="T27" fmla="*/ 560 h 670"/>
                  <a:gd name="T28" fmla="*/ 15 w 127"/>
                  <a:gd name="T29" fmla="*/ 574 h 670"/>
                  <a:gd name="T30" fmla="*/ 10 w 127"/>
                  <a:gd name="T31" fmla="*/ 589 h 670"/>
                  <a:gd name="T32" fmla="*/ 21 w 127"/>
                  <a:gd name="T33" fmla="*/ 576 h 670"/>
                  <a:gd name="T34" fmla="*/ 23 w 127"/>
                  <a:gd name="T35" fmla="*/ 587 h 670"/>
                  <a:gd name="T36" fmla="*/ 6 w 127"/>
                  <a:gd name="T37" fmla="*/ 593 h 670"/>
                  <a:gd name="T38" fmla="*/ 15 w 127"/>
                  <a:gd name="T39" fmla="*/ 612 h 670"/>
                  <a:gd name="T40" fmla="*/ 27 w 127"/>
                  <a:gd name="T41" fmla="*/ 593 h 670"/>
                  <a:gd name="T42" fmla="*/ 37 w 127"/>
                  <a:gd name="T43" fmla="*/ 597 h 670"/>
                  <a:gd name="T44" fmla="*/ 29 w 127"/>
                  <a:gd name="T45" fmla="*/ 616 h 670"/>
                  <a:gd name="T46" fmla="*/ 35 w 127"/>
                  <a:gd name="T47" fmla="*/ 629 h 670"/>
                  <a:gd name="T48" fmla="*/ 42 w 127"/>
                  <a:gd name="T49" fmla="*/ 626 h 670"/>
                  <a:gd name="T50" fmla="*/ 50 w 127"/>
                  <a:gd name="T51" fmla="*/ 629 h 670"/>
                  <a:gd name="T52" fmla="*/ 56 w 127"/>
                  <a:gd name="T53" fmla="*/ 637 h 670"/>
                  <a:gd name="T54" fmla="*/ 46 w 127"/>
                  <a:gd name="T55" fmla="*/ 645 h 670"/>
                  <a:gd name="T56" fmla="*/ 73 w 127"/>
                  <a:gd name="T57" fmla="*/ 654 h 670"/>
                  <a:gd name="T58" fmla="*/ 87 w 127"/>
                  <a:gd name="T59" fmla="*/ 658 h 670"/>
                  <a:gd name="T60" fmla="*/ 90 w 127"/>
                  <a:gd name="T61" fmla="*/ 650 h 670"/>
                  <a:gd name="T62" fmla="*/ 113 w 127"/>
                  <a:gd name="T63" fmla="*/ 649 h 670"/>
                  <a:gd name="T64" fmla="*/ 81 w 127"/>
                  <a:gd name="T65" fmla="*/ 599 h 670"/>
                  <a:gd name="T66" fmla="*/ 48 w 127"/>
                  <a:gd name="T67" fmla="*/ 597 h 670"/>
                  <a:gd name="T68" fmla="*/ 29 w 127"/>
                  <a:gd name="T69" fmla="*/ 566 h 670"/>
                  <a:gd name="T70" fmla="*/ 39 w 127"/>
                  <a:gd name="T71" fmla="*/ 530 h 670"/>
                  <a:gd name="T72" fmla="*/ 46 w 127"/>
                  <a:gd name="T73" fmla="*/ 497 h 670"/>
                  <a:gd name="T74" fmla="*/ 48 w 127"/>
                  <a:gd name="T75" fmla="*/ 464 h 670"/>
                  <a:gd name="T76" fmla="*/ 46 w 127"/>
                  <a:gd name="T77" fmla="*/ 422 h 670"/>
                  <a:gd name="T78" fmla="*/ 44 w 127"/>
                  <a:gd name="T79" fmla="*/ 376 h 670"/>
                  <a:gd name="T80" fmla="*/ 54 w 127"/>
                  <a:gd name="T81" fmla="*/ 328 h 670"/>
                  <a:gd name="T82" fmla="*/ 63 w 127"/>
                  <a:gd name="T83" fmla="*/ 292 h 670"/>
                  <a:gd name="T84" fmla="*/ 71 w 127"/>
                  <a:gd name="T85" fmla="*/ 234 h 670"/>
                  <a:gd name="T86" fmla="*/ 85 w 127"/>
                  <a:gd name="T87" fmla="*/ 173 h 670"/>
                  <a:gd name="T88" fmla="*/ 90 w 127"/>
                  <a:gd name="T89" fmla="*/ 125 h 670"/>
                  <a:gd name="T90" fmla="*/ 106 w 127"/>
                  <a:gd name="T91" fmla="*/ 90 h 670"/>
                  <a:gd name="T92" fmla="*/ 87 w 127"/>
                  <a:gd name="T93" fmla="*/ 33 h 670"/>
                  <a:gd name="T94" fmla="*/ 87 w 127"/>
                  <a:gd name="T95" fmla="*/ 662 h 670"/>
                  <a:gd name="T96" fmla="*/ 62 w 127"/>
                  <a:gd name="T97" fmla="*/ 656 h 670"/>
                  <a:gd name="T98" fmla="*/ 4 w 127"/>
                  <a:gd name="T99" fmla="*/ 574 h 670"/>
                  <a:gd name="T100" fmla="*/ 54 w 127"/>
                  <a:gd name="T101" fmla="*/ 610 h 670"/>
                  <a:gd name="T102" fmla="*/ 37 w 127"/>
                  <a:gd name="T103" fmla="*/ 614 h 670"/>
                  <a:gd name="T104" fmla="*/ 63 w 127"/>
                  <a:gd name="T105" fmla="*/ 610 h 670"/>
                  <a:gd name="T106" fmla="*/ 63 w 127"/>
                  <a:gd name="T107" fmla="*/ 631 h 670"/>
                  <a:gd name="T108" fmla="*/ 73 w 127"/>
                  <a:gd name="T109" fmla="*/ 639 h 670"/>
                  <a:gd name="T110" fmla="*/ 56 w 127"/>
                  <a:gd name="T111" fmla="*/ 620 h 670"/>
                  <a:gd name="T112" fmla="*/ 21 w 127"/>
                  <a:gd name="T113" fmla="*/ 478 h 670"/>
                  <a:gd name="T114" fmla="*/ 21 w 127"/>
                  <a:gd name="T115" fmla="*/ 478 h 670"/>
                  <a:gd name="T116" fmla="*/ 21 w 127"/>
                  <a:gd name="T117" fmla="*/ 457 h 670"/>
                  <a:gd name="T118" fmla="*/ 33 w 127"/>
                  <a:gd name="T119" fmla="*/ 432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7" h="670">
                    <a:moveTo>
                      <a:pt x="65" y="6"/>
                    </a:moveTo>
                    <a:lnTo>
                      <a:pt x="62" y="9"/>
                    </a:lnTo>
                    <a:lnTo>
                      <a:pt x="60" y="11"/>
                    </a:lnTo>
                    <a:lnTo>
                      <a:pt x="63" y="17"/>
                    </a:lnTo>
                    <a:lnTo>
                      <a:pt x="67" y="25"/>
                    </a:lnTo>
                    <a:lnTo>
                      <a:pt x="69" y="40"/>
                    </a:lnTo>
                    <a:lnTo>
                      <a:pt x="69" y="57"/>
                    </a:lnTo>
                    <a:lnTo>
                      <a:pt x="67" y="75"/>
                    </a:lnTo>
                    <a:lnTo>
                      <a:pt x="67" y="94"/>
                    </a:lnTo>
                    <a:lnTo>
                      <a:pt x="63" y="94"/>
                    </a:lnTo>
                    <a:lnTo>
                      <a:pt x="65" y="100"/>
                    </a:lnTo>
                    <a:lnTo>
                      <a:pt x="67" y="102"/>
                    </a:lnTo>
                    <a:lnTo>
                      <a:pt x="65" y="107"/>
                    </a:lnTo>
                    <a:lnTo>
                      <a:pt x="63" y="111"/>
                    </a:lnTo>
                    <a:lnTo>
                      <a:pt x="63" y="125"/>
                    </a:lnTo>
                    <a:lnTo>
                      <a:pt x="65" y="134"/>
                    </a:lnTo>
                    <a:lnTo>
                      <a:pt x="62" y="140"/>
                    </a:lnTo>
                    <a:lnTo>
                      <a:pt x="60" y="152"/>
                    </a:lnTo>
                    <a:lnTo>
                      <a:pt x="58" y="167"/>
                    </a:lnTo>
                    <a:lnTo>
                      <a:pt x="56" y="182"/>
                    </a:lnTo>
                    <a:lnTo>
                      <a:pt x="52" y="190"/>
                    </a:lnTo>
                    <a:lnTo>
                      <a:pt x="56" y="201"/>
                    </a:lnTo>
                    <a:lnTo>
                      <a:pt x="56" y="203"/>
                    </a:lnTo>
                    <a:lnTo>
                      <a:pt x="58" y="205"/>
                    </a:lnTo>
                    <a:lnTo>
                      <a:pt x="54" y="215"/>
                    </a:lnTo>
                    <a:lnTo>
                      <a:pt x="52" y="224"/>
                    </a:lnTo>
                    <a:lnTo>
                      <a:pt x="54" y="236"/>
                    </a:lnTo>
                    <a:lnTo>
                      <a:pt x="56" y="253"/>
                    </a:lnTo>
                    <a:lnTo>
                      <a:pt x="52" y="257"/>
                    </a:lnTo>
                    <a:lnTo>
                      <a:pt x="48" y="259"/>
                    </a:lnTo>
                    <a:lnTo>
                      <a:pt x="46" y="267"/>
                    </a:lnTo>
                    <a:lnTo>
                      <a:pt x="48" y="274"/>
                    </a:lnTo>
                    <a:lnTo>
                      <a:pt x="46" y="276"/>
                    </a:lnTo>
                    <a:lnTo>
                      <a:pt x="44" y="276"/>
                    </a:lnTo>
                    <a:lnTo>
                      <a:pt x="39" y="295"/>
                    </a:lnTo>
                    <a:lnTo>
                      <a:pt x="39" y="301"/>
                    </a:lnTo>
                    <a:lnTo>
                      <a:pt x="39" y="303"/>
                    </a:lnTo>
                    <a:lnTo>
                      <a:pt x="39" y="305"/>
                    </a:lnTo>
                    <a:lnTo>
                      <a:pt x="37" y="313"/>
                    </a:lnTo>
                    <a:lnTo>
                      <a:pt x="33" y="324"/>
                    </a:lnTo>
                    <a:lnTo>
                      <a:pt x="31" y="328"/>
                    </a:lnTo>
                    <a:lnTo>
                      <a:pt x="29" y="332"/>
                    </a:lnTo>
                    <a:lnTo>
                      <a:pt x="27" y="336"/>
                    </a:lnTo>
                    <a:lnTo>
                      <a:pt x="25" y="336"/>
                    </a:lnTo>
                    <a:lnTo>
                      <a:pt x="27" y="338"/>
                    </a:lnTo>
                    <a:lnTo>
                      <a:pt x="31" y="338"/>
                    </a:lnTo>
                    <a:lnTo>
                      <a:pt x="31" y="345"/>
                    </a:lnTo>
                    <a:lnTo>
                      <a:pt x="33" y="351"/>
                    </a:lnTo>
                    <a:lnTo>
                      <a:pt x="33" y="361"/>
                    </a:lnTo>
                    <a:lnTo>
                      <a:pt x="35" y="376"/>
                    </a:lnTo>
                    <a:lnTo>
                      <a:pt x="31" y="376"/>
                    </a:lnTo>
                    <a:lnTo>
                      <a:pt x="27" y="389"/>
                    </a:lnTo>
                    <a:lnTo>
                      <a:pt x="25" y="401"/>
                    </a:lnTo>
                    <a:lnTo>
                      <a:pt x="27" y="405"/>
                    </a:lnTo>
                    <a:lnTo>
                      <a:pt x="29" y="407"/>
                    </a:lnTo>
                    <a:lnTo>
                      <a:pt x="33" y="409"/>
                    </a:lnTo>
                    <a:lnTo>
                      <a:pt x="40" y="407"/>
                    </a:lnTo>
                    <a:lnTo>
                      <a:pt x="39" y="418"/>
                    </a:lnTo>
                    <a:lnTo>
                      <a:pt x="39" y="432"/>
                    </a:lnTo>
                    <a:lnTo>
                      <a:pt x="35" y="434"/>
                    </a:lnTo>
                    <a:lnTo>
                      <a:pt x="37" y="441"/>
                    </a:lnTo>
                    <a:lnTo>
                      <a:pt x="39" y="447"/>
                    </a:lnTo>
                    <a:lnTo>
                      <a:pt x="37" y="449"/>
                    </a:lnTo>
                    <a:lnTo>
                      <a:pt x="33" y="453"/>
                    </a:lnTo>
                    <a:lnTo>
                      <a:pt x="35" y="453"/>
                    </a:lnTo>
                    <a:lnTo>
                      <a:pt x="35" y="457"/>
                    </a:lnTo>
                    <a:lnTo>
                      <a:pt x="33" y="457"/>
                    </a:lnTo>
                    <a:lnTo>
                      <a:pt x="31" y="455"/>
                    </a:lnTo>
                    <a:lnTo>
                      <a:pt x="29" y="474"/>
                    </a:lnTo>
                    <a:lnTo>
                      <a:pt x="29" y="493"/>
                    </a:lnTo>
                    <a:lnTo>
                      <a:pt x="25" y="491"/>
                    </a:lnTo>
                    <a:lnTo>
                      <a:pt x="21" y="489"/>
                    </a:lnTo>
                    <a:lnTo>
                      <a:pt x="21" y="493"/>
                    </a:lnTo>
                    <a:lnTo>
                      <a:pt x="17" y="493"/>
                    </a:lnTo>
                    <a:lnTo>
                      <a:pt x="17" y="491"/>
                    </a:lnTo>
                    <a:lnTo>
                      <a:pt x="19" y="489"/>
                    </a:lnTo>
                    <a:lnTo>
                      <a:pt x="15" y="487"/>
                    </a:lnTo>
                    <a:lnTo>
                      <a:pt x="12" y="485"/>
                    </a:lnTo>
                    <a:lnTo>
                      <a:pt x="10" y="487"/>
                    </a:lnTo>
                    <a:lnTo>
                      <a:pt x="8" y="487"/>
                    </a:lnTo>
                    <a:lnTo>
                      <a:pt x="8" y="491"/>
                    </a:lnTo>
                    <a:lnTo>
                      <a:pt x="6" y="495"/>
                    </a:lnTo>
                    <a:lnTo>
                      <a:pt x="4" y="503"/>
                    </a:lnTo>
                    <a:lnTo>
                      <a:pt x="10" y="499"/>
                    </a:lnTo>
                    <a:lnTo>
                      <a:pt x="10" y="503"/>
                    </a:lnTo>
                    <a:lnTo>
                      <a:pt x="10" y="505"/>
                    </a:lnTo>
                    <a:lnTo>
                      <a:pt x="12" y="505"/>
                    </a:lnTo>
                    <a:lnTo>
                      <a:pt x="15" y="505"/>
                    </a:lnTo>
                    <a:lnTo>
                      <a:pt x="15" y="505"/>
                    </a:lnTo>
                    <a:lnTo>
                      <a:pt x="17" y="503"/>
                    </a:lnTo>
                    <a:lnTo>
                      <a:pt x="21" y="503"/>
                    </a:lnTo>
                    <a:lnTo>
                      <a:pt x="23" y="505"/>
                    </a:lnTo>
                    <a:lnTo>
                      <a:pt x="21" y="510"/>
                    </a:lnTo>
                    <a:lnTo>
                      <a:pt x="21" y="512"/>
                    </a:lnTo>
                    <a:lnTo>
                      <a:pt x="21" y="514"/>
                    </a:lnTo>
                    <a:lnTo>
                      <a:pt x="23" y="516"/>
                    </a:lnTo>
                    <a:lnTo>
                      <a:pt x="23" y="518"/>
                    </a:lnTo>
                    <a:lnTo>
                      <a:pt x="19" y="518"/>
                    </a:lnTo>
                    <a:lnTo>
                      <a:pt x="19" y="533"/>
                    </a:lnTo>
                    <a:lnTo>
                      <a:pt x="19" y="549"/>
                    </a:lnTo>
                    <a:lnTo>
                      <a:pt x="21" y="547"/>
                    </a:lnTo>
                    <a:lnTo>
                      <a:pt x="23" y="545"/>
                    </a:lnTo>
                    <a:lnTo>
                      <a:pt x="21" y="549"/>
                    </a:lnTo>
                    <a:lnTo>
                      <a:pt x="19" y="553"/>
                    </a:lnTo>
                    <a:lnTo>
                      <a:pt x="17" y="556"/>
                    </a:lnTo>
                    <a:lnTo>
                      <a:pt x="17" y="560"/>
                    </a:lnTo>
                    <a:lnTo>
                      <a:pt x="15" y="560"/>
                    </a:lnTo>
                    <a:lnTo>
                      <a:pt x="15" y="558"/>
                    </a:lnTo>
                    <a:lnTo>
                      <a:pt x="15" y="541"/>
                    </a:lnTo>
                    <a:lnTo>
                      <a:pt x="14" y="524"/>
                    </a:lnTo>
                    <a:lnTo>
                      <a:pt x="10" y="524"/>
                    </a:lnTo>
                    <a:lnTo>
                      <a:pt x="6" y="524"/>
                    </a:lnTo>
                    <a:lnTo>
                      <a:pt x="6" y="526"/>
                    </a:lnTo>
                    <a:lnTo>
                      <a:pt x="8" y="528"/>
                    </a:lnTo>
                    <a:lnTo>
                      <a:pt x="4" y="530"/>
                    </a:lnTo>
                    <a:lnTo>
                      <a:pt x="2" y="533"/>
                    </a:lnTo>
                    <a:lnTo>
                      <a:pt x="0" y="535"/>
                    </a:lnTo>
                    <a:lnTo>
                      <a:pt x="2" y="537"/>
                    </a:lnTo>
                    <a:lnTo>
                      <a:pt x="4" y="541"/>
                    </a:lnTo>
                    <a:lnTo>
                      <a:pt x="6" y="545"/>
                    </a:lnTo>
                    <a:lnTo>
                      <a:pt x="4" y="549"/>
                    </a:lnTo>
                    <a:lnTo>
                      <a:pt x="2" y="551"/>
                    </a:lnTo>
                    <a:lnTo>
                      <a:pt x="2" y="555"/>
                    </a:lnTo>
                    <a:lnTo>
                      <a:pt x="4" y="558"/>
                    </a:lnTo>
                    <a:lnTo>
                      <a:pt x="10" y="560"/>
                    </a:lnTo>
                    <a:lnTo>
                      <a:pt x="15" y="560"/>
                    </a:lnTo>
                    <a:lnTo>
                      <a:pt x="15" y="564"/>
                    </a:lnTo>
                    <a:lnTo>
                      <a:pt x="15" y="566"/>
                    </a:lnTo>
                    <a:lnTo>
                      <a:pt x="17" y="566"/>
                    </a:lnTo>
                    <a:lnTo>
                      <a:pt x="21" y="566"/>
                    </a:lnTo>
                    <a:lnTo>
                      <a:pt x="21" y="570"/>
                    </a:lnTo>
                    <a:lnTo>
                      <a:pt x="21" y="572"/>
                    </a:lnTo>
                    <a:lnTo>
                      <a:pt x="17" y="570"/>
                    </a:lnTo>
                    <a:lnTo>
                      <a:pt x="15" y="568"/>
                    </a:lnTo>
                    <a:lnTo>
                      <a:pt x="15" y="574"/>
                    </a:lnTo>
                    <a:lnTo>
                      <a:pt x="15" y="574"/>
                    </a:lnTo>
                    <a:lnTo>
                      <a:pt x="12" y="574"/>
                    </a:lnTo>
                    <a:lnTo>
                      <a:pt x="10" y="572"/>
                    </a:lnTo>
                    <a:lnTo>
                      <a:pt x="10" y="576"/>
                    </a:lnTo>
                    <a:lnTo>
                      <a:pt x="10" y="578"/>
                    </a:lnTo>
                    <a:lnTo>
                      <a:pt x="8" y="578"/>
                    </a:lnTo>
                    <a:lnTo>
                      <a:pt x="8" y="583"/>
                    </a:lnTo>
                    <a:lnTo>
                      <a:pt x="8" y="589"/>
                    </a:lnTo>
                    <a:lnTo>
                      <a:pt x="10" y="589"/>
                    </a:lnTo>
                    <a:lnTo>
                      <a:pt x="14" y="589"/>
                    </a:lnTo>
                    <a:lnTo>
                      <a:pt x="14" y="585"/>
                    </a:lnTo>
                    <a:lnTo>
                      <a:pt x="17" y="581"/>
                    </a:lnTo>
                    <a:lnTo>
                      <a:pt x="17" y="585"/>
                    </a:lnTo>
                    <a:lnTo>
                      <a:pt x="19" y="585"/>
                    </a:lnTo>
                    <a:lnTo>
                      <a:pt x="19" y="581"/>
                    </a:lnTo>
                    <a:lnTo>
                      <a:pt x="17" y="579"/>
                    </a:lnTo>
                    <a:lnTo>
                      <a:pt x="17" y="578"/>
                    </a:lnTo>
                    <a:lnTo>
                      <a:pt x="21" y="576"/>
                    </a:lnTo>
                    <a:lnTo>
                      <a:pt x="21" y="572"/>
                    </a:lnTo>
                    <a:lnTo>
                      <a:pt x="23" y="574"/>
                    </a:lnTo>
                    <a:lnTo>
                      <a:pt x="27" y="574"/>
                    </a:lnTo>
                    <a:lnTo>
                      <a:pt x="21" y="579"/>
                    </a:lnTo>
                    <a:lnTo>
                      <a:pt x="21" y="581"/>
                    </a:lnTo>
                    <a:lnTo>
                      <a:pt x="21" y="583"/>
                    </a:lnTo>
                    <a:lnTo>
                      <a:pt x="23" y="583"/>
                    </a:lnTo>
                    <a:lnTo>
                      <a:pt x="25" y="583"/>
                    </a:lnTo>
                    <a:lnTo>
                      <a:pt x="23" y="587"/>
                    </a:lnTo>
                    <a:lnTo>
                      <a:pt x="23" y="589"/>
                    </a:lnTo>
                    <a:lnTo>
                      <a:pt x="23" y="593"/>
                    </a:lnTo>
                    <a:lnTo>
                      <a:pt x="19" y="593"/>
                    </a:lnTo>
                    <a:lnTo>
                      <a:pt x="17" y="591"/>
                    </a:lnTo>
                    <a:lnTo>
                      <a:pt x="17" y="595"/>
                    </a:lnTo>
                    <a:lnTo>
                      <a:pt x="14" y="595"/>
                    </a:lnTo>
                    <a:lnTo>
                      <a:pt x="15" y="593"/>
                    </a:lnTo>
                    <a:lnTo>
                      <a:pt x="10" y="593"/>
                    </a:lnTo>
                    <a:lnTo>
                      <a:pt x="6" y="593"/>
                    </a:lnTo>
                    <a:lnTo>
                      <a:pt x="8" y="601"/>
                    </a:lnTo>
                    <a:lnTo>
                      <a:pt x="10" y="608"/>
                    </a:lnTo>
                    <a:lnTo>
                      <a:pt x="14" y="614"/>
                    </a:lnTo>
                    <a:lnTo>
                      <a:pt x="21" y="618"/>
                    </a:lnTo>
                    <a:lnTo>
                      <a:pt x="25" y="620"/>
                    </a:lnTo>
                    <a:lnTo>
                      <a:pt x="27" y="618"/>
                    </a:lnTo>
                    <a:lnTo>
                      <a:pt x="21" y="616"/>
                    </a:lnTo>
                    <a:lnTo>
                      <a:pt x="17" y="612"/>
                    </a:lnTo>
                    <a:lnTo>
                      <a:pt x="15" y="612"/>
                    </a:lnTo>
                    <a:lnTo>
                      <a:pt x="17" y="610"/>
                    </a:lnTo>
                    <a:lnTo>
                      <a:pt x="19" y="610"/>
                    </a:lnTo>
                    <a:lnTo>
                      <a:pt x="23" y="610"/>
                    </a:lnTo>
                    <a:lnTo>
                      <a:pt x="23" y="604"/>
                    </a:lnTo>
                    <a:lnTo>
                      <a:pt x="23" y="599"/>
                    </a:lnTo>
                    <a:lnTo>
                      <a:pt x="21" y="597"/>
                    </a:lnTo>
                    <a:lnTo>
                      <a:pt x="19" y="595"/>
                    </a:lnTo>
                    <a:lnTo>
                      <a:pt x="23" y="595"/>
                    </a:lnTo>
                    <a:lnTo>
                      <a:pt x="27" y="593"/>
                    </a:lnTo>
                    <a:lnTo>
                      <a:pt x="27" y="595"/>
                    </a:lnTo>
                    <a:lnTo>
                      <a:pt x="31" y="597"/>
                    </a:lnTo>
                    <a:lnTo>
                      <a:pt x="33" y="595"/>
                    </a:lnTo>
                    <a:lnTo>
                      <a:pt x="35" y="591"/>
                    </a:lnTo>
                    <a:lnTo>
                      <a:pt x="37" y="591"/>
                    </a:lnTo>
                    <a:lnTo>
                      <a:pt x="39" y="593"/>
                    </a:lnTo>
                    <a:lnTo>
                      <a:pt x="40" y="595"/>
                    </a:lnTo>
                    <a:lnTo>
                      <a:pt x="39" y="595"/>
                    </a:lnTo>
                    <a:lnTo>
                      <a:pt x="37" y="597"/>
                    </a:lnTo>
                    <a:lnTo>
                      <a:pt x="35" y="595"/>
                    </a:lnTo>
                    <a:lnTo>
                      <a:pt x="35" y="599"/>
                    </a:lnTo>
                    <a:lnTo>
                      <a:pt x="35" y="602"/>
                    </a:lnTo>
                    <a:lnTo>
                      <a:pt x="31" y="601"/>
                    </a:lnTo>
                    <a:lnTo>
                      <a:pt x="31" y="599"/>
                    </a:lnTo>
                    <a:lnTo>
                      <a:pt x="27" y="601"/>
                    </a:lnTo>
                    <a:lnTo>
                      <a:pt x="27" y="602"/>
                    </a:lnTo>
                    <a:lnTo>
                      <a:pt x="27" y="610"/>
                    </a:lnTo>
                    <a:lnTo>
                      <a:pt x="29" y="616"/>
                    </a:lnTo>
                    <a:lnTo>
                      <a:pt x="31" y="616"/>
                    </a:lnTo>
                    <a:lnTo>
                      <a:pt x="33" y="618"/>
                    </a:lnTo>
                    <a:lnTo>
                      <a:pt x="33" y="618"/>
                    </a:lnTo>
                    <a:lnTo>
                      <a:pt x="29" y="618"/>
                    </a:lnTo>
                    <a:lnTo>
                      <a:pt x="27" y="624"/>
                    </a:lnTo>
                    <a:lnTo>
                      <a:pt x="27" y="627"/>
                    </a:lnTo>
                    <a:lnTo>
                      <a:pt x="31" y="629"/>
                    </a:lnTo>
                    <a:lnTo>
                      <a:pt x="33" y="629"/>
                    </a:lnTo>
                    <a:lnTo>
                      <a:pt x="35" y="629"/>
                    </a:lnTo>
                    <a:lnTo>
                      <a:pt x="35" y="633"/>
                    </a:lnTo>
                    <a:lnTo>
                      <a:pt x="35" y="635"/>
                    </a:lnTo>
                    <a:lnTo>
                      <a:pt x="40" y="637"/>
                    </a:lnTo>
                    <a:lnTo>
                      <a:pt x="42" y="637"/>
                    </a:lnTo>
                    <a:lnTo>
                      <a:pt x="42" y="635"/>
                    </a:lnTo>
                    <a:lnTo>
                      <a:pt x="42" y="633"/>
                    </a:lnTo>
                    <a:lnTo>
                      <a:pt x="40" y="631"/>
                    </a:lnTo>
                    <a:lnTo>
                      <a:pt x="40" y="629"/>
                    </a:lnTo>
                    <a:lnTo>
                      <a:pt x="42" y="626"/>
                    </a:lnTo>
                    <a:lnTo>
                      <a:pt x="37" y="626"/>
                    </a:lnTo>
                    <a:lnTo>
                      <a:pt x="37" y="624"/>
                    </a:lnTo>
                    <a:lnTo>
                      <a:pt x="40" y="622"/>
                    </a:lnTo>
                    <a:lnTo>
                      <a:pt x="40" y="622"/>
                    </a:lnTo>
                    <a:lnTo>
                      <a:pt x="40" y="620"/>
                    </a:lnTo>
                    <a:lnTo>
                      <a:pt x="44" y="620"/>
                    </a:lnTo>
                    <a:lnTo>
                      <a:pt x="44" y="624"/>
                    </a:lnTo>
                    <a:lnTo>
                      <a:pt x="46" y="627"/>
                    </a:lnTo>
                    <a:lnTo>
                      <a:pt x="50" y="629"/>
                    </a:lnTo>
                    <a:lnTo>
                      <a:pt x="56" y="629"/>
                    </a:lnTo>
                    <a:lnTo>
                      <a:pt x="56" y="633"/>
                    </a:lnTo>
                    <a:lnTo>
                      <a:pt x="56" y="635"/>
                    </a:lnTo>
                    <a:lnTo>
                      <a:pt x="50" y="633"/>
                    </a:lnTo>
                    <a:lnTo>
                      <a:pt x="44" y="631"/>
                    </a:lnTo>
                    <a:lnTo>
                      <a:pt x="46" y="635"/>
                    </a:lnTo>
                    <a:lnTo>
                      <a:pt x="48" y="639"/>
                    </a:lnTo>
                    <a:lnTo>
                      <a:pt x="52" y="639"/>
                    </a:lnTo>
                    <a:lnTo>
                      <a:pt x="56" y="637"/>
                    </a:lnTo>
                    <a:lnTo>
                      <a:pt x="60" y="637"/>
                    </a:lnTo>
                    <a:lnTo>
                      <a:pt x="62" y="639"/>
                    </a:lnTo>
                    <a:lnTo>
                      <a:pt x="60" y="639"/>
                    </a:lnTo>
                    <a:lnTo>
                      <a:pt x="56" y="641"/>
                    </a:lnTo>
                    <a:lnTo>
                      <a:pt x="48" y="643"/>
                    </a:lnTo>
                    <a:lnTo>
                      <a:pt x="44" y="643"/>
                    </a:lnTo>
                    <a:lnTo>
                      <a:pt x="44" y="649"/>
                    </a:lnTo>
                    <a:lnTo>
                      <a:pt x="46" y="649"/>
                    </a:lnTo>
                    <a:lnTo>
                      <a:pt x="46" y="645"/>
                    </a:lnTo>
                    <a:lnTo>
                      <a:pt x="50" y="647"/>
                    </a:lnTo>
                    <a:lnTo>
                      <a:pt x="58" y="647"/>
                    </a:lnTo>
                    <a:lnTo>
                      <a:pt x="58" y="650"/>
                    </a:lnTo>
                    <a:lnTo>
                      <a:pt x="62" y="650"/>
                    </a:lnTo>
                    <a:lnTo>
                      <a:pt x="67" y="650"/>
                    </a:lnTo>
                    <a:lnTo>
                      <a:pt x="67" y="652"/>
                    </a:lnTo>
                    <a:lnTo>
                      <a:pt x="69" y="654"/>
                    </a:lnTo>
                    <a:lnTo>
                      <a:pt x="73" y="652"/>
                    </a:lnTo>
                    <a:lnTo>
                      <a:pt x="73" y="654"/>
                    </a:lnTo>
                    <a:lnTo>
                      <a:pt x="67" y="656"/>
                    </a:lnTo>
                    <a:lnTo>
                      <a:pt x="69" y="660"/>
                    </a:lnTo>
                    <a:lnTo>
                      <a:pt x="71" y="662"/>
                    </a:lnTo>
                    <a:lnTo>
                      <a:pt x="75" y="664"/>
                    </a:lnTo>
                    <a:lnTo>
                      <a:pt x="77" y="664"/>
                    </a:lnTo>
                    <a:lnTo>
                      <a:pt x="79" y="662"/>
                    </a:lnTo>
                    <a:lnTo>
                      <a:pt x="81" y="658"/>
                    </a:lnTo>
                    <a:lnTo>
                      <a:pt x="83" y="658"/>
                    </a:lnTo>
                    <a:lnTo>
                      <a:pt x="87" y="658"/>
                    </a:lnTo>
                    <a:lnTo>
                      <a:pt x="88" y="658"/>
                    </a:lnTo>
                    <a:lnTo>
                      <a:pt x="90" y="658"/>
                    </a:lnTo>
                    <a:lnTo>
                      <a:pt x="90" y="658"/>
                    </a:lnTo>
                    <a:lnTo>
                      <a:pt x="88" y="656"/>
                    </a:lnTo>
                    <a:lnTo>
                      <a:pt x="88" y="652"/>
                    </a:lnTo>
                    <a:lnTo>
                      <a:pt x="85" y="652"/>
                    </a:lnTo>
                    <a:lnTo>
                      <a:pt x="83" y="650"/>
                    </a:lnTo>
                    <a:lnTo>
                      <a:pt x="87" y="650"/>
                    </a:lnTo>
                    <a:lnTo>
                      <a:pt x="90" y="650"/>
                    </a:lnTo>
                    <a:lnTo>
                      <a:pt x="96" y="660"/>
                    </a:lnTo>
                    <a:lnTo>
                      <a:pt x="100" y="660"/>
                    </a:lnTo>
                    <a:lnTo>
                      <a:pt x="100" y="658"/>
                    </a:lnTo>
                    <a:lnTo>
                      <a:pt x="104" y="656"/>
                    </a:lnTo>
                    <a:lnTo>
                      <a:pt x="104" y="652"/>
                    </a:lnTo>
                    <a:lnTo>
                      <a:pt x="106" y="650"/>
                    </a:lnTo>
                    <a:lnTo>
                      <a:pt x="117" y="650"/>
                    </a:lnTo>
                    <a:lnTo>
                      <a:pt x="127" y="650"/>
                    </a:lnTo>
                    <a:lnTo>
                      <a:pt x="113" y="649"/>
                    </a:lnTo>
                    <a:lnTo>
                      <a:pt x="96" y="649"/>
                    </a:lnTo>
                    <a:lnTo>
                      <a:pt x="88" y="647"/>
                    </a:lnTo>
                    <a:lnTo>
                      <a:pt x="87" y="649"/>
                    </a:lnTo>
                    <a:lnTo>
                      <a:pt x="85" y="610"/>
                    </a:lnTo>
                    <a:lnTo>
                      <a:pt x="79" y="608"/>
                    </a:lnTo>
                    <a:lnTo>
                      <a:pt x="75" y="606"/>
                    </a:lnTo>
                    <a:lnTo>
                      <a:pt x="77" y="602"/>
                    </a:lnTo>
                    <a:lnTo>
                      <a:pt x="79" y="599"/>
                    </a:lnTo>
                    <a:lnTo>
                      <a:pt x="81" y="599"/>
                    </a:lnTo>
                    <a:lnTo>
                      <a:pt x="83" y="601"/>
                    </a:lnTo>
                    <a:lnTo>
                      <a:pt x="85" y="601"/>
                    </a:lnTo>
                    <a:lnTo>
                      <a:pt x="88" y="601"/>
                    </a:lnTo>
                    <a:lnTo>
                      <a:pt x="87" y="601"/>
                    </a:lnTo>
                    <a:lnTo>
                      <a:pt x="87" y="599"/>
                    </a:lnTo>
                    <a:lnTo>
                      <a:pt x="77" y="597"/>
                    </a:lnTo>
                    <a:lnTo>
                      <a:pt x="65" y="597"/>
                    </a:lnTo>
                    <a:lnTo>
                      <a:pt x="56" y="597"/>
                    </a:lnTo>
                    <a:lnTo>
                      <a:pt x="48" y="597"/>
                    </a:lnTo>
                    <a:lnTo>
                      <a:pt x="44" y="593"/>
                    </a:lnTo>
                    <a:lnTo>
                      <a:pt x="39" y="585"/>
                    </a:lnTo>
                    <a:lnTo>
                      <a:pt x="37" y="579"/>
                    </a:lnTo>
                    <a:lnTo>
                      <a:pt x="37" y="576"/>
                    </a:lnTo>
                    <a:lnTo>
                      <a:pt x="39" y="572"/>
                    </a:lnTo>
                    <a:lnTo>
                      <a:pt x="37" y="566"/>
                    </a:lnTo>
                    <a:lnTo>
                      <a:pt x="35" y="566"/>
                    </a:lnTo>
                    <a:lnTo>
                      <a:pt x="31" y="568"/>
                    </a:lnTo>
                    <a:lnTo>
                      <a:pt x="29" y="566"/>
                    </a:lnTo>
                    <a:lnTo>
                      <a:pt x="27" y="560"/>
                    </a:lnTo>
                    <a:lnTo>
                      <a:pt x="29" y="555"/>
                    </a:lnTo>
                    <a:lnTo>
                      <a:pt x="31" y="551"/>
                    </a:lnTo>
                    <a:lnTo>
                      <a:pt x="31" y="545"/>
                    </a:lnTo>
                    <a:lnTo>
                      <a:pt x="29" y="539"/>
                    </a:lnTo>
                    <a:lnTo>
                      <a:pt x="29" y="535"/>
                    </a:lnTo>
                    <a:lnTo>
                      <a:pt x="33" y="533"/>
                    </a:lnTo>
                    <a:lnTo>
                      <a:pt x="35" y="531"/>
                    </a:lnTo>
                    <a:lnTo>
                      <a:pt x="39" y="530"/>
                    </a:lnTo>
                    <a:lnTo>
                      <a:pt x="40" y="526"/>
                    </a:lnTo>
                    <a:lnTo>
                      <a:pt x="40" y="522"/>
                    </a:lnTo>
                    <a:lnTo>
                      <a:pt x="40" y="516"/>
                    </a:lnTo>
                    <a:lnTo>
                      <a:pt x="40" y="512"/>
                    </a:lnTo>
                    <a:lnTo>
                      <a:pt x="44" y="508"/>
                    </a:lnTo>
                    <a:lnTo>
                      <a:pt x="44" y="507"/>
                    </a:lnTo>
                    <a:lnTo>
                      <a:pt x="46" y="507"/>
                    </a:lnTo>
                    <a:lnTo>
                      <a:pt x="46" y="503"/>
                    </a:lnTo>
                    <a:lnTo>
                      <a:pt x="46" y="497"/>
                    </a:lnTo>
                    <a:lnTo>
                      <a:pt x="46" y="491"/>
                    </a:lnTo>
                    <a:lnTo>
                      <a:pt x="48" y="485"/>
                    </a:lnTo>
                    <a:lnTo>
                      <a:pt x="46" y="482"/>
                    </a:lnTo>
                    <a:lnTo>
                      <a:pt x="44" y="476"/>
                    </a:lnTo>
                    <a:lnTo>
                      <a:pt x="46" y="474"/>
                    </a:lnTo>
                    <a:lnTo>
                      <a:pt x="46" y="470"/>
                    </a:lnTo>
                    <a:lnTo>
                      <a:pt x="50" y="468"/>
                    </a:lnTo>
                    <a:lnTo>
                      <a:pt x="50" y="466"/>
                    </a:lnTo>
                    <a:lnTo>
                      <a:pt x="48" y="464"/>
                    </a:lnTo>
                    <a:lnTo>
                      <a:pt x="48" y="459"/>
                    </a:lnTo>
                    <a:lnTo>
                      <a:pt x="50" y="455"/>
                    </a:lnTo>
                    <a:lnTo>
                      <a:pt x="50" y="451"/>
                    </a:lnTo>
                    <a:lnTo>
                      <a:pt x="50" y="445"/>
                    </a:lnTo>
                    <a:lnTo>
                      <a:pt x="48" y="441"/>
                    </a:lnTo>
                    <a:lnTo>
                      <a:pt x="48" y="437"/>
                    </a:lnTo>
                    <a:lnTo>
                      <a:pt x="48" y="434"/>
                    </a:lnTo>
                    <a:lnTo>
                      <a:pt x="44" y="428"/>
                    </a:lnTo>
                    <a:lnTo>
                      <a:pt x="46" y="422"/>
                    </a:lnTo>
                    <a:lnTo>
                      <a:pt x="48" y="414"/>
                    </a:lnTo>
                    <a:lnTo>
                      <a:pt x="50" y="409"/>
                    </a:lnTo>
                    <a:lnTo>
                      <a:pt x="48" y="403"/>
                    </a:lnTo>
                    <a:lnTo>
                      <a:pt x="48" y="401"/>
                    </a:lnTo>
                    <a:lnTo>
                      <a:pt x="46" y="399"/>
                    </a:lnTo>
                    <a:lnTo>
                      <a:pt x="44" y="395"/>
                    </a:lnTo>
                    <a:lnTo>
                      <a:pt x="44" y="388"/>
                    </a:lnTo>
                    <a:lnTo>
                      <a:pt x="42" y="382"/>
                    </a:lnTo>
                    <a:lnTo>
                      <a:pt x="44" y="376"/>
                    </a:lnTo>
                    <a:lnTo>
                      <a:pt x="46" y="372"/>
                    </a:lnTo>
                    <a:lnTo>
                      <a:pt x="48" y="366"/>
                    </a:lnTo>
                    <a:lnTo>
                      <a:pt x="48" y="357"/>
                    </a:lnTo>
                    <a:lnTo>
                      <a:pt x="52" y="347"/>
                    </a:lnTo>
                    <a:lnTo>
                      <a:pt x="54" y="345"/>
                    </a:lnTo>
                    <a:lnTo>
                      <a:pt x="56" y="343"/>
                    </a:lnTo>
                    <a:lnTo>
                      <a:pt x="54" y="340"/>
                    </a:lnTo>
                    <a:lnTo>
                      <a:pt x="52" y="334"/>
                    </a:lnTo>
                    <a:lnTo>
                      <a:pt x="54" y="328"/>
                    </a:lnTo>
                    <a:lnTo>
                      <a:pt x="54" y="322"/>
                    </a:lnTo>
                    <a:lnTo>
                      <a:pt x="56" y="317"/>
                    </a:lnTo>
                    <a:lnTo>
                      <a:pt x="58" y="313"/>
                    </a:lnTo>
                    <a:lnTo>
                      <a:pt x="62" y="313"/>
                    </a:lnTo>
                    <a:lnTo>
                      <a:pt x="63" y="311"/>
                    </a:lnTo>
                    <a:lnTo>
                      <a:pt x="65" y="307"/>
                    </a:lnTo>
                    <a:lnTo>
                      <a:pt x="63" y="301"/>
                    </a:lnTo>
                    <a:lnTo>
                      <a:pt x="63" y="297"/>
                    </a:lnTo>
                    <a:lnTo>
                      <a:pt x="63" y="292"/>
                    </a:lnTo>
                    <a:lnTo>
                      <a:pt x="67" y="284"/>
                    </a:lnTo>
                    <a:lnTo>
                      <a:pt x="69" y="272"/>
                    </a:lnTo>
                    <a:lnTo>
                      <a:pt x="69" y="267"/>
                    </a:lnTo>
                    <a:lnTo>
                      <a:pt x="69" y="261"/>
                    </a:lnTo>
                    <a:lnTo>
                      <a:pt x="67" y="257"/>
                    </a:lnTo>
                    <a:lnTo>
                      <a:pt x="71" y="251"/>
                    </a:lnTo>
                    <a:lnTo>
                      <a:pt x="71" y="246"/>
                    </a:lnTo>
                    <a:lnTo>
                      <a:pt x="71" y="240"/>
                    </a:lnTo>
                    <a:lnTo>
                      <a:pt x="71" y="234"/>
                    </a:lnTo>
                    <a:lnTo>
                      <a:pt x="71" y="226"/>
                    </a:lnTo>
                    <a:lnTo>
                      <a:pt x="73" y="219"/>
                    </a:lnTo>
                    <a:lnTo>
                      <a:pt x="75" y="215"/>
                    </a:lnTo>
                    <a:lnTo>
                      <a:pt x="75" y="209"/>
                    </a:lnTo>
                    <a:lnTo>
                      <a:pt x="75" y="201"/>
                    </a:lnTo>
                    <a:lnTo>
                      <a:pt x="75" y="194"/>
                    </a:lnTo>
                    <a:lnTo>
                      <a:pt x="77" y="184"/>
                    </a:lnTo>
                    <a:lnTo>
                      <a:pt x="79" y="178"/>
                    </a:lnTo>
                    <a:lnTo>
                      <a:pt x="85" y="173"/>
                    </a:lnTo>
                    <a:lnTo>
                      <a:pt x="87" y="167"/>
                    </a:lnTo>
                    <a:lnTo>
                      <a:pt x="90" y="161"/>
                    </a:lnTo>
                    <a:lnTo>
                      <a:pt x="90" y="155"/>
                    </a:lnTo>
                    <a:lnTo>
                      <a:pt x="90" y="152"/>
                    </a:lnTo>
                    <a:lnTo>
                      <a:pt x="90" y="146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0" y="132"/>
                    </a:lnTo>
                    <a:lnTo>
                      <a:pt x="90" y="125"/>
                    </a:lnTo>
                    <a:lnTo>
                      <a:pt x="90" y="117"/>
                    </a:lnTo>
                    <a:lnTo>
                      <a:pt x="94" y="113"/>
                    </a:lnTo>
                    <a:lnTo>
                      <a:pt x="98" y="109"/>
                    </a:lnTo>
                    <a:lnTo>
                      <a:pt x="104" y="105"/>
                    </a:lnTo>
                    <a:lnTo>
                      <a:pt x="108" y="102"/>
                    </a:lnTo>
                    <a:lnTo>
                      <a:pt x="108" y="100"/>
                    </a:lnTo>
                    <a:lnTo>
                      <a:pt x="108" y="96"/>
                    </a:lnTo>
                    <a:lnTo>
                      <a:pt x="108" y="92"/>
                    </a:lnTo>
                    <a:lnTo>
                      <a:pt x="106" y="90"/>
                    </a:lnTo>
                    <a:lnTo>
                      <a:pt x="102" y="82"/>
                    </a:lnTo>
                    <a:lnTo>
                      <a:pt x="102" y="79"/>
                    </a:lnTo>
                    <a:lnTo>
                      <a:pt x="96" y="75"/>
                    </a:lnTo>
                    <a:lnTo>
                      <a:pt x="94" y="65"/>
                    </a:lnTo>
                    <a:lnTo>
                      <a:pt x="94" y="59"/>
                    </a:lnTo>
                    <a:lnTo>
                      <a:pt x="92" y="52"/>
                    </a:lnTo>
                    <a:lnTo>
                      <a:pt x="90" y="46"/>
                    </a:lnTo>
                    <a:lnTo>
                      <a:pt x="88" y="40"/>
                    </a:lnTo>
                    <a:lnTo>
                      <a:pt x="87" y="33"/>
                    </a:lnTo>
                    <a:lnTo>
                      <a:pt x="87" y="29"/>
                    </a:lnTo>
                    <a:lnTo>
                      <a:pt x="85" y="25"/>
                    </a:lnTo>
                    <a:lnTo>
                      <a:pt x="81" y="21"/>
                    </a:lnTo>
                    <a:lnTo>
                      <a:pt x="75" y="13"/>
                    </a:lnTo>
                    <a:lnTo>
                      <a:pt x="73" y="8"/>
                    </a:lnTo>
                    <a:lnTo>
                      <a:pt x="71" y="0"/>
                    </a:lnTo>
                    <a:lnTo>
                      <a:pt x="69" y="2"/>
                    </a:lnTo>
                    <a:lnTo>
                      <a:pt x="65" y="6"/>
                    </a:lnTo>
                    <a:close/>
                    <a:moveTo>
                      <a:pt x="87" y="662"/>
                    </a:moveTo>
                    <a:lnTo>
                      <a:pt x="87" y="666"/>
                    </a:lnTo>
                    <a:lnTo>
                      <a:pt x="88" y="668"/>
                    </a:lnTo>
                    <a:lnTo>
                      <a:pt x="90" y="670"/>
                    </a:lnTo>
                    <a:lnTo>
                      <a:pt x="92" y="668"/>
                    </a:lnTo>
                    <a:lnTo>
                      <a:pt x="90" y="664"/>
                    </a:lnTo>
                    <a:lnTo>
                      <a:pt x="87" y="662"/>
                    </a:lnTo>
                    <a:close/>
                    <a:moveTo>
                      <a:pt x="56" y="652"/>
                    </a:moveTo>
                    <a:lnTo>
                      <a:pt x="56" y="654"/>
                    </a:lnTo>
                    <a:lnTo>
                      <a:pt x="62" y="656"/>
                    </a:lnTo>
                    <a:lnTo>
                      <a:pt x="62" y="656"/>
                    </a:lnTo>
                    <a:lnTo>
                      <a:pt x="62" y="654"/>
                    </a:lnTo>
                    <a:lnTo>
                      <a:pt x="60" y="652"/>
                    </a:lnTo>
                    <a:lnTo>
                      <a:pt x="56" y="652"/>
                    </a:lnTo>
                    <a:close/>
                    <a:moveTo>
                      <a:pt x="2" y="572"/>
                    </a:moveTo>
                    <a:lnTo>
                      <a:pt x="4" y="576"/>
                    </a:lnTo>
                    <a:lnTo>
                      <a:pt x="6" y="576"/>
                    </a:lnTo>
                    <a:lnTo>
                      <a:pt x="6" y="576"/>
                    </a:lnTo>
                    <a:lnTo>
                      <a:pt x="4" y="574"/>
                    </a:lnTo>
                    <a:lnTo>
                      <a:pt x="2" y="572"/>
                    </a:lnTo>
                    <a:close/>
                    <a:moveTo>
                      <a:pt x="6" y="562"/>
                    </a:moveTo>
                    <a:lnTo>
                      <a:pt x="6" y="570"/>
                    </a:lnTo>
                    <a:lnTo>
                      <a:pt x="10" y="570"/>
                    </a:lnTo>
                    <a:lnTo>
                      <a:pt x="12" y="566"/>
                    </a:lnTo>
                    <a:lnTo>
                      <a:pt x="10" y="564"/>
                    </a:lnTo>
                    <a:lnTo>
                      <a:pt x="6" y="562"/>
                    </a:lnTo>
                    <a:close/>
                    <a:moveTo>
                      <a:pt x="52" y="610"/>
                    </a:moveTo>
                    <a:lnTo>
                      <a:pt x="54" y="610"/>
                    </a:lnTo>
                    <a:lnTo>
                      <a:pt x="54" y="612"/>
                    </a:lnTo>
                    <a:lnTo>
                      <a:pt x="52" y="616"/>
                    </a:lnTo>
                    <a:lnTo>
                      <a:pt x="50" y="620"/>
                    </a:lnTo>
                    <a:lnTo>
                      <a:pt x="48" y="616"/>
                    </a:lnTo>
                    <a:lnTo>
                      <a:pt x="52" y="610"/>
                    </a:lnTo>
                    <a:close/>
                    <a:moveTo>
                      <a:pt x="40" y="610"/>
                    </a:moveTo>
                    <a:lnTo>
                      <a:pt x="42" y="616"/>
                    </a:lnTo>
                    <a:lnTo>
                      <a:pt x="39" y="616"/>
                    </a:lnTo>
                    <a:lnTo>
                      <a:pt x="37" y="614"/>
                    </a:lnTo>
                    <a:lnTo>
                      <a:pt x="37" y="612"/>
                    </a:lnTo>
                    <a:lnTo>
                      <a:pt x="40" y="610"/>
                    </a:lnTo>
                    <a:close/>
                    <a:moveTo>
                      <a:pt x="63" y="606"/>
                    </a:moveTo>
                    <a:lnTo>
                      <a:pt x="69" y="606"/>
                    </a:lnTo>
                    <a:lnTo>
                      <a:pt x="75" y="606"/>
                    </a:lnTo>
                    <a:lnTo>
                      <a:pt x="73" y="610"/>
                    </a:lnTo>
                    <a:lnTo>
                      <a:pt x="69" y="610"/>
                    </a:lnTo>
                    <a:lnTo>
                      <a:pt x="67" y="608"/>
                    </a:lnTo>
                    <a:lnTo>
                      <a:pt x="63" y="610"/>
                    </a:lnTo>
                    <a:lnTo>
                      <a:pt x="62" y="610"/>
                    </a:lnTo>
                    <a:lnTo>
                      <a:pt x="62" y="618"/>
                    </a:lnTo>
                    <a:lnTo>
                      <a:pt x="63" y="624"/>
                    </a:lnTo>
                    <a:lnTo>
                      <a:pt x="67" y="622"/>
                    </a:lnTo>
                    <a:lnTo>
                      <a:pt x="71" y="622"/>
                    </a:lnTo>
                    <a:lnTo>
                      <a:pt x="71" y="626"/>
                    </a:lnTo>
                    <a:lnTo>
                      <a:pt x="67" y="627"/>
                    </a:lnTo>
                    <a:lnTo>
                      <a:pt x="63" y="627"/>
                    </a:lnTo>
                    <a:lnTo>
                      <a:pt x="63" y="631"/>
                    </a:lnTo>
                    <a:lnTo>
                      <a:pt x="65" y="635"/>
                    </a:lnTo>
                    <a:lnTo>
                      <a:pt x="67" y="635"/>
                    </a:lnTo>
                    <a:lnTo>
                      <a:pt x="71" y="635"/>
                    </a:lnTo>
                    <a:lnTo>
                      <a:pt x="65" y="639"/>
                    </a:lnTo>
                    <a:lnTo>
                      <a:pt x="63" y="641"/>
                    </a:lnTo>
                    <a:lnTo>
                      <a:pt x="65" y="641"/>
                    </a:lnTo>
                    <a:lnTo>
                      <a:pt x="69" y="641"/>
                    </a:lnTo>
                    <a:lnTo>
                      <a:pt x="71" y="639"/>
                    </a:lnTo>
                    <a:lnTo>
                      <a:pt x="73" y="639"/>
                    </a:lnTo>
                    <a:lnTo>
                      <a:pt x="71" y="641"/>
                    </a:lnTo>
                    <a:lnTo>
                      <a:pt x="65" y="643"/>
                    </a:lnTo>
                    <a:lnTo>
                      <a:pt x="62" y="643"/>
                    </a:lnTo>
                    <a:lnTo>
                      <a:pt x="62" y="641"/>
                    </a:lnTo>
                    <a:lnTo>
                      <a:pt x="62" y="637"/>
                    </a:lnTo>
                    <a:lnTo>
                      <a:pt x="62" y="629"/>
                    </a:lnTo>
                    <a:lnTo>
                      <a:pt x="58" y="629"/>
                    </a:lnTo>
                    <a:lnTo>
                      <a:pt x="56" y="629"/>
                    </a:lnTo>
                    <a:lnTo>
                      <a:pt x="56" y="620"/>
                    </a:lnTo>
                    <a:lnTo>
                      <a:pt x="60" y="608"/>
                    </a:lnTo>
                    <a:lnTo>
                      <a:pt x="63" y="606"/>
                    </a:lnTo>
                    <a:close/>
                    <a:moveTo>
                      <a:pt x="23" y="466"/>
                    </a:moveTo>
                    <a:lnTo>
                      <a:pt x="19" y="468"/>
                    </a:lnTo>
                    <a:lnTo>
                      <a:pt x="15" y="472"/>
                    </a:lnTo>
                    <a:lnTo>
                      <a:pt x="15" y="474"/>
                    </a:lnTo>
                    <a:lnTo>
                      <a:pt x="15" y="476"/>
                    </a:lnTo>
                    <a:lnTo>
                      <a:pt x="17" y="478"/>
                    </a:lnTo>
                    <a:lnTo>
                      <a:pt x="21" y="478"/>
                    </a:lnTo>
                    <a:lnTo>
                      <a:pt x="17" y="484"/>
                    </a:lnTo>
                    <a:lnTo>
                      <a:pt x="17" y="485"/>
                    </a:lnTo>
                    <a:lnTo>
                      <a:pt x="19" y="484"/>
                    </a:lnTo>
                    <a:lnTo>
                      <a:pt x="23" y="480"/>
                    </a:lnTo>
                    <a:lnTo>
                      <a:pt x="25" y="478"/>
                    </a:lnTo>
                    <a:lnTo>
                      <a:pt x="25" y="478"/>
                    </a:lnTo>
                    <a:lnTo>
                      <a:pt x="25" y="476"/>
                    </a:lnTo>
                    <a:lnTo>
                      <a:pt x="21" y="478"/>
                    </a:lnTo>
                    <a:lnTo>
                      <a:pt x="21" y="478"/>
                    </a:lnTo>
                    <a:lnTo>
                      <a:pt x="21" y="476"/>
                    </a:lnTo>
                    <a:lnTo>
                      <a:pt x="21" y="474"/>
                    </a:lnTo>
                    <a:lnTo>
                      <a:pt x="25" y="474"/>
                    </a:lnTo>
                    <a:lnTo>
                      <a:pt x="25" y="472"/>
                    </a:lnTo>
                    <a:lnTo>
                      <a:pt x="27" y="470"/>
                    </a:lnTo>
                    <a:lnTo>
                      <a:pt x="25" y="468"/>
                    </a:lnTo>
                    <a:lnTo>
                      <a:pt x="23" y="466"/>
                    </a:lnTo>
                    <a:close/>
                    <a:moveTo>
                      <a:pt x="19" y="453"/>
                    </a:moveTo>
                    <a:lnTo>
                      <a:pt x="21" y="457"/>
                    </a:lnTo>
                    <a:lnTo>
                      <a:pt x="21" y="455"/>
                    </a:lnTo>
                    <a:lnTo>
                      <a:pt x="19" y="453"/>
                    </a:lnTo>
                    <a:close/>
                    <a:moveTo>
                      <a:pt x="23" y="411"/>
                    </a:moveTo>
                    <a:lnTo>
                      <a:pt x="21" y="426"/>
                    </a:lnTo>
                    <a:lnTo>
                      <a:pt x="21" y="437"/>
                    </a:lnTo>
                    <a:lnTo>
                      <a:pt x="23" y="439"/>
                    </a:lnTo>
                    <a:lnTo>
                      <a:pt x="27" y="439"/>
                    </a:lnTo>
                    <a:lnTo>
                      <a:pt x="29" y="436"/>
                    </a:lnTo>
                    <a:lnTo>
                      <a:pt x="33" y="432"/>
                    </a:lnTo>
                    <a:lnTo>
                      <a:pt x="31" y="428"/>
                    </a:lnTo>
                    <a:lnTo>
                      <a:pt x="29" y="424"/>
                    </a:lnTo>
                    <a:lnTo>
                      <a:pt x="31" y="418"/>
                    </a:lnTo>
                    <a:lnTo>
                      <a:pt x="33" y="411"/>
                    </a:lnTo>
                    <a:lnTo>
                      <a:pt x="27" y="412"/>
                    </a:lnTo>
                    <a:lnTo>
                      <a:pt x="23" y="41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5" name="Freeform 213"/>
              <p:cNvSpPr>
                <a:spLocks/>
              </p:cNvSpPr>
              <p:nvPr/>
            </p:nvSpPr>
            <p:spPr bwMode="gray">
              <a:xfrm>
                <a:off x="4600466" y="3867151"/>
                <a:ext cx="207939" cy="404813"/>
              </a:xfrm>
              <a:custGeom>
                <a:avLst/>
                <a:gdLst>
                  <a:gd name="T0" fmla="*/ 0 w 131"/>
                  <a:gd name="T1" fmla="*/ 146 h 255"/>
                  <a:gd name="T2" fmla="*/ 4 w 131"/>
                  <a:gd name="T3" fmla="*/ 150 h 255"/>
                  <a:gd name="T4" fmla="*/ 14 w 131"/>
                  <a:gd name="T5" fmla="*/ 155 h 255"/>
                  <a:gd name="T6" fmla="*/ 19 w 131"/>
                  <a:gd name="T7" fmla="*/ 155 h 255"/>
                  <a:gd name="T8" fmla="*/ 19 w 131"/>
                  <a:gd name="T9" fmla="*/ 159 h 255"/>
                  <a:gd name="T10" fmla="*/ 12 w 131"/>
                  <a:gd name="T11" fmla="*/ 159 h 255"/>
                  <a:gd name="T12" fmla="*/ 12 w 131"/>
                  <a:gd name="T13" fmla="*/ 163 h 255"/>
                  <a:gd name="T14" fmla="*/ 17 w 131"/>
                  <a:gd name="T15" fmla="*/ 173 h 255"/>
                  <a:gd name="T16" fmla="*/ 19 w 131"/>
                  <a:gd name="T17" fmla="*/ 180 h 255"/>
                  <a:gd name="T18" fmla="*/ 19 w 131"/>
                  <a:gd name="T19" fmla="*/ 186 h 255"/>
                  <a:gd name="T20" fmla="*/ 19 w 131"/>
                  <a:gd name="T21" fmla="*/ 188 h 255"/>
                  <a:gd name="T22" fmla="*/ 19 w 131"/>
                  <a:gd name="T23" fmla="*/ 198 h 255"/>
                  <a:gd name="T24" fmla="*/ 21 w 131"/>
                  <a:gd name="T25" fmla="*/ 205 h 255"/>
                  <a:gd name="T26" fmla="*/ 23 w 131"/>
                  <a:gd name="T27" fmla="*/ 215 h 255"/>
                  <a:gd name="T28" fmla="*/ 16 w 131"/>
                  <a:gd name="T29" fmla="*/ 215 h 255"/>
                  <a:gd name="T30" fmla="*/ 4 w 131"/>
                  <a:gd name="T31" fmla="*/ 221 h 255"/>
                  <a:gd name="T32" fmla="*/ 10 w 131"/>
                  <a:gd name="T33" fmla="*/ 228 h 255"/>
                  <a:gd name="T34" fmla="*/ 17 w 131"/>
                  <a:gd name="T35" fmla="*/ 242 h 255"/>
                  <a:gd name="T36" fmla="*/ 16 w 131"/>
                  <a:gd name="T37" fmla="*/ 255 h 255"/>
                  <a:gd name="T38" fmla="*/ 25 w 131"/>
                  <a:gd name="T39" fmla="*/ 255 h 255"/>
                  <a:gd name="T40" fmla="*/ 31 w 131"/>
                  <a:gd name="T41" fmla="*/ 249 h 255"/>
                  <a:gd name="T42" fmla="*/ 42 w 131"/>
                  <a:gd name="T43" fmla="*/ 249 h 255"/>
                  <a:gd name="T44" fmla="*/ 56 w 131"/>
                  <a:gd name="T45" fmla="*/ 245 h 255"/>
                  <a:gd name="T46" fmla="*/ 65 w 131"/>
                  <a:gd name="T47" fmla="*/ 238 h 255"/>
                  <a:gd name="T48" fmla="*/ 67 w 131"/>
                  <a:gd name="T49" fmla="*/ 232 h 255"/>
                  <a:gd name="T50" fmla="*/ 73 w 131"/>
                  <a:gd name="T51" fmla="*/ 224 h 255"/>
                  <a:gd name="T52" fmla="*/ 85 w 131"/>
                  <a:gd name="T53" fmla="*/ 221 h 255"/>
                  <a:gd name="T54" fmla="*/ 90 w 131"/>
                  <a:gd name="T55" fmla="*/ 217 h 255"/>
                  <a:gd name="T56" fmla="*/ 96 w 131"/>
                  <a:gd name="T57" fmla="*/ 211 h 255"/>
                  <a:gd name="T58" fmla="*/ 102 w 131"/>
                  <a:gd name="T59" fmla="*/ 207 h 255"/>
                  <a:gd name="T60" fmla="*/ 108 w 131"/>
                  <a:gd name="T61" fmla="*/ 199 h 255"/>
                  <a:gd name="T62" fmla="*/ 111 w 131"/>
                  <a:gd name="T63" fmla="*/ 198 h 255"/>
                  <a:gd name="T64" fmla="*/ 106 w 131"/>
                  <a:gd name="T65" fmla="*/ 192 h 255"/>
                  <a:gd name="T66" fmla="*/ 108 w 131"/>
                  <a:gd name="T67" fmla="*/ 184 h 255"/>
                  <a:gd name="T68" fmla="*/ 108 w 131"/>
                  <a:gd name="T69" fmla="*/ 182 h 255"/>
                  <a:gd name="T70" fmla="*/ 108 w 131"/>
                  <a:gd name="T71" fmla="*/ 176 h 255"/>
                  <a:gd name="T72" fmla="*/ 108 w 131"/>
                  <a:gd name="T73" fmla="*/ 169 h 255"/>
                  <a:gd name="T74" fmla="*/ 100 w 131"/>
                  <a:gd name="T75" fmla="*/ 169 h 255"/>
                  <a:gd name="T76" fmla="*/ 98 w 131"/>
                  <a:gd name="T77" fmla="*/ 165 h 255"/>
                  <a:gd name="T78" fmla="*/ 102 w 131"/>
                  <a:gd name="T79" fmla="*/ 161 h 255"/>
                  <a:gd name="T80" fmla="*/ 104 w 131"/>
                  <a:gd name="T81" fmla="*/ 155 h 255"/>
                  <a:gd name="T82" fmla="*/ 110 w 131"/>
                  <a:gd name="T83" fmla="*/ 148 h 255"/>
                  <a:gd name="T84" fmla="*/ 110 w 131"/>
                  <a:gd name="T85" fmla="*/ 140 h 255"/>
                  <a:gd name="T86" fmla="*/ 113 w 131"/>
                  <a:gd name="T87" fmla="*/ 134 h 255"/>
                  <a:gd name="T88" fmla="*/ 113 w 131"/>
                  <a:gd name="T89" fmla="*/ 127 h 255"/>
                  <a:gd name="T90" fmla="*/ 119 w 131"/>
                  <a:gd name="T91" fmla="*/ 121 h 255"/>
                  <a:gd name="T92" fmla="*/ 129 w 131"/>
                  <a:gd name="T93" fmla="*/ 123 h 255"/>
                  <a:gd name="T94" fmla="*/ 131 w 131"/>
                  <a:gd name="T95" fmla="*/ 63 h 255"/>
                  <a:gd name="T96" fmla="*/ 12 w 131"/>
                  <a:gd name="T97" fmla="*/ 8 h 255"/>
                  <a:gd name="T98" fmla="*/ 21 w 131"/>
                  <a:gd name="T99" fmla="*/ 46 h 255"/>
                  <a:gd name="T100" fmla="*/ 21 w 131"/>
                  <a:gd name="T101" fmla="*/ 59 h 255"/>
                  <a:gd name="T102" fmla="*/ 19 w 131"/>
                  <a:gd name="T103" fmla="*/ 94 h 255"/>
                  <a:gd name="T104" fmla="*/ 0 w 131"/>
                  <a:gd name="T105" fmla="*/ 134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" h="255">
                    <a:moveTo>
                      <a:pt x="0" y="146"/>
                    </a:moveTo>
                    <a:lnTo>
                      <a:pt x="0" y="146"/>
                    </a:lnTo>
                    <a:lnTo>
                      <a:pt x="2" y="146"/>
                    </a:lnTo>
                    <a:lnTo>
                      <a:pt x="4" y="150"/>
                    </a:lnTo>
                    <a:lnTo>
                      <a:pt x="8" y="153"/>
                    </a:lnTo>
                    <a:lnTo>
                      <a:pt x="14" y="155"/>
                    </a:lnTo>
                    <a:lnTo>
                      <a:pt x="19" y="153"/>
                    </a:lnTo>
                    <a:lnTo>
                      <a:pt x="19" y="155"/>
                    </a:lnTo>
                    <a:lnTo>
                      <a:pt x="21" y="157"/>
                    </a:lnTo>
                    <a:lnTo>
                      <a:pt x="19" y="159"/>
                    </a:lnTo>
                    <a:lnTo>
                      <a:pt x="16" y="159"/>
                    </a:lnTo>
                    <a:lnTo>
                      <a:pt x="12" y="159"/>
                    </a:lnTo>
                    <a:lnTo>
                      <a:pt x="8" y="159"/>
                    </a:lnTo>
                    <a:lnTo>
                      <a:pt x="12" y="163"/>
                    </a:lnTo>
                    <a:lnTo>
                      <a:pt x="16" y="169"/>
                    </a:lnTo>
                    <a:lnTo>
                      <a:pt x="17" y="173"/>
                    </a:lnTo>
                    <a:lnTo>
                      <a:pt x="17" y="176"/>
                    </a:lnTo>
                    <a:lnTo>
                      <a:pt x="19" y="180"/>
                    </a:lnTo>
                    <a:lnTo>
                      <a:pt x="19" y="182"/>
                    </a:lnTo>
                    <a:lnTo>
                      <a:pt x="19" y="186"/>
                    </a:lnTo>
                    <a:lnTo>
                      <a:pt x="19" y="188"/>
                    </a:lnTo>
                    <a:lnTo>
                      <a:pt x="19" y="188"/>
                    </a:lnTo>
                    <a:lnTo>
                      <a:pt x="17" y="192"/>
                    </a:lnTo>
                    <a:lnTo>
                      <a:pt x="19" y="198"/>
                    </a:lnTo>
                    <a:lnTo>
                      <a:pt x="21" y="201"/>
                    </a:lnTo>
                    <a:lnTo>
                      <a:pt x="21" y="205"/>
                    </a:lnTo>
                    <a:lnTo>
                      <a:pt x="21" y="211"/>
                    </a:lnTo>
                    <a:lnTo>
                      <a:pt x="23" y="215"/>
                    </a:lnTo>
                    <a:lnTo>
                      <a:pt x="23" y="215"/>
                    </a:lnTo>
                    <a:lnTo>
                      <a:pt x="16" y="215"/>
                    </a:lnTo>
                    <a:lnTo>
                      <a:pt x="8" y="217"/>
                    </a:lnTo>
                    <a:lnTo>
                      <a:pt x="4" y="221"/>
                    </a:lnTo>
                    <a:lnTo>
                      <a:pt x="6" y="224"/>
                    </a:lnTo>
                    <a:lnTo>
                      <a:pt x="10" y="228"/>
                    </a:lnTo>
                    <a:lnTo>
                      <a:pt x="16" y="234"/>
                    </a:lnTo>
                    <a:lnTo>
                      <a:pt x="17" y="242"/>
                    </a:lnTo>
                    <a:lnTo>
                      <a:pt x="17" y="247"/>
                    </a:lnTo>
                    <a:lnTo>
                      <a:pt x="16" y="255"/>
                    </a:lnTo>
                    <a:lnTo>
                      <a:pt x="19" y="253"/>
                    </a:lnTo>
                    <a:lnTo>
                      <a:pt x="25" y="255"/>
                    </a:lnTo>
                    <a:lnTo>
                      <a:pt x="29" y="247"/>
                    </a:lnTo>
                    <a:lnTo>
                      <a:pt x="31" y="249"/>
                    </a:lnTo>
                    <a:lnTo>
                      <a:pt x="35" y="251"/>
                    </a:lnTo>
                    <a:lnTo>
                      <a:pt x="42" y="249"/>
                    </a:lnTo>
                    <a:lnTo>
                      <a:pt x="50" y="247"/>
                    </a:lnTo>
                    <a:lnTo>
                      <a:pt x="56" y="245"/>
                    </a:lnTo>
                    <a:lnTo>
                      <a:pt x="60" y="242"/>
                    </a:lnTo>
                    <a:lnTo>
                      <a:pt x="65" y="238"/>
                    </a:lnTo>
                    <a:lnTo>
                      <a:pt x="69" y="236"/>
                    </a:lnTo>
                    <a:lnTo>
                      <a:pt x="67" y="232"/>
                    </a:lnTo>
                    <a:lnTo>
                      <a:pt x="65" y="228"/>
                    </a:lnTo>
                    <a:lnTo>
                      <a:pt x="73" y="224"/>
                    </a:lnTo>
                    <a:lnTo>
                      <a:pt x="81" y="222"/>
                    </a:lnTo>
                    <a:lnTo>
                      <a:pt x="85" y="221"/>
                    </a:lnTo>
                    <a:lnTo>
                      <a:pt x="88" y="219"/>
                    </a:lnTo>
                    <a:lnTo>
                      <a:pt x="90" y="217"/>
                    </a:lnTo>
                    <a:lnTo>
                      <a:pt x="92" y="213"/>
                    </a:lnTo>
                    <a:lnTo>
                      <a:pt x="96" y="211"/>
                    </a:lnTo>
                    <a:lnTo>
                      <a:pt x="100" y="209"/>
                    </a:lnTo>
                    <a:lnTo>
                      <a:pt x="102" y="207"/>
                    </a:lnTo>
                    <a:lnTo>
                      <a:pt x="104" y="203"/>
                    </a:lnTo>
                    <a:lnTo>
                      <a:pt x="108" y="199"/>
                    </a:lnTo>
                    <a:lnTo>
                      <a:pt x="110" y="199"/>
                    </a:lnTo>
                    <a:lnTo>
                      <a:pt x="111" y="198"/>
                    </a:lnTo>
                    <a:lnTo>
                      <a:pt x="110" y="194"/>
                    </a:lnTo>
                    <a:lnTo>
                      <a:pt x="106" y="192"/>
                    </a:lnTo>
                    <a:lnTo>
                      <a:pt x="108" y="188"/>
                    </a:lnTo>
                    <a:lnTo>
                      <a:pt x="108" y="184"/>
                    </a:lnTo>
                    <a:lnTo>
                      <a:pt x="108" y="182"/>
                    </a:lnTo>
                    <a:lnTo>
                      <a:pt x="108" y="182"/>
                    </a:lnTo>
                    <a:lnTo>
                      <a:pt x="106" y="180"/>
                    </a:lnTo>
                    <a:lnTo>
                      <a:pt x="108" y="176"/>
                    </a:lnTo>
                    <a:lnTo>
                      <a:pt x="110" y="173"/>
                    </a:lnTo>
                    <a:lnTo>
                      <a:pt x="108" y="169"/>
                    </a:lnTo>
                    <a:lnTo>
                      <a:pt x="104" y="169"/>
                    </a:lnTo>
                    <a:lnTo>
                      <a:pt x="100" y="169"/>
                    </a:lnTo>
                    <a:lnTo>
                      <a:pt x="98" y="169"/>
                    </a:lnTo>
                    <a:lnTo>
                      <a:pt x="98" y="165"/>
                    </a:lnTo>
                    <a:lnTo>
                      <a:pt x="100" y="163"/>
                    </a:lnTo>
                    <a:lnTo>
                      <a:pt x="102" y="161"/>
                    </a:lnTo>
                    <a:lnTo>
                      <a:pt x="104" y="157"/>
                    </a:lnTo>
                    <a:lnTo>
                      <a:pt x="104" y="155"/>
                    </a:lnTo>
                    <a:lnTo>
                      <a:pt x="106" y="153"/>
                    </a:lnTo>
                    <a:lnTo>
                      <a:pt x="110" y="148"/>
                    </a:lnTo>
                    <a:lnTo>
                      <a:pt x="110" y="144"/>
                    </a:lnTo>
                    <a:lnTo>
                      <a:pt x="110" y="140"/>
                    </a:lnTo>
                    <a:lnTo>
                      <a:pt x="111" y="138"/>
                    </a:lnTo>
                    <a:lnTo>
                      <a:pt x="113" y="134"/>
                    </a:lnTo>
                    <a:lnTo>
                      <a:pt x="113" y="130"/>
                    </a:lnTo>
                    <a:lnTo>
                      <a:pt x="113" y="127"/>
                    </a:lnTo>
                    <a:lnTo>
                      <a:pt x="117" y="123"/>
                    </a:lnTo>
                    <a:lnTo>
                      <a:pt x="119" y="121"/>
                    </a:lnTo>
                    <a:lnTo>
                      <a:pt x="123" y="123"/>
                    </a:lnTo>
                    <a:lnTo>
                      <a:pt x="129" y="123"/>
                    </a:lnTo>
                    <a:lnTo>
                      <a:pt x="131" y="123"/>
                    </a:lnTo>
                    <a:lnTo>
                      <a:pt x="131" y="63"/>
                    </a:lnTo>
                    <a:lnTo>
                      <a:pt x="23" y="0"/>
                    </a:lnTo>
                    <a:lnTo>
                      <a:pt x="12" y="8"/>
                    </a:lnTo>
                    <a:lnTo>
                      <a:pt x="19" y="40"/>
                    </a:lnTo>
                    <a:lnTo>
                      <a:pt x="21" y="46"/>
                    </a:lnTo>
                    <a:lnTo>
                      <a:pt x="23" y="54"/>
                    </a:lnTo>
                    <a:lnTo>
                      <a:pt x="21" y="59"/>
                    </a:lnTo>
                    <a:lnTo>
                      <a:pt x="19" y="65"/>
                    </a:lnTo>
                    <a:lnTo>
                      <a:pt x="19" y="94"/>
                    </a:lnTo>
                    <a:lnTo>
                      <a:pt x="19" y="117"/>
                    </a:lnTo>
                    <a:lnTo>
                      <a:pt x="0" y="134"/>
                    </a:lnTo>
                    <a:lnTo>
                      <a:pt x="0" y="14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6" name="Freeform 214"/>
              <p:cNvSpPr>
                <a:spLocks/>
              </p:cNvSpPr>
              <p:nvPr/>
            </p:nvSpPr>
            <p:spPr bwMode="gray">
              <a:xfrm>
                <a:off x="4603640" y="4183064"/>
                <a:ext cx="265083" cy="192088"/>
              </a:xfrm>
              <a:custGeom>
                <a:avLst/>
                <a:gdLst>
                  <a:gd name="T0" fmla="*/ 58 w 167"/>
                  <a:gd name="T1" fmla="*/ 98 h 121"/>
                  <a:gd name="T2" fmla="*/ 65 w 167"/>
                  <a:gd name="T3" fmla="*/ 93 h 121"/>
                  <a:gd name="T4" fmla="*/ 69 w 167"/>
                  <a:gd name="T5" fmla="*/ 85 h 121"/>
                  <a:gd name="T6" fmla="*/ 79 w 167"/>
                  <a:gd name="T7" fmla="*/ 87 h 121"/>
                  <a:gd name="T8" fmla="*/ 88 w 167"/>
                  <a:gd name="T9" fmla="*/ 93 h 121"/>
                  <a:gd name="T10" fmla="*/ 98 w 167"/>
                  <a:gd name="T11" fmla="*/ 94 h 121"/>
                  <a:gd name="T12" fmla="*/ 106 w 167"/>
                  <a:gd name="T13" fmla="*/ 96 h 121"/>
                  <a:gd name="T14" fmla="*/ 113 w 167"/>
                  <a:gd name="T15" fmla="*/ 98 h 121"/>
                  <a:gd name="T16" fmla="*/ 117 w 167"/>
                  <a:gd name="T17" fmla="*/ 91 h 121"/>
                  <a:gd name="T18" fmla="*/ 125 w 167"/>
                  <a:gd name="T19" fmla="*/ 93 h 121"/>
                  <a:gd name="T20" fmla="*/ 133 w 167"/>
                  <a:gd name="T21" fmla="*/ 93 h 121"/>
                  <a:gd name="T22" fmla="*/ 134 w 167"/>
                  <a:gd name="T23" fmla="*/ 87 h 121"/>
                  <a:gd name="T24" fmla="*/ 138 w 167"/>
                  <a:gd name="T25" fmla="*/ 89 h 121"/>
                  <a:gd name="T26" fmla="*/ 146 w 167"/>
                  <a:gd name="T27" fmla="*/ 83 h 121"/>
                  <a:gd name="T28" fmla="*/ 156 w 167"/>
                  <a:gd name="T29" fmla="*/ 83 h 121"/>
                  <a:gd name="T30" fmla="*/ 159 w 167"/>
                  <a:gd name="T31" fmla="*/ 85 h 121"/>
                  <a:gd name="T32" fmla="*/ 167 w 167"/>
                  <a:gd name="T33" fmla="*/ 85 h 121"/>
                  <a:gd name="T34" fmla="*/ 163 w 167"/>
                  <a:gd name="T35" fmla="*/ 79 h 121"/>
                  <a:gd name="T36" fmla="*/ 161 w 167"/>
                  <a:gd name="T37" fmla="*/ 71 h 121"/>
                  <a:gd name="T38" fmla="*/ 154 w 167"/>
                  <a:gd name="T39" fmla="*/ 64 h 121"/>
                  <a:gd name="T40" fmla="*/ 148 w 167"/>
                  <a:gd name="T41" fmla="*/ 56 h 121"/>
                  <a:gd name="T42" fmla="*/ 144 w 167"/>
                  <a:gd name="T43" fmla="*/ 54 h 121"/>
                  <a:gd name="T44" fmla="*/ 136 w 167"/>
                  <a:gd name="T45" fmla="*/ 48 h 121"/>
                  <a:gd name="T46" fmla="*/ 131 w 167"/>
                  <a:gd name="T47" fmla="*/ 46 h 121"/>
                  <a:gd name="T48" fmla="*/ 127 w 167"/>
                  <a:gd name="T49" fmla="*/ 41 h 121"/>
                  <a:gd name="T50" fmla="*/ 121 w 167"/>
                  <a:gd name="T51" fmla="*/ 29 h 121"/>
                  <a:gd name="T52" fmla="*/ 121 w 167"/>
                  <a:gd name="T53" fmla="*/ 25 h 121"/>
                  <a:gd name="T54" fmla="*/ 117 w 167"/>
                  <a:gd name="T55" fmla="*/ 22 h 121"/>
                  <a:gd name="T56" fmla="*/ 115 w 167"/>
                  <a:gd name="T57" fmla="*/ 16 h 121"/>
                  <a:gd name="T58" fmla="*/ 115 w 167"/>
                  <a:gd name="T59" fmla="*/ 8 h 121"/>
                  <a:gd name="T60" fmla="*/ 106 w 167"/>
                  <a:gd name="T61" fmla="*/ 0 h 121"/>
                  <a:gd name="T62" fmla="*/ 100 w 167"/>
                  <a:gd name="T63" fmla="*/ 8 h 121"/>
                  <a:gd name="T64" fmla="*/ 94 w 167"/>
                  <a:gd name="T65" fmla="*/ 12 h 121"/>
                  <a:gd name="T66" fmla="*/ 88 w 167"/>
                  <a:gd name="T67" fmla="*/ 18 h 121"/>
                  <a:gd name="T68" fmla="*/ 83 w 167"/>
                  <a:gd name="T69" fmla="*/ 22 h 121"/>
                  <a:gd name="T70" fmla="*/ 71 w 167"/>
                  <a:gd name="T71" fmla="*/ 25 h 121"/>
                  <a:gd name="T72" fmla="*/ 65 w 167"/>
                  <a:gd name="T73" fmla="*/ 33 h 121"/>
                  <a:gd name="T74" fmla="*/ 63 w 167"/>
                  <a:gd name="T75" fmla="*/ 39 h 121"/>
                  <a:gd name="T76" fmla="*/ 54 w 167"/>
                  <a:gd name="T77" fmla="*/ 46 h 121"/>
                  <a:gd name="T78" fmla="*/ 40 w 167"/>
                  <a:gd name="T79" fmla="*/ 50 h 121"/>
                  <a:gd name="T80" fmla="*/ 29 w 167"/>
                  <a:gd name="T81" fmla="*/ 50 h 121"/>
                  <a:gd name="T82" fmla="*/ 23 w 167"/>
                  <a:gd name="T83" fmla="*/ 56 h 121"/>
                  <a:gd name="T84" fmla="*/ 14 w 167"/>
                  <a:gd name="T85" fmla="*/ 56 h 121"/>
                  <a:gd name="T86" fmla="*/ 4 w 167"/>
                  <a:gd name="T87" fmla="*/ 71 h 121"/>
                  <a:gd name="T88" fmla="*/ 2 w 167"/>
                  <a:gd name="T89" fmla="*/ 77 h 121"/>
                  <a:gd name="T90" fmla="*/ 6 w 167"/>
                  <a:gd name="T91" fmla="*/ 83 h 121"/>
                  <a:gd name="T92" fmla="*/ 12 w 167"/>
                  <a:gd name="T93" fmla="*/ 94 h 121"/>
                  <a:gd name="T94" fmla="*/ 17 w 167"/>
                  <a:gd name="T95" fmla="*/ 104 h 121"/>
                  <a:gd name="T96" fmla="*/ 25 w 167"/>
                  <a:gd name="T97" fmla="*/ 112 h 121"/>
                  <a:gd name="T98" fmla="*/ 33 w 167"/>
                  <a:gd name="T99" fmla="*/ 121 h 121"/>
                  <a:gd name="T100" fmla="*/ 38 w 167"/>
                  <a:gd name="T101" fmla="*/ 119 h 121"/>
                  <a:gd name="T102" fmla="*/ 42 w 167"/>
                  <a:gd name="T103" fmla="*/ 114 h 121"/>
                  <a:gd name="T104" fmla="*/ 50 w 167"/>
                  <a:gd name="T105" fmla="*/ 114 h 121"/>
                  <a:gd name="T106" fmla="*/ 58 w 167"/>
                  <a:gd name="T107" fmla="*/ 112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21">
                    <a:moveTo>
                      <a:pt x="58" y="112"/>
                    </a:moveTo>
                    <a:lnTo>
                      <a:pt x="58" y="98"/>
                    </a:lnTo>
                    <a:lnTo>
                      <a:pt x="61" y="98"/>
                    </a:lnTo>
                    <a:lnTo>
                      <a:pt x="65" y="93"/>
                    </a:lnTo>
                    <a:lnTo>
                      <a:pt x="67" y="87"/>
                    </a:lnTo>
                    <a:lnTo>
                      <a:pt x="69" y="85"/>
                    </a:lnTo>
                    <a:lnTo>
                      <a:pt x="75" y="85"/>
                    </a:lnTo>
                    <a:lnTo>
                      <a:pt x="79" y="87"/>
                    </a:lnTo>
                    <a:lnTo>
                      <a:pt x="85" y="91"/>
                    </a:lnTo>
                    <a:lnTo>
                      <a:pt x="88" y="93"/>
                    </a:lnTo>
                    <a:lnTo>
                      <a:pt x="92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6"/>
                    </a:lnTo>
                    <a:lnTo>
                      <a:pt x="111" y="96"/>
                    </a:lnTo>
                    <a:lnTo>
                      <a:pt x="113" y="98"/>
                    </a:lnTo>
                    <a:lnTo>
                      <a:pt x="113" y="94"/>
                    </a:lnTo>
                    <a:lnTo>
                      <a:pt x="117" y="91"/>
                    </a:lnTo>
                    <a:lnTo>
                      <a:pt x="121" y="93"/>
                    </a:lnTo>
                    <a:lnTo>
                      <a:pt x="125" y="93"/>
                    </a:lnTo>
                    <a:lnTo>
                      <a:pt x="131" y="93"/>
                    </a:lnTo>
                    <a:lnTo>
                      <a:pt x="133" y="93"/>
                    </a:lnTo>
                    <a:lnTo>
                      <a:pt x="131" y="89"/>
                    </a:lnTo>
                    <a:lnTo>
                      <a:pt x="134" y="87"/>
                    </a:lnTo>
                    <a:lnTo>
                      <a:pt x="136" y="89"/>
                    </a:lnTo>
                    <a:lnTo>
                      <a:pt x="138" y="89"/>
                    </a:lnTo>
                    <a:lnTo>
                      <a:pt x="142" y="85"/>
                    </a:lnTo>
                    <a:lnTo>
                      <a:pt x="146" y="83"/>
                    </a:lnTo>
                    <a:lnTo>
                      <a:pt x="150" y="83"/>
                    </a:lnTo>
                    <a:lnTo>
                      <a:pt x="156" y="83"/>
                    </a:lnTo>
                    <a:lnTo>
                      <a:pt x="157" y="85"/>
                    </a:lnTo>
                    <a:lnTo>
                      <a:pt x="159" y="85"/>
                    </a:lnTo>
                    <a:lnTo>
                      <a:pt x="163" y="85"/>
                    </a:lnTo>
                    <a:lnTo>
                      <a:pt x="167" y="85"/>
                    </a:lnTo>
                    <a:lnTo>
                      <a:pt x="165" y="83"/>
                    </a:lnTo>
                    <a:lnTo>
                      <a:pt x="163" y="79"/>
                    </a:lnTo>
                    <a:lnTo>
                      <a:pt x="163" y="77"/>
                    </a:lnTo>
                    <a:lnTo>
                      <a:pt x="161" y="71"/>
                    </a:lnTo>
                    <a:lnTo>
                      <a:pt x="159" y="66"/>
                    </a:lnTo>
                    <a:lnTo>
                      <a:pt x="154" y="64"/>
                    </a:lnTo>
                    <a:lnTo>
                      <a:pt x="150" y="60"/>
                    </a:lnTo>
                    <a:lnTo>
                      <a:pt x="148" y="56"/>
                    </a:lnTo>
                    <a:lnTo>
                      <a:pt x="146" y="54"/>
                    </a:lnTo>
                    <a:lnTo>
                      <a:pt x="144" y="54"/>
                    </a:lnTo>
                    <a:lnTo>
                      <a:pt x="140" y="52"/>
                    </a:lnTo>
                    <a:lnTo>
                      <a:pt x="136" y="48"/>
                    </a:lnTo>
                    <a:lnTo>
                      <a:pt x="134" y="46"/>
                    </a:lnTo>
                    <a:lnTo>
                      <a:pt x="131" y="46"/>
                    </a:lnTo>
                    <a:lnTo>
                      <a:pt x="129" y="45"/>
                    </a:lnTo>
                    <a:lnTo>
                      <a:pt x="127" y="41"/>
                    </a:lnTo>
                    <a:lnTo>
                      <a:pt x="121" y="37"/>
                    </a:lnTo>
                    <a:lnTo>
                      <a:pt x="121" y="29"/>
                    </a:lnTo>
                    <a:lnTo>
                      <a:pt x="121" y="27"/>
                    </a:lnTo>
                    <a:lnTo>
                      <a:pt x="121" y="25"/>
                    </a:lnTo>
                    <a:lnTo>
                      <a:pt x="119" y="23"/>
                    </a:lnTo>
                    <a:lnTo>
                      <a:pt x="117" y="22"/>
                    </a:lnTo>
                    <a:lnTo>
                      <a:pt x="115" y="20"/>
                    </a:lnTo>
                    <a:lnTo>
                      <a:pt x="115" y="16"/>
                    </a:lnTo>
                    <a:lnTo>
                      <a:pt x="117" y="10"/>
                    </a:lnTo>
                    <a:lnTo>
                      <a:pt x="115" y="8"/>
                    </a:lnTo>
                    <a:lnTo>
                      <a:pt x="108" y="0"/>
                    </a:lnTo>
                    <a:lnTo>
                      <a:pt x="106" y="0"/>
                    </a:lnTo>
                    <a:lnTo>
                      <a:pt x="102" y="4"/>
                    </a:lnTo>
                    <a:lnTo>
                      <a:pt x="100" y="8"/>
                    </a:lnTo>
                    <a:lnTo>
                      <a:pt x="98" y="10"/>
                    </a:lnTo>
                    <a:lnTo>
                      <a:pt x="94" y="12"/>
                    </a:lnTo>
                    <a:lnTo>
                      <a:pt x="90" y="14"/>
                    </a:lnTo>
                    <a:lnTo>
                      <a:pt x="88" y="18"/>
                    </a:lnTo>
                    <a:lnTo>
                      <a:pt x="86" y="20"/>
                    </a:lnTo>
                    <a:lnTo>
                      <a:pt x="83" y="22"/>
                    </a:lnTo>
                    <a:lnTo>
                      <a:pt x="79" y="23"/>
                    </a:lnTo>
                    <a:lnTo>
                      <a:pt x="71" y="25"/>
                    </a:lnTo>
                    <a:lnTo>
                      <a:pt x="63" y="29"/>
                    </a:lnTo>
                    <a:lnTo>
                      <a:pt x="65" y="33"/>
                    </a:lnTo>
                    <a:lnTo>
                      <a:pt x="67" y="37"/>
                    </a:lnTo>
                    <a:lnTo>
                      <a:pt x="63" y="39"/>
                    </a:lnTo>
                    <a:lnTo>
                      <a:pt x="58" y="43"/>
                    </a:lnTo>
                    <a:lnTo>
                      <a:pt x="54" y="46"/>
                    </a:lnTo>
                    <a:lnTo>
                      <a:pt x="48" y="48"/>
                    </a:lnTo>
                    <a:lnTo>
                      <a:pt x="40" y="50"/>
                    </a:lnTo>
                    <a:lnTo>
                      <a:pt x="33" y="52"/>
                    </a:lnTo>
                    <a:lnTo>
                      <a:pt x="29" y="50"/>
                    </a:lnTo>
                    <a:lnTo>
                      <a:pt x="27" y="48"/>
                    </a:lnTo>
                    <a:lnTo>
                      <a:pt x="23" y="56"/>
                    </a:lnTo>
                    <a:lnTo>
                      <a:pt x="17" y="54"/>
                    </a:lnTo>
                    <a:lnTo>
                      <a:pt x="14" y="56"/>
                    </a:lnTo>
                    <a:lnTo>
                      <a:pt x="10" y="62"/>
                    </a:lnTo>
                    <a:lnTo>
                      <a:pt x="4" y="71"/>
                    </a:lnTo>
                    <a:lnTo>
                      <a:pt x="0" y="75"/>
                    </a:lnTo>
                    <a:lnTo>
                      <a:pt x="2" y="77"/>
                    </a:lnTo>
                    <a:lnTo>
                      <a:pt x="4" y="79"/>
                    </a:lnTo>
                    <a:lnTo>
                      <a:pt x="6" y="83"/>
                    </a:lnTo>
                    <a:lnTo>
                      <a:pt x="8" y="89"/>
                    </a:lnTo>
                    <a:lnTo>
                      <a:pt x="12" y="94"/>
                    </a:lnTo>
                    <a:lnTo>
                      <a:pt x="14" y="100"/>
                    </a:lnTo>
                    <a:lnTo>
                      <a:pt x="17" y="104"/>
                    </a:lnTo>
                    <a:lnTo>
                      <a:pt x="21" y="108"/>
                    </a:lnTo>
                    <a:lnTo>
                      <a:pt x="25" y="112"/>
                    </a:lnTo>
                    <a:lnTo>
                      <a:pt x="29" y="119"/>
                    </a:lnTo>
                    <a:lnTo>
                      <a:pt x="33" y="121"/>
                    </a:lnTo>
                    <a:lnTo>
                      <a:pt x="35" y="121"/>
                    </a:lnTo>
                    <a:lnTo>
                      <a:pt x="38" y="119"/>
                    </a:lnTo>
                    <a:lnTo>
                      <a:pt x="40" y="116"/>
                    </a:lnTo>
                    <a:lnTo>
                      <a:pt x="42" y="114"/>
                    </a:lnTo>
                    <a:lnTo>
                      <a:pt x="46" y="114"/>
                    </a:lnTo>
                    <a:lnTo>
                      <a:pt x="50" y="114"/>
                    </a:lnTo>
                    <a:lnTo>
                      <a:pt x="54" y="112"/>
                    </a:lnTo>
                    <a:lnTo>
                      <a:pt x="58" y="11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7" name="Freeform 215"/>
              <p:cNvSpPr>
                <a:spLocks noEditPoints="1"/>
              </p:cNvSpPr>
              <p:nvPr/>
            </p:nvSpPr>
            <p:spPr bwMode="gray">
              <a:xfrm>
                <a:off x="1524233" y="2371726"/>
                <a:ext cx="1779390" cy="1057275"/>
              </a:xfrm>
              <a:custGeom>
                <a:avLst/>
                <a:gdLst>
                  <a:gd name="T0" fmla="*/ 752 w 1121"/>
                  <a:gd name="T1" fmla="*/ 614 h 666"/>
                  <a:gd name="T2" fmla="*/ 1021 w 1121"/>
                  <a:gd name="T3" fmla="*/ 605 h 666"/>
                  <a:gd name="T4" fmla="*/ 988 w 1121"/>
                  <a:gd name="T5" fmla="*/ 597 h 666"/>
                  <a:gd name="T6" fmla="*/ 998 w 1121"/>
                  <a:gd name="T7" fmla="*/ 568 h 666"/>
                  <a:gd name="T8" fmla="*/ 658 w 1121"/>
                  <a:gd name="T9" fmla="*/ 524 h 666"/>
                  <a:gd name="T10" fmla="*/ 1044 w 1121"/>
                  <a:gd name="T11" fmla="*/ 534 h 666"/>
                  <a:gd name="T12" fmla="*/ 1084 w 1121"/>
                  <a:gd name="T13" fmla="*/ 562 h 666"/>
                  <a:gd name="T14" fmla="*/ 1115 w 1121"/>
                  <a:gd name="T15" fmla="*/ 564 h 666"/>
                  <a:gd name="T16" fmla="*/ 1096 w 1121"/>
                  <a:gd name="T17" fmla="*/ 530 h 666"/>
                  <a:gd name="T18" fmla="*/ 904 w 1121"/>
                  <a:gd name="T19" fmla="*/ 457 h 666"/>
                  <a:gd name="T20" fmla="*/ 952 w 1121"/>
                  <a:gd name="T21" fmla="*/ 296 h 666"/>
                  <a:gd name="T22" fmla="*/ 748 w 1121"/>
                  <a:gd name="T23" fmla="*/ 468 h 666"/>
                  <a:gd name="T24" fmla="*/ 113 w 1121"/>
                  <a:gd name="T25" fmla="*/ 449 h 666"/>
                  <a:gd name="T26" fmla="*/ 564 w 1121"/>
                  <a:gd name="T27" fmla="*/ 489 h 666"/>
                  <a:gd name="T28" fmla="*/ 524 w 1121"/>
                  <a:gd name="T29" fmla="*/ 451 h 666"/>
                  <a:gd name="T30" fmla="*/ 777 w 1121"/>
                  <a:gd name="T31" fmla="*/ 397 h 666"/>
                  <a:gd name="T32" fmla="*/ 476 w 1121"/>
                  <a:gd name="T33" fmla="*/ 355 h 666"/>
                  <a:gd name="T34" fmla="*/ 775 w 1121"/>
                  <a:gd name="T35" fmla="*/ 278 h 666"/>
                  <a:gd name="T36" fmla="*/ 733 w 1121"/>
                  <a:gd name="T37" fmla="*/ 263 h 666"/>
                  <a:gd name="T38" fmla="*/ 330 w 1121"/>
                  <a:gd name="T39" fmla="*/ 299 h 666"/>
                  <a:gd name="T40" fmla="*/ 504 w 1121"/>
                  <a:gd name="T41" fmla="*/ 230 h 666"/>
                  <a:gd name="T42" fmla="*/ 696 w 1121"/>
                  <a:gd name="T43" fmla="*/ 253 h 666"/>
                  <a:gd name="T44" fmla="*/ 700 w 1121"/>
                  <a:gd name="T45" fmla="*/ 215 h 666"/>
                  <a:gd name="T46" fmla="*/ 297 w 1121"/>
                  <a:gd name="T47" fmla="*/ 188 h 666"/>
                  <a:gd name="T48" fmla="*/ 238 w 1121"/>
                  <a:gd name="T49" fmla="*/ 221 h 666"/>
                  <a:gd name="T50" fmla="*/ 658 w 1121"/>
                  <a:gd name="T51" fmla="*/ 547 h 666"/>
                  <a:gd name="T52" fmla="*/ 775 w 1121"/>
                  <a:gd name="T53" fmla="*/ 618 h 666"/>
                  <a:gd name="T54" fmla="*/ 769 w 1121"/>
                  <a:gd name="T55" fmla="*/ 645 h 666"/>
                  <a:gd name="T56" fmla="*/ 902 w 1121"/>
                  <a:gd name="T57" fmla="*/ 572 h 666"/>
                  <a:gd name="T58" fmla="*/ 965 w 1121"/>
                  <a:gd name="T59" fmla="*/ 608 h 666"/>
                  <a:gd name="T60" fmla="*/ 986 w 1121"/>
                  <a:gd name="T61" fmla="*/ 624 h 666"/>
                  <a:gd name="T62" fmla="*/ 961 w 1121"/>
                  <a:gd name="T63" fmla="*/ 566 h 666"/>
                  <a:gd name="T64" fmla="*/ 890 w 1121"/>
                  <a:gd name="T65" fmla="*/ 570 h 666"/>
                  <a:gd name="T66" fmla="*/ 1007 w 1121"/>
                  <a:gd name="T67" fmla="*/ 516 h 666"/>
                  <a:gd name="T68" fmla="*/ 1021 w 1121"/>
                  <a:gd name="T69" fmla="*/ 463 h 666"/>
                  <a:gd name="T70" fmla="*/ 1013 w 1121"/>
                  <a:gd name="T71" fmla="*/ 415 h 666"/>
                  <a:gd name="T72" fmla="*/ 971 w 1121"/>
                  <a:gd name="T73" fmla="*/ 342 h 666"/>
                  <a:gd name="T74" fmla="*/ 904 w 1121"/>
                  <a:gd name="T75" fmla="*/ 340 h 666"/>
                  <a:gd name="T76" fmla="*/ 829 w 1121"/>
                  <a:gd name="T77" fmla="*/ 274 h 666"/>
                  <a:gd name="T78" fmla="*/ 790 w 1121"/>
                  <a:gd name="T79" fmla="*/ 336 h 666"/>
                  <a:gd name="T80" fmla="*/ 754 w 1121"/>
                  <a:gd name="T81" fmla="*/ 489 h 666"/>
                  <a:gd name="T82" fmla="*/ 656 w 1121"/>
                  <a:gd name="T83" fmla="*/ 388 h 666"/>
                  <a:gd name="T84" fmla="*/ 606 w 1121"/>
                  <a:gd name="T85" fmla="*/ 282 h 666"/>
                  <a:gd name="T86" fmla="*/ 671 w 1121"/>
                  <a:gd name="T87" fmla="*/ 232 h 666"/>
                  <a:gd name="T88" fmla="*/ 712 w 1121"/>
                  <a:gd name="T89" fmla="*/ 200 h 666"/>
                  <a:gd name="T90" fmla="*/ 746 w 1121"/>
                  <a:gd name="T91" fmla="*/ 134 h 666"/>
                  <a:gd name="T92" fmla="*/ 662 w 1121"/>
                  <a:gd name="T93" fmla="*/ 150 h 666"/>
                  <a:gd name="T94" fmla="*/ 620 w 1121"/>
                  <a:gd name="T95" fmla="*/ 90 h 666"/>
                  <a:gd name="T96" fmla="*/ 635 w 1121"/>
                  <a:gd name="T97" fmla="*/ 6 h 666"/>
                  <a:gd name="T98" fmla="*/ 566 w 1121"/>
                  <a:gd name="T99" fmla="*/ 85 h 666"/>
                  <a:gd name="T100" fmla="*/ 589 w 1121"/>
                  <a:gd name="T101" fmla="*/ 127 h 666"/>
                  <a:gd name="T102" fmla="*/ 539 w 1121"/>
                  <a:gd name="T103" fmla="*/ 156 h 666"/>
                  <a:gd name="T104" fmla="*/ 412 w 1121"/>
                  <a:gd name="T105" fmla="*/ 148 h 666"/>
                  <a:gd name="T106" fmla="*/ 393 w 1121"/>
                  <a:gd name="T107" fmla="*/ 157 h 666"/>
                  <a:gd name="T108" fmla="*/ 259 w 1121"/>
                  <a:gd name="T109" fmla="*/ 111 h 666"/>
                  <a:gd name="T110" fmla="*/ 142 w 1121"/>
                  <a:gd name="T111" fmla="*/ 115 h 666"/>
                  <a:gd name="T112" fmla="*/ 98 w 1121"/>
                  <a:gd name="T113" fmla="*/ 117 h 666"/>
                  <a:gd name="T114" fmla="*/ 30 w 1121"/>
                  <a:gd name="T115" fmla="*/ 106 h 666"/>
                  <a:gd name="T116" fmla="*/ 92 w 1121"/>
                  <a:gd name="T117" fmla="*/ 336 h 666"/>
                  <a:gd name="T118" fmla="*/ 146 w 1121"/>
                  <a:gd name="T119" fmla="*/ 443 h 666"/>
                  <a:gd name="T120" fmla="*/ 176 w 1121"/>
                  <a:gd name="T121" fmla="*/ 524 h 666"/>
                  <a:gd name="T122" fmla="*/ 228 w 1121"/>
                  <a:gd name="T123" fmla="*/ 520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21" h="666">
                    <a:moveTo>
                      <a:pt x="437" y="134"/>
                    </a:moveTo>
                    <a:lnTo>
                      <a:pt x="439" y="136"/>
                    </a:lnTo>
                    <a:lnTo>
                      <a:pt x="441" y="138"/>
                    </a:lnTo>
                    <a:lnTo>
                      <a:pt x="441" y="140"/>
                    </a:lnTo>
                    <a:lnTo>
                      <a:pt x="441" y="140"/>
                    </a:lnTo>
                    <a:lnTo>
                      <a:pt x="439" y="140"/>
                    </a:lnTo>
                    <a:lnTo>
                      <a:pt x="437" y="140"/>
                    </a:lnTo>
                    <a:lnTo>
                      <a:pt x="435" y="136"/>
                    </a:lnTo>
                    <a:lnTo>
                      <a:pt x="437" y="134"/>
                    </a:lnTo>
                    <a:close/>
                    <a:moveTo>
                      <a:pt x="585" y="37"/>
                    </a:moveTo>
                    <a:lnTo>
                      <a:pt x="587" y="37"/>
                    </a:lnTo>
                    <a:lnTo>
                      <a:pt x="587" y="38"/>
                    </a:lnTo>
                    <a:lnTo>
                      <a:pt x="587" y="38"/>
                    </a:lnTo>
                    <a:lnTo>
                      <a:pt x="587" y="40"/>
                    </a:lnTo>
                    <a:lnTo>
                      <a:pt x="585" y="38"/>
                    </a:lnTo>
                    <a:lnTo>
                      <a:pt x="583" y="38"/>
                    </a:lnTo>
                    <a:lnTo>
                      <a:pt x="581" y="37"/>
                    </a:lnTo>
                    <a:lnTo>
                      <a:pt x="585" y="37"/>
                    </a:lnTo>
                    <a:close/>
                    <a:moveTo>
                      <a:pt x="1094" y="560"/>
                    </a:moveTo>
                    <a:lnTo>
                      <a:pt x="1092" y="562"/>
                    </a:lnTo>
                    <a:lnTo>
                      <a:pt x="1092" y="566"/>
                    </a:lnTo>
                    <a:lnTo>
                      <a:pt x="1090" y="564"/>
                    </a:lnTo>
                    <a:lnTo>
                      <a:pt x="1094" y="560"/>
                    </a:lnTo>
                    <a:close/>
                    <a:moveTo>
                      <a:pt x="779" y="622"/>
                    </a:moveTo>
                    <a:lnTo>
                      <a:pt x="779" y="624"/>
                    </a:lnTo>
                    <a:lnTo>
                      <a:pt x="779" y="628"/>
                    </a:lnTo>
                    <a:lnTo>
                      <a:pt x="775" y="628"/>
                    </a:lnTo>
                    <a:lnTo>
                      <a:pt x="775" y="626"/>
                    </a:lnTo>
                    <a:lnTo>
                      <a:pt x="775" y="624"/>
                    </a:lnTo>
                    <a:lnTo>
                      <a:pt x="779" y="622"/>
                    </a:lnTo>
                    <a:close/>
                    <a:moveTo>
                      <a:pt x="750" y="610"/>
                    </a:moveTo>
                    <a:lnTo>
                      <a:pt x="752" y="614"/>
                    </a:lnTo>
                    <a:lnTo>
                      <a:pt x="752" y="610"/>
                    </a:lnTo>
                    <a:lnTo>
                      <a:pt x="750" y="610"/>
                    </a:lnTo>
                    <a:close/>
                    <a:moveTo>
                      <a:pt x="946" y="605"/>
                    </a:moveTo>
                    <a:lnTo>
                      <a:pt x="946" y="606"/>
                    </a:lnTo>
                    <a:lnTo>
                      <a:pt x="944" y="608"/>
                    </a:lnTo>
                    <a:lnTo>
                      <a:pt x="944" y="605"/>
                    </a:lnTo>
                    <a:lnTo>
                      <a:pt x="946" y="605"/>
                    </a:lnTo>
                    <a:close/>
                    <a:moveTo>
                      <a:pt x="842" y="605"/>
                    </a:moveTo>
                    <a:lnTo>
                      <a:pt x="844" y="606"/>
                    </a:lnTo>
                    <a:lnTo>
                      <a:pt x="846" y="608"/>
                    </a:lnTo>
                    <a:lnTo>
                      <a:pt x="846" y="610"/>
                    </a:lnTo>
                    <a:lnTo>
                      <a:pt x="842" y="610"/>
                    </a:lnTo>
                    <a:lnTo>
                      <a:pt x="840" y="606"/>
                    </a:lnTo>
                    <a:lnTo>
                      <a:pt x="842" y="605"/>
                    </a:lnTo>
                    <a:close/>
                    <a:moveTo>
                      <a:pt x="731" y="599"/>
                    </a:moveTo>
                    <a:lnTo>
                      <a:pt x="735" y="601"/>
                    </a:lnTo>
                    <a:lnTo>
                      <a:pt x="741" y="605"/>
                    </a:lnTo>
                    <a:lnTo>
                      <a:pt x="746" y="605"/>
                    </a:lnTo>
                    <a:lnTo>
                      <a:pt x="746" y="603"/>
                    </a:lnTo>
                    <a:lnTo>
                      <a:pt x="742" y="601"/>
                    </a:lnTo>
                    <a:lnTo>
                      <a:pt x="741" y="599"/>
                    </a:lnTo>
                    <a:lnTo>
                      <a:pt x="735" y="599"/>
                    </a:lnTo>
                    <a:lnTo>
                      <a:pt x="731" y="599"/>
                    </a:lnTo>
                    <a:close/>
                    <a:moveTo>
                      <a:pt x="1023" y="591"/>
                    </a:moveTo>
                    <a:lnTo>
                      <a:pt x="1025" y="593"/>
                    </a:lnTo>
                    <a:lnTo>
                      <a:pt x="1025" y="595"/>
                    </a:lnTo>
                    <a:lnTo>
                      <a:pt x="1025" y="595"/>
                    </a:lnTo>
                    <a:lnTo>
                      <a:pt x="1023" y="597"/>
                    </a:lnTo>
                    <a:lnTo>
                      <a:pt x="1025" y="597"/>
                    </a:lnTo>
                    <a:lnTo>
                      <a:pt x="1026" y="599"/>
                    </a:lnTo>
                    <a:lnTo>
                      <a:pt x="1023" y="599"/>
                    </a:lnTo>
                    <a:lnTo>
                      <a:pt x="1021" y="605"/>
                    </a:lnTo>
                    <a:lnTo>
                      <a:pt x="1017" y="605"/>
                    </a:lnTo>
                    <a:lnTo>
                      <a:pt x="1009" y="606"/>
                    </a:lnTo>
                    <a:lnTo>
                      <a:pt x="1007" y="606"/>
                    </a:lnTo>
                    <a:lnTo>
                      <a:pt x="1007" y="606"/>
                    </a:lnTo>
                    <a:lnTo>
                      <a:pt x="1007" y="605"/>
                    </a:lnTo>
                    <a:lnTo>
                      <a:pt x="1013" y="603"/>
                    </a:lnTo>
                    <a:lnTo>
                      <a:pt x="1015" y="599"/>
                    </a:lnTo>
                    <a:lnTo>
                      <a:pt x="1015" y="595"/>
                    </a:lnTo>
                    <a:lnTo>
                      <a:pt x="1019" y="593"/>
                    </a:lnTo>
                    <a:lnTo>
                      <a:pt x="1023" y="591"/>
                    </a:lnTo>
                    <a:close/>
                    <a:moveTo>
                      <a:pt x="769" y="585"/>
                    </a:moveTo>
                    <a:lnTo>
                      <a:pt x="771" y="585"/>
                    </a:lnTo>
                    <a:lnTo>
                      <a:pt x="771" y="587"/>
                    </a:lnTo>
                    <a:lnTo>
                      <a:pt x="771" y="589"/>
                    </a:lnTo>
                    <a:lnTo>
                      <a:pt x="771" y="591"/>
                    </a:lnTo>
                    <a:lnTo>
                      <a:pt x="767" y="591"/>
                    </a:lnTo>
                    <a:lnTo>
                      <a:pt x="764" y="589"/>
                    </a:lnTo>
                    <a:lnTo>
                      <a:pt x="762" y="589"/>
                    </a:lnTo>
                    <a:lnTo>
                      <a:pt x="765" y="587"/>
                    </a:lnTo>
                    <a:lnTo>
                      <a:pt x="767" y="585"/>
                    </a:lnTo>
                    <a:lnTo>
                      <a:pt x="769" y="585"/>
                    </a:lnTo>
                    <a:close/>
                    <a:moveTo>
                      <a:pt x="969" y="578"/>
                    </a:moveTo>
                    <a:lnTo>
                      <a:pt x="969" y="582"/>
                    </a:lnTo>
                    <a:lnTo>
                      <a:pt x="967" y="582"/>
                    </a:lnTo>
                    <a:lnTo>
                      <a:pt x="967" y="583"/>
                    </a:lnTo>
                    <a:lnTo>
                      <a:pt x="965" y="585"/>
                    </a:lnTo>
                    <a:lnTo>
                      <a:pt x="971" y="591"/>
                    </a:lnTo>
                    <a:lnTo>
                      <a:pt x="979" y="591"/>
                    </a:lnTo>
                    <a:lnTo>
                      <a:pt x="986" y="591"/>
                    </a:lnTo>
                    <a:lnTo>
                      <a:pt x="986" y="593"/>
                    </a:lnTo>
                    <a:lnTo>
                      <a:pt x="986" y="597"/>
                    </a:lnTo>
                    <a:lnTo>
                      <a:pt x="988" y="597"/>
                    </a:lnTo>
                    <a:lnTo>
                      <a:pt x="992" y="597"/>
                    </a:lnTo>
                    <a:lnTo>
                      <a:pt x="990" y="593"/>
                    </a:lnTo>
                    <a:lnTo>
                      <a:pt x="990" y="589"/>
                    </a:lnTo>
                    <a:lnTo>
                      <a:pt x="979" y="589"/>
                    </a:lnTo>
                    <a:lnTo>
                      <a:pt x="973" y="587"/>
                    </a:lnTo>
                    <a:lnTo>
                      <a:pt x="971" y="585"/>
                    </a:lnTo>
                    <a:lnTo>
                      <a:pt x="969" y="578"/>
                    </a:lnTo>
                    <a:close/>
                    <a:moveTo>
                      <a:pt x="1023" y="576"/>
                    </a:moveTo>
                    <a:lnTo>
                      <a:pt x="1019" y="580"/>
                    </a:lnTo>
                    <a:lnTo>
                      <a:pt x="1013" y="580"/>
                    </a:lnTo>
                    <a:lnTo>
                      <a:pt x="1011" y="578"/>
                    </a:lnTo>
                    <a:lnTo>
                      <a:pt x="1005" y="589"/>
                    </a:lnTo>
                    <a:lnTo>
                      <a:pt x="1002" y="605"/>
                    </a:lnTo>
                    <a:lnTo>
                      <a:pt x="1009" y="606"/>
                    </a:lnTo>
                    <a:lnTo>
                      <a:pt x="1007" y="603"/>
                    </a:lnTo>
                    <a:lnTo>
                      <a:pt x="1007" y="597"/>
                    </a:lnTo>
                    <a:lnTo>
                      <a:pt x="1009" y="595"/>
                    </a:lnTo>
                    <a:lnTo>
                      <a:pt x="1013" y="593"/>
                    </a:lnTo>
                    <a:lnTo>
                      <a:pt x="1011" y="589"/>
                    </a:lnTo>
                    <a:lnTo>
                      <a:pt x="1013" y="583"/>
                    </a:lnTo>
                    <a:lnTo>
                      <a:pt x="1021" y="580"/>
                    </a:lnTo>
                    <a:lnTo>
                      <a:pt x="1023" y="576"/>
                    </a:lnTo>
                    <a:close/>
                    <a:moveTo>
                      <a:pt x="1074" y="574"/>
                    </a:moveTo>
                    <a:lnTo>
                      <a:pt x="1074" y="578"/>
                    </a:lnTo>
                    <a:lnTo>
                      <a:pt x="1076" y="582"/>
                    </a:lnTo>
                    <a:lnTo>
                      <a:pt x="1078" y="582"/>
                    </a:lnTo>
                    <a:lnTo>
                      <a:pt x="1078" y="580"/>
                    </a:lnTo>
                    <a:lnTo>
                      <a:pt x="1076" y="576"/>
                    </a:lnTo>
                    <a:lnTo>
                      <a:pt x="1074" y="574"/>
                    </a:lnTo>
                    <a:close/>
                    <a:moveTo>
                      <a:pt x="1000" y="562"/>
                    </a:moveTo>
                    <a:lnTo>
                      <a:pt x="996" y="566"/>
                    </a:lnTo>
                    <a:lnTo>
                      <a:pt x="998" y="568"/>
                    </a:lnTo>
                    <a:lnTo>
                      <a:pt x="1000" y="564"/>
                    </a:lnTo>
                    <a:lnTo>
                      <a:pt x="1000" y="562"/>
                    </a:lnTo>
                    <a:close/>
                    <a:moveTo>
                      <a:pt x="963" y="522"/>
                    </a:moveTo>
                    <a:lnTo>
                      <a:pt x="963" y="526"/>
                    </a:lnTo>
                    <a:lnTo>
                      <a:pt x="975" y="534"/>
                    </a:lnTo>
                    <a:lnTo>
                      <a:pt x="990" y="539"/>
                    </a:lnTo>
                    <a:lnTo>
                      <a:pt x="992" y="539"/>
                    </a:lnTo>
                    <a:lnTo>
                      <a:pt x="994" y="541"/>
                    </a:lnTo>
                    <a:lnTo>
                      <a:pt x="996" y="539"/>
                    </a:lnTo>
                    <a:lnTo>
                      <a:pt x="994" y="537"/>
                    </a:lnTo>
                    <a:lnTo>
                      <a:pt x="986" y="532"/>
                    </a:lnTo>
                    <a:lnTo>
                      <a:pt x="980" y="528"/>
                    </a:lnTo>
                    <a:lnTo>
                      <a:pt x="973" y="526"/>
                    </a:lnTo>
                    <a:lnTo>
                      <a:pt x="963" y="522"/>
                    </a:lnTo>
                    <a:close/>
                    <a:moveTo>
                      <a:pt x="220" y="522"/>
                    </a:moveTo>
                    <a:lnTo>
                      <a:pt x="220" y="524"/>
                    </a:lnTo>
                    <a:lnTo>
                      <a:pt x="222" y="528"/>
                    </a:lnTo>
                    <a:lnTo>
                      <a:pt x="224" y="530"/>
                    </a:lnTo>
                    <a:lnTo>
                      <a:pt x="224" y="528"/>
                    </a:lnTo>
                    <a:lnTo>
                      <a:pt x="222" y="524"/>
                    </a:lnTo>
                    <a:lnTo>
                      <a:pt x="220" y="522"/>
                    </a:lnTo>
                    <a:close/>
                    <a:moveTo>
                      <a:pt x="664" y="512"/>
                    </a:moveTo>
                    <a:lnTo>
                      <a:pt x="668" y="516"/>
                    </a:lnTo>
                    <a:lnTo>
                      <a:pt x="671" y="522"/>
                    </a:lnTo>
                    <a:lnTo>
                      <a:pt x="673" y="524"/>
                    </a:lnTo>
                    <a:lnTo>
                      <a:pt x="673" y="526"/>
                    </a:lnTo>
                    <a:lnTo>
                      <a:pt x="671" y="528"/>
                    </a:lnTo>
                    <a:lnTo>
                      <a:pt x="670" y="528"/>
                    </a:lnTo>
                    <a:lnTo>
                      <a:pt x="664" y="526"/>
                    </a:lnTo>
                    <a:lnTo>
                      <a:pt x="664" y="524"/>
                    </a:lnTo>
                    <a:lnTo>
                      <a:pt x="660" y="524"/>
                    </a:lnTo>
                    <a:lnTo>
                      <a:pt x="658" y="524"/>
                    </a:lnTo>
                    <a:lnTo>
                      <a:pt x="658" y="520"/>
                    </a:lnTo>
                    <a:lnTo>
                      <a:pt x="660" y="514"/>
                    </a:lnTo>
                    <a:lnTo>
                      <a:pt x="664" y="512"/>
                    </a:lnTo>
                    <a:close/>
                    <a:moveTo>
                      <a:pt x="188" y="507"/>
                    </a:moveTo>
                    <a:lnTo>
                      <a:pt x="196" y="507"/>
                    </a:lnTo>
                    <a:lnTo>
                      <a:pt x="194" y="512"/>
                    </a:lnTo>
                    <a:lnTo>
                      <a:pt x="190" y="512"/>
                    </a:lnTo>
                    <a:lnTo>
                      <a:pt x="182" y="512"/>
                    </a:lnTo>
                    <a:lnTo>
                      <a:pt x="180" y="511"/>
                    </a:lnTo>
                    <a:lnTo>
                      <a:pt x="180" y="509"/>
                    </a:lnTo>
                    <a:lnTo>
                      <a:pt x="184" y="507"/>
                    </a:lnTo>
                    <a:lnTo>
                      <a:pt x="188" y="507"/>
                    </a:lnTo>
                    <a:close/>
                    <a:moveTo>
                      <a:pt x="863" y="495"/>
                    </a:moveTo>
                    <a:lnTo>
                      <a:pt x="865" y="495"/>
                    </a:lnTo>
                    <a:lnTo>
                      <a:pt x="865" y="497"/>
                    </a:lnTo>
                    <a:lnTo>
                      <a:pt x="860" y="505"/>
                    </a:lnTo>
                    <a:lnTo>
                      <a:pt x="854" y="511"/>
                    </a:lnTo>
                    <a:lnTo>
                      <a:pt x="850" y="511"/>
                    </a:lnTo>
                    <a:lnTo>
                      <a:pt x="848" y="511"/>
                    </a:lnTo>
                    <a:lnTo>
                      <a:pt x="850" y="509"/>
                    </a:lnTo>
                    <a:lnTo>
                      <a:pt x="852" y="505"/>
                    </a:lnTo>
                    <a:lnTo>
                      <a:pt x="858" y="499"/>
                    </a:lnTo>
                    <a:lnTo>
                      <a:pt x="863" y="495"/>
                    </a:lnTo>
                    <a:close/>
                    <a:moveTo>
                      <a:pt x="1067" y="488"/>
                    </a:moveTo>
                    <a:lnTo>
                      <a:pt x="1061" y="493"/>
                    </a:lnTo>
                    <a:lnTo>
                      <a:pt x="1059" y="499"/>
                    </a:lnTo>
                    <a:lnTo>
                      <a:pt x="1055" y="499"/>
                    </a:lnTo>
                    <a:lnTo>
                      <a:pt x="1053" y="499"/>
                    </a:lnTo>
                    <a:lnTo>
                      <a:pt x="1053" y="503"/>
                    </a:lnTo>
                    <a:lnTo>
                      <a:pt x="1053" y="509"/>
                    </a:lnTo>
                    <a:lnTo>
                      <a:pt x="1048" y="522"/>
                    </a:lnTo>
                    <a:lnTo>
                      <a:pt x="1044" y="534"/>
                    </a:lnTo>
                    <a:lnTo>
                      <a:pt x="1046" y="534"/>
                    </a:lnTo>
                    <a:lnTo>
                      <a:pt x="1050" y="534"/>
                    </a:lnTo>
                    <a:lnTo>
                      <a:pt x="1050" y="537"/>
                    </a:lnTo>
                    <a:lnTo>
                      <a:pt x="1048" y="537"/>
                    </a:lnTo>
                    <a:lnTo>
                      <a:pt x="1048" y="541"/>
                    </a:lnTo>
                    <a:lnTo>
                      <a:pt x="1044" y="539"/>
                    </a:lnTo>
                    <a:lnTo>
                      <a:pt x="1040" y="537"/>
                    </a:lnTo>
                    <a:lnTo>
                      <a:pt x="1040" y="539"/>
                    </a:lnTo>
                    <a:lnTo>
                      <a:pt x="1038" y="543"/>
                    </a:lnTo>
                    <a:lnTo>
                      <a:pt x="1036" y="543"/>
                    </a:lnTo>
                    <a:lnTo>
                      <a:pt x="1036" y="543"/>
                    </a:lnTo>
                    <a:lnTo>
                      <a:pt x="1036" y="543"/>
                    </a:lnTo>
                    <a:lnTo>
                      <a:pt x="1034" y="545"/>
                    </a:lnTo>
                    <a:lnTo>
                      <a:pt x="1038" y="549"/>
                    </a:lnTo>
                    <a:lnTo>
                      <a:pt x="1034" y="553"/>
                    </a:lnTo>
                    <a:lnTo>
                      <a:pt x="1030" y="559"/>
                    </a:lnTo>
                    <a:lnTo>
                      <a:pt x="1028" y="560"/>
                    </a:lnTo>
                    <a:lnTo>
                      <a:pt x="1028" y="562"/>
                    </a:lnTo>
                    <a:lnTo>
                      <a:pt x="1028" y="564"/>
                    </a:lnTo>
                    <a:lnTo>
                      <a:pt x="1032" y="566"/>
                    </a:lnTo>
                    <a:lnTo>
                      <a:pt x="1034" y="564"/>
                    </a:lnTo>
                    <a:lnTo>
                      <a:pt x="1038" y="562"/>
                    </a:lnTo>
                    <a:lnTo>
                      <a:pt x="1050" y="562"/>
                    </a:lnTo>
                    <a:lnTo>
                      <a:pt x="1059" y="564"/>
                    </a:lnTo>
                    <a:lnTo>
                      <a:pt x="1063" y="562"/>
                    </a:lnTo>
                    <a:lnTo>
                      <a:pt x="1067" y="560"/>
                    </a:lnTo>
                    <a:lnTo>
                      <a:pt x="1067" y="562"/>
                    </a:lnTo>
                    <a:lnTo>
                      <a:pt x="1069" y="564"/>
                    </a:lnTo>
                    <a:lnTo>
                      <a:pt x="1080" y="560"/>
                    </a:lnTo>
                    <a:lnTo>
                      <a:pt x="1084" y="560"/>
                    </a:lnTo>
                    <a:lnTo>
                      <a:pt x="1084" y="560"/>
                    </a:lnTo>
                    <a:lnTo>
                      <a:pt x="1084" y="562"/>
                    </a:lnTo>
                    <a:lnTo>
                      <a:pt x="1084" y="566"/>
                    </a:lnTo>
                    <a:lnTo>
                      <a:pt x="1084" y="566"/>
                    </a:lnTo>
                    <a:lnTo>
                      <a:pt x="1086" y="568"/>
                    </a:lnTo>
                    <a:lnTo>
                      <a:pt x="1088" y="570"/>
                    </a:lnTo>
                    <a:lnTo>
                      <a:pt x="1086" y="572"/>
                    </a:lnTo>
                    <a:lnTo>
                      <a:pt x="1084" y="572"/>
                    </a:lnTo>
                    <a:lnTo>
                      <a:pt x="1082" y="574"/>
                    </a:lnTo>
                    <a:lnTo>
                      <a:pt x="1084" y="576"/>
                    </a:lnTo>
                    <a:lnTo>
                      <a:pt x="1088" y="576"/>
                    </a:lnTo>
                    <a:lnTo>
                      <a:pt x="1094" y="568"/>
                    </a:lnTo>
                    <a:lnTo>
                      <a:pt x="1099" y="560"/>
                    </a:lnTo>
                    <a:lnTo>
                      <a:pt x="1101" y="562"/>
                    </a:lnTo>
                    <a:lnTo>
                      <a:pt x="1105" y="564"/>
                    </a:lnTo>
                    <a:lnTo>
                      <a:pt x="1103" y="568"/>
                    </a:lnTo>
                    <a:lnTo>
                      <a:pt x="1103" y="570"/>
                    </a:lnTo>
                    <a:lnTo>
                      <a:pt x="1103" y="574"/>
                    </a:lnTo>
                    <a:lnTo>
                      <a:pt x="1105" y="578"/>
                    </a:lnTo>
                    <a:lnTo>
                      <a:pt x="1105" y="576"/>
                    </a:lnTo>
                    <a:lnTo>
                      <a:pt x="1107" y="572"/>
                    </a:lnTo>
                    <a:lnTo>
                      <a:pt x="1111" y="572"/>
                    </a:lnTo>
                    <a:lnTo>
                      <a:pt x="1111" y="574"/>
                    </a:lnTo>
                    <a:lnTo>
                      <a:pt x="1111" y="578"/>
                    </a:lnTo>
                    <a:lnTo>
                      <a:pt x="1117" y="580"/>
                    </a:lnTo>
                    <a:lnTo>
                      <a:pt x="1117" y="576"/>
                    </a:lnTo>
                    <a:lnTo>
                      <a:pt x="1119" y="572"/>
                    </a:lnTo>
                    <a:lnTo>
                      <a:pt x="1121" y="564"/>
                    </a:lnTo>
                    <a:lnTo>
                      <a:pt x="1121" y="562"/>
                    </a:lnTo>
                    <a:lnTo>
                      <a:pt x="1119" y="562"/>
                    </a:lnTo>
                    <a:lnTo>
                      <a:pt x="1119" y="564"/>
                    </a:lnTo>
                    <a:lnTo>
                      <a:pt x="1119" y="568"/>
                    </a:lnTo>
                    <a:lnTo>
                      <a:pt x="1115" y="566"/>
                    </a:lnTo>
                    <a:lnTo>
                      <a:pt x="1115" y="564"/>
                    </a:lnTo>
                    <a:lnTo>
                      <a:pt x="1117" y="562"/>
                    </a:lnTo>
                    <a:lnTo>
                      <a:pt x="1119" y="560"/>
                    </a:lnTo>
                    <a:lnTo>
                      <a:pt x="1121" y="559"/>
                    </a:lnTo>
                    <a:lnTo>
                      <a:pt x="1121" y="557"/>
                    </a:lnTo>
                    <a:lnTo>
                      <a:pt x="1121" y="557"/>
                    </a:lnTo>
                    <a:lnTo>
                      <a:pt x="1119" y="555"/>
                    </a:lnTo>
                    <a:lnTo>
                      <a:pt x="1115" y="557"/>
                    </a:lnTo>
                    <a:lnTo>
                      <a:pt x="1113" y="560"/>
                    </a:lnTo>
                    <a:lnTo>
                      <a:pt x="1113" y="562"/>
                    </a:lnTo>
                    <a:lnTo>
                      <a:pt x="1113" y="566"/>
                    </a:lnTo>
                    <a:lnTo>
                      <a:pt x="1107" y="564"/>
                    </a:lnTo>
                    <a:lnTo>
                      <a:pt x="1105" y="564"/>
                    </a:lnTo>
                    <a:lnTo>
                      <a:pt x="1107" y="562"/>
                    </a:lnTo>
                    <a:lnTo>
                      <a:pt x="1111" y="560"/>
                    </a:lnTo>
                    <a:lnTo>
                      <a:pt x="1109" y="557"/>
                    </a:lnTo>
                    <a:lnTo>
                      <a:pt x="1107" y="555"/>
                    </a:lnTo>
                    <a:lnTo>
                      <a:pt x="1109" y="551"/>
                    </a:lnTo>
                    <a:lnTo>
                      <a:pt x="1113" y="547"/>
                    </a:lnTo>
                    <a:lnTo>
                      <a:pt x="1109" y="547"/>
                    </a:lnTo>
                    <a:lnTo>
                      <a:pt x="1105" y="549"/>
                    </a:lnTo>
                    <a:lnTo>
                      <a:pt x="1101" y="551"/>
                    </a:lnTo>
                    <a:lnTo>
                      <a:pt x="1099" y="551"/>
                    </a:lnTo>
                    <a:lnTo>
                      <a:pt x="1101" y="545"/>
                    </a:lnTo>
                    <a:lnTo>
                      <a:pt x="1099" y="545"/>
                    </a:lnTo>
                    <a:lnTo>
                      <a:pt x="1097" y="547"/>
                    </a:lnTo>
                    <a:lnTo>
                      <a:pt x="1096" y="543"/>
                    </a:lnTo>
                    <a:lnTo>
                      <a:pt x="1094" y="541"/>
                    </a:lnTo>
                    <a:lnTo>
                      <a:pt x="1097" y="541"/>
                    </a:lnTo>
                    <a:lnTo>
                      <a:pt x="1097" y="537"/>
                    </a:lnTo>
                    <a:lnTo>
                      <a:pt x="1097" y="534"/>
                    </a:lnTo>
                    <a:lnTo>
                      <a:pt x="1097" y="532"/>
                    </a:lnTo>
                    <a:lnTo>
                      <a:pt x="1096" y="530"/>
                    </a:lnTo>
                    <a:lnTo>
                      <a:pt x="1094" y="530"/>
                    </a:lnTo>
                    <a:lnTo>
                      <a:pt x="1094" y="534"/>
                    </a:lnTo>
                    <a:lnTo>
                      <a:pt x="1088" y="532"/>
                    </a:lnTo>
                    <a:lnTo>
                      <a:pt x="1086" y="530"/>
                    </a:lnTo>
                    <a:lnTo>
                      <a:pt x="1082" y="532"/>
                    </a:lnTo>
                    <a:lnTo>
                      <a:pt x="1080" y="535"/>
                    </a:lnTo>
                    <a:lnTo>
                      <a:pt x="1073" y="534"/>
                    </a:lnTo>
                    <a:lnTo>
                      <a:pt x="1067" y="532"/>
                    </a:lnTo>
                    <a:lnTo>
                      <a:pt x="1071" y="528"/>
                    </a:lnTo>
                    <a:lnTo>
                      <a:pt x="1073" y="526"/>
                    </a:lnTo>
                    <a:lnTo>
                      <a:pt x="1073" y="524"/>
                    </a:lnTo>
                    <a:lnTo>
                      <a:pt x="1067" y="522"/>
                    </a:lnTo>
                    <a:lnTo>
                      <a:pt x="1067" y="518"/>
                    </a:lnTo>
                    <a:lnTo>
                      <a:pt x="1063" y="522"/>
                    </a:lnTo>
                    <a:lnTo>
                      <a:pt x="1059" y="528"/>
                    </a:lnTo>
                    <a:lnTo>
                      <a:pt x="1059" y="520"/>
                    </a:lnTo>
                    <a:lnTo>
                      <a:pt x="1061" y="512"/>
                    </a:lnTo>
                    <a:lnTo>
                      <a:pt x="1063" y="511"/>
                    </a:lnTo>
                    <a:lnTo>
                      <a:pt x="1067" y="509"/>
                    </a:lnTo>
                    <a:lnTo>
                      <a:pt x="1065" y="503"/>
                    </a:lnTo>
                    <a:lnTo>
                      <a:pt x="1065" y="501"/>
                    </a:lnTo>
                    <a:lnTo>
                      <a:pt x="1069" y="499"/>
                    </a:lnTo>
                    <a:lnTo>
                      <a:pt x="1073" y="499"/>
                    </a:lnTo>
                    <a:lnTo>
                      <a:pt x="1069" y="493"/>
                    </a:lnTo>
                    <a:lnTo>
                      <a:pt x="1073" y="493"/>
                    </a:lnTo>
                    <a:lnTo>
                      <a:pt x="1073" y="491"/>
                    </a:lnTo>
                    <a:lnTo>
                      <a:pt x="1074" y="489"/>
                    </a:lnTo>
                    <a:lnTo>
                      <a:pt x="1074" y="489"/>
                    </a:lnTo>
                    <a:lnTo>
                      <a:pt x="1071" y="489"/>
                    </a:lnTo>
                    <a:lnTo>
                      <a:pt x="1069" y="488"/>
                    </a:lnTo>
                    <a:lnTo>
                      <a:pt x="1067" y="488"/>
                    </a:lnTo>
                    <a:close/>
                    <a:moveTo>
                      <a:pt x="904" y="457"/>
                    </a:moveTo>
                    <a:lnTo>
                      <a:pt x="906" y="457"/>
                    </a:lnTo>
                    <a:lnTo>
                      <a:pt x="906" y="461"/>
                    </a:lnTo>
                    <a:lnTo>
                      <a:pt x="904" y="464"/>
                    </a:lnTo>
                    <a:lnTo>
                      <a:pt x="900" y="468"/>
                    </a:lnTo>
                    <a:lnTo>
                      <a:pt x="898" y="468"/>
                    </a:lnTo>
                    <a:lnTo>
                      <a:pt x="898" y="466"/>
                    </a:lnTo>
                    <a:lnTo>
                      <a:pt x="898" y="463"/>
                    </a:lnTo>
                    <a:lnTo>
                      <a:pt x="904" y="457"/>
                    </a:lnTo>
                    <a:close/>
                    <a:moveTo>
                      <a:pt x="967" y="451"/>
                    </a:moveTo>
                    <a:lnTo>
                      <a:pt x="971" y="457"/>
                    </a:lnTo>
                    <a:lnTo>
                      <a:pt x="971" y="459"/>
                    </a:lnTo>
                    <a:lnTo>
                      <a:pt x="971" y="461"/>
                    </a:lnTo>
                    <a:lnTo>
                      <a:pt x="969" y="461"/>
                    </a:lnTo>
                    <a:lnTo>
                      <a:pt x="965" y="455"/>
                    </a:lnTo>
                    <a:lnTo>
                      <a:pt x="967" y="451"/>
                    </a:lnTo>
                    <a:close/>
                    <a:moveTo>
                      <a:pt x="915" y="436"/>
                    </a:moveTo>
                    <a:lnTo>
                      <a:pt x="917" y="438"/>
                    </a:lnTo>
                    <a:lnTo>
                      <a:pt x="915" y="443"/>
                    </a:lnTo>
                    <a:lnTo>
                      <a:pt x="911" y="443"/>
                    </a:lnTo>
                    <a:lnTo>
                      <a:pt x="909" y="443"/>
                    </a:lnTo>
                    <a:lnTo>
                      <a:pt x="909" y="441"/>
                    </a:lnTo>
                    <a:lnTo>
                      <a:pt x="909" y="441"/>
                    </a:lnTo>
                    <a:lnTo>
                      <a:pt x="911" y="438"/>
                    </a:lnTo>
                    <a:lnTo>
                      <a:pt x="915" y="436"/>
                    </a:lnTo>
                    <a:close/>
                    <a:moveTo>
                      <a:pt x="913" y="307"/>
                    </a:moveTo>
                    <a:lnTo>
                      <a:pt x="915" y="311"/>
                    </a:lnTo>
                    <a:lnTo>
                      <a:pt x="917" y="311"/>
                    </a:lnTo>
                    <a:lnTo>
                      <a:pt x="917" y="309"/>
                    </a:lnTo>
                    <a:lnTo>
                      <a:pt x="915" y="307"/>
                    </a:lnTo>
                    <a:lnTo>
                      <a:pt x="913" y="307"/>
                    </a:lnTo>
                    <a:close/>
                    <a:moveTo>
                      <a:pt x="952" y="292"/>
                    </a:moveTo>
                    <a:lnTo>
                      <a:pt x="952" y="296"/>
                    </a:lnTo>
                    <a:lnTo>
                      <a:pt x="955" y="296"/>
                    </a:lnTo>
                    <a:lnTo>
                      <a:pt x="957" y="294"/>
                    </a:lnTo>
                    <a:lnTo>
                      <a:pt x="955" y="292"/>
                    </a:lnTo>
                    <a:lnTo>
                      <a:pt x="952" y="292"/>
                    </a:lnTo>
                    <a:close/>
                    <a:moveTo>
                      <a:pt x="777" y="132"/>
                    </a:moveTo>
                    <a:lnTo>
                      <a:pt x="777" y="138"/>
                    </a:lnTo>
                    <a:lnTo>
                      <a:pt x="781" y="136"/>
                    </a:lnTo>
                    <a:lnTo>
                      <a:pt x="783" y="136"/>
                    </a:lnTo>
                    <a:lnTo>
                      <a:pt x="781" y="134"/>
                    </a:lnTo>
                    <a:lnTo>
                      <a:pt x="777" y="132"/>
                    </a:lnTo>
                    <a:close/>
                    <a:moveTo>
                      <a:pt x="169" y="486"/>
                    </a:moveTo>
                    <a:lnTo>
                      <a:pt x="169" y="488"/>
                    </a:lnTo>
                    <a:lnTo>
                      <a:pt x="171" y="489"/>
                    </a:lnTo>
                    <a:lnTo>
                      <a:pt x="171" y="488"/>
                    </a:lnTo>
                    <a:lnTo>
                      <a:pt x="171" y="488"/>
                    </a:lnTo>
                    <a:lnTo>
                      <a:pt x="171" y="486"/>
                    </a:lnTo>
                    <a:lnTo>
                      <a:pt x="169" y="486"/>
                    </a:lnTo>
                    <a:close/>
                    <a:moveTo>
                      <a:pt x="526" y="482"/>
                    </a:moveTo>
                    <a:lnTo>
                      <a:pt x="535" y="495"/>
                    </a:lnTo>
                    <a:lnTo>
                      <a:pt x="543" y="511"/>
                    </a:lnTo>
                    <a:lnTo>
                      <a:pt x="539" y="512"/>
                    </a:lnTo>
                    <a:lnTo>
                      <a:pt x="537" y="514"/>
                    </a:lnTo>
                    <a:lnTo>
                      <a:pt x="535" y="507"/>
                    </a:lnTo>
                    <a:lnTo>
                      <a:pt x="533" y="499"/>
                    </a:lnTo>
                    <a:lnTo>
                      <a:pt x="529" y="495"/>
                    </a:lnTo>
                    <a:lnTo>
                      <a:pt x="526" y="493"/>
                    </a:lnTo>
                    <a:lnTo>
                      <a:pt x="524" y="488"/>
                    </a:lnTo>
                    <a:lnTo>
                      <a:pt x="524" y="484"/>
                    </a:lnTo>
                    <a:lnTo>
                      <a:pt x="524" y="482"/>
                    </a:lnTo>
                    <a:lnTo>
                      <a:pt x="526" y="482"/>
                    </a:lnTo>
                    <a:close/>
                    <a:moveTo>
                      <a:pt x="748" y="463"/>
                    </a:moveTo>
                    <a:lnTo>
                      <a:pt x="748" y="468"/>
                    </a:lnTo>
                    <a:lnTo>
                      <a:pt x="752" y="468"/>
                    </a:lnTo>
                    <a:lnTo>
                      <a:pt x="760" y="470"/>
                    </a:lnTo>
                    <a:lnTo>
                      <a:pt x="758" y="468"/>
                    </a:lnTo>
                    <a:lnTo>
                      <a:pt x="756" y="466"/>
                    </a:lnTo>
                    <a:lnTo>
                      <a:pt x="754" y="464"/>
                    </a:lnTo>
                    <a:lnTo>
                      <a:pt x="754" y="463"/>
                    </a:lnTo>
                    <a:lnTo>
                      <a:pt x="750" y="463"/>
                    </a:lnTo>
                    <a:lnTo>
                      <a:pt x="748" y="463"/>
                    </a:lnTo>
                    <a:close/>
                    <a:moveTo>
                      <a:pt x="516" y="453"/>
                    </a:moveTo>
                    <a:lnTo>
                      <a:pt x="516" y="459"/>
                    </a:lnTo>
                    <a:lnTo>
                      <a:pt x="522" y="463"/>
                    </a:lnTo>
                    <a:lnTo>
                      <a:pt x="522" y="466"/>
                    </a:lnTo>
                    <a:lnTo>
                      <a:pt x="520" y="468"/>
                    </a:lnTo>
                    <a:lnTo>
                      <a:pt x="520" y="476"/>
                    </a:lnTo>
                    <a:lnTo>
                      <a:pt x="520" y="484"/>
                    </a:lnTo>
                    <a:lnTo>
                      <a:pt x="516" y="482"/>
                    </a:lnTo>
                    <a:lnTo>
                      <a:pt x="514" y="482"/>
                    </a:lnTo>
                    <a:lnTo>
                      <a:pt x="514" y="474"/>
                    </a:lnTo>
                    <a:lnTo>
                      <a:pt x="514" y="464"/>
                    </a:lnTo>
                    <a:lnTo>
                      <a:pt x="506" y="459"/>
                    </a:lnTo>
                    <a:lnTo>
                      <a:pt x="510" y="459"/>
                    </a:lnTo>
                    <a:lnTo>
                      <a:pt x="514" y="459"/>
                    </a:lnTo>
                    <a:lnTo>
                      <a:pt x="514" y="457"/>
                    </a:lnTo>
                    <a:lnTo>
                      <a:pt x="516" y="453"/>
                    </a:lnTo>
                    <a:close/>
                    <a:moveTo>
                      <a:pt x="146" y="451"/>
                    </a:moveTo>
                    <a:lnTo>
                      <a:pt x="144" y="451"/>
                    </a:lnTo>
                    <a:lnTo>
                      <a:pt x="144" y="453"/>
                    </a:lnTo>
                    <a:lnTo>
                      <a:pt x="144" y="455"/>
                    </a:lnTo>
                    <a:lnTo>
                      <a:pt x="148" y="455"/>
                    </a:lnTo>
                    <a:lnTo>
                      <a:pt x="148" y="451"/>
                    </a:lnTo>
                    <a:lnTo>
                      <a:pt x="146" y="451"/>
                    </a:lnTo>
                    <a:close/>
                    <a:moveTo>
                      <a:pt x="113" y="449"/>
                    </a:moveTo>
                    <a:lnTo>
                      <a:pt x="113" y="459"/>
                    </a:lnTo>
                    <a:lnTo>
                      <a:pt x="117" y="468"/>
                    </a:lnTo>
                    <a:lnTo>
                      <a:pt x="121" y="466"/>
                    </a:lnTo>
                    <a:lnTo>
                      <a:pt x="126" y="464"/>
                    </a:lnTo>
                    <a:lnTo>
                      <a:pt x="123" y="468"/>
                    </a:lnTo>
                    <a:lnTo>
                      <a:pt x="121" y="470"/>
                    </a:lnTo>
                    <a:lnTo>
                      <a:pt x="121" y="474"/>
                    </a:lnTo>
                    <a:lnTo>
                      <a:pt x="124" y="478"/>
                    </a:lnTo>
                    <a:lnTo>
                      <a:pt x="126" y="482"/>
                    </a:lnTo>
                    <a:lnTo>
                      <a:pt x="132" y="484"/>
                    </a:lnTo>
                    <a:lnTo>
                      <a:pt x="134" y="486"/>
                    </a:lnTo>
                    <a:lnTo>
                      <a:pt x="132" y="474"/>
                    </a:lnTo>
                    <a:lnTo>
                      <a:pt x="130" y="466"/>
                    </a:lnTo>
                    <a:lnTo>
                      <a:pt x="126" y="464"/>
                    </a:lnTo>
                    <a:lnTo>
                      <a:pt x="126" y="457"/>
                    </a:lnTo>
                    <a:lnTo>
                      <a:pt x="128" y="449"/>
                    </a:lnTo>
                    <a:lnTo>
                      <a:pt x="123" y="451"/>
                    </a:lnTo>
                    <a:lnTo>
                      <a:pt x="117" y="453"/>
                    </a:lnTo>
                    <a:lnTo>
                      <a:pt x="115" y="451"/>
                    </a:lnTo>
                    <a:lnTo>
                      <a:pt x="113" y="449"/>
                    </a:lnTo>
                    <a:close/>
                    <a:moveTo>
                      <a:pt x="539" y="434"/>
                    </a:moveTo>
                    <a:lnTo>
                      <a:pt x="539" y="438"/>
                    </a:lnTo>
                    <a:lnTo>
                      <a:pt x="543" y="438"/>
                    </a:lnTo>
                    <a:lnTo>
                      <a:pt x="541" y="441"/>
                    </a:lnTo>
                    <a:lnTo>
                      <a:pt x="541" y="449"/>
                    </a:lnTo>
                    <a:lnTo>
                      <a:pt x="547" y="459"/>
                    </a:lnTo>
                    <a:lnTo>
                      <a:pt x="552" y="468"/>
                    </a:lnTo>
                    <a:lnTo>
                      <a:pt x="552" y="472"/>
                    </a:lnTo>
                    <a:lnTo>
                      <a:pt x="552" y="476"/>
                    </a:lnTo>
                    <a:lnTo>
                      <a:pt x="556" y="484"/>
                    </a:lnTo>
                    <a:lnTo>
                      <a:pt x="562" y="489"/>
                    </a:lnTo>
                    <a:lnTo>
                      <a:pt x="564" y="489"/>
                    </a:lnTo>
                    <a:lnTo>
                      <a:pt x="568" y="489"/>
                    </a:lnTo>
                    <a:lnTo>
                      <a:pt x="566" y="491"/>
                    </a:lnTo>
                    <a:lnTo>
                      <a:pt x="564" y="493"/>
                    </a:lnTo>
                    <a:lnTo>
                      <a:pt x="564" y="501"/>
                    </a:lnTo>
                    <a:lnTo>
                      <a:pt x="566" y="507"/>
                    </a:lnTo>
                    <a:lnTo>
                      <a:pt x="564" y="505"/>
                    </a:lnTo>
                    <a:lnTo>
                      <a:pt x="562" y="505"/>
                    </a:lnTo>
                    <a:lnTo>
                      <a:pt x="560" y="507"/>
                    </a:lnTo>
                    <a:lnTo>
                      <a:pt x="560" y="509"/>
                    </a:lnTo>
                    <a:lnTo>
                      <a:pt x="558" y="509"/>
                    </a:lnTo>
                    <a:lnTo>
                      <a:pt x="556" y="509"/>
                    </a:lnTo>
                    <a:lnTo>
                      <a:pt x="554" y="499"/>
                    </a:lnTo>
                    <a:lnTo>
                      <a:pt x="556" y="489"/>
                    </a:lnTo>
                    <a:lnTo>
                      <a:pt x="552" y="486"/>
                    </a:lnTo>
                    <a:lnTo>
                      <a:pt x="552" y="484"/>
                    </a:lnTo>
                    <a:lnTo>
                      <a:pt x="549" y="484"/>
                    </a:lnTo>
                    <a:lnTo>
                      <a:pt x="545" y="484"/>
                    </a:lnTo>
                    <a:lnTo>
                      <a:pt x="545" y="478"/>
                    </a:lnTo>
                    <a:lnTo>
                      <a:pt x="547" y="474"/>
                    </a:lnTo>
                    <a:lnTo>
                      <a:pt x="543" y="472"/>
                    </a:lnTo>
                    <a:lnTo>
                      <a:pt x="543" y="472"/>
                    </a:lnTo>
                    <a:lnTo>
                      <a:pt x="543" y="474"/>
                    </a:lnTo>
                    <a:lnTo>
                      <a:pt x="541" y="476"/>
                    </a:lnTo>
                    <a:lnTo>
                      <a:pt x="541" y="472"/>
                    </a:lnTo>
                    <a:lnTo>
                      <a:pt x="535" y="468"/>
                    </a:lnTo>
                    <a:lnTo>
                      <a:pt x="529" y="464"/>
                    </a:lnTo>
                    <a:lnTo>
                      <a:pt x="529" y="461"/>
                    </a:lnTo>
                    <a:lnTo>
                      <a:pt x="531" y="457"/>
                    </a:lnTo>
                    <a:lnTo>
                      <a:pt x="528" y="457"/>
                    </a:lnTo>
                    <a:lnTo>
                      <a:pt x="526" y="457"/>
                    </a:lnTo>
                    <a:lnTo>
                      <a:pt x="524" y="455"/>
                    </a:lnTo>
                    <a:lnTo>
                      <a:pt x="524" y="451"/>
                    </a:lnTo>
                    <a:lnTo>
                      <a:pt x="526" y="445"/>
                    </a:lnTo>
                    <a:lnTo>
                      <a:pt x="531" y="440"/>
                    </a:lnTo>
                    <a:lnTo>
                      <a:pt x="533" y="441"/>
                    </a:lnTo>
                    <a:lnTo>
                      <a:pt x="537" y="441"/>
                    </a:lnTo>
                    <a:lnTo>
                      <a:pt x="537" y="438"/>
                    </a:lnTo>
                    <a:lnTo>
                      <a:pt x="539" y="434"/>
                    </a:lnTo>
                    <a:close/>
                    <a:moveTo>
                      <a:pt x="854" y="403"/>
                    </a:moveTo>
                    <a:lnTo>
                      <a:pt x="852" y="405"/>
                    </a:lnTo>
                    <a:lnTo>
                      <a:pt x="852" y="409"/>
                    </a:lnTo>
                    <a:lnTo>
                      <a:pt x="850" y="407"/>
                    </a:lnTo>
                    <a:lnTo>
                      <a:pt x="854" y="403"/>
                    </a:lnTo>
                    <a:close/>
                    <a:moveTo>
                      <a:pt x="771" y="395"/>
                    </a:moveTo>
                    <a:lnTo>
                      <a:pt x="769" y="397"/>
                    </a:lnTo>
                    <a:lnTo>
                      <a:pt x="771" y="399"/>
                    </a:lnTo>
                    <a:lnTo>
                      <a:pt x="771" y="395"/>
                    </a:lnTo>
                    <a:lnTo>
                      <a:pt x="771" y="395"/>
                    </a:lnTo>
                    <a:close/>
                    <a:moveTo>
                      <a:pt x="836" y="393"/>
                    </a:moveTo>
                    <a:lnTo>
                      <a:pt x="840" y="395"/>
                    </a:lnTo>
                    <a:lnTo>
                      <a:pt x="840" y="397"/>
                    </a:lnTo>
                    <a:lnTo>
                      <a:pt x="838" y="399"/>
                    </a:lnTo>
                    <a:lnTo>
                      <a:pt x="835" y="399"/>
                    </a:lnTo>
                    <a:lnTo>
                      <a:pt x="835" y="395"/>
                    </a:lnTo>
                    <a:lnTo>
                      <a:pt x="836" y="393"/>
                    </a:lnTo>
                    <a:close/>
                    <a:moveTo>
                      <a:pt x="476" y="393"/>
                    </a:moveTo>
                    <a:lnTo>
                      <a:pt x="478" y="393"/>
                    </a:lnTo>
                    <a:lnTo>
                      <a:pt x="478" y="395"/>
                    </a:lnTo>
                    <a:lnTo>
                      <a:pt x="474" y="395"/>
                    </a:lnTo>
                    <a:lnTo>
                      <a:pt x="474" y="397"/>
                    </a:lnTo>
                    <a:lnTo>
                      <a:pt x="474" y="393"/>
                    </a:lnTo>
                    <a:lnTo>
                      <a:pt x="476" y="393"/>
                    </a:lnTo>
                    <a:close/>
                    <a:moveTo>
                      <a:pt x="777" y="392"/>
                    </a:moveTo>
                    <a:lnTo>
                      <a:pt x="777" y="397"/>
                    </a:lnTo>
                    <a:lnTo>
                      <a:pt x="777" y="403"/>
                    </a:lnTo>
                    <a:lnTo>
                      <a:pt x="775" y="403"/>
                    </a:lnTo>
                    <a:lnTo>
                      <a:pt x="779" y="405"/>
                    </a:lnTo>
                    <a:lnTo>
                      <a:pt x="779" y="401"/>
                    </a:lnTo>
                    <a:lnTo>
                      <a:pt x="781" y="399"/>
                    </a:lnTo>
                    <a:lnTo>
                      <a:pt x="779" y="393"/>
                    </a:lnTo>
                    <a:lnTo>
                      <a:pt x="777" y="392"/>
                    </a:lnTo>
                    <a:close/>
                    <a:moveTo>
                      <a:pt x="773" y="388"/>
                    </a:moveTo>
                    <a:lnTo>
                      <a:pt x="771" y="390"/>
                    </a:lnTo>
                    <a:lnTo>
                      <a:pt x="769" y="392"/>
                    </a:lnTo>
                    <a:lnTo>
                      <a:pt x="769" y="393"/>
                    </a:lnTo>
                    <a:lnTo>
                      <a:pt x="773" y="393"/>
                    </a:lnTo>
                    <a:lnTo>
                      <a:pt x="773" y="390"/>
                    </a:lnTo>
                    <a:lnTo>
                      <a:pt x="773" y="388"/>
                    </a:lnTo>
                    <a:close/>
                    <a:moveTo>
                      <a:pt x="491" y="361"/>
                    </a:moveTo>
                    <a:lnTo>
                      <a:pt x="493" y="361"/>
                    </a:lnTo>
                    <a:lnTo>
                      <a:pt x="497" y="363"/>
                    </a:lnTo>
                    <a:lnTo>
                      <a:pt x="493" y="376"/>
                    </a:lnTo>
                    <a:lnTo>
                      <a:pt x="489" y="390"/>
                    </a:lnTo>
                    <a:lnTo>
                      <a:pt x="485" y="390"/>
                    </a:lnTo>
                    <a:lnTo>
                      <a:pt x="483" y="390"/>
                    </a:lnTo>
                    <a:lnTo>
                      <a:pt x="481" y="384"/>
                    </a:lnTo>
                    <a:lnTo>
                      <a:pt x="481" y="378"/>
                    </a:lnTo>
                    <a:lnTo>
                      <a:pt x="481" y="376"/>
                    </a:lnTo>
                    <a:lnTo>
                      <a:pt x="483" y="370"/>
                    </a:lnTo>
                    <a:lnTo>
                      <a:pt x="487" y="365"/>
                    </a:lnTo>
                    <a:lnTo>
                      <a:pt x="491" y="361"/>
                    </a:lnTo>
                    <a:close/>
                    <a:moveTo>
                      <a:pt x="481" y="349"/>
                    </a:moveTo>
                    <a:lnTo>
                      <a:pt x="481" y="353"/>
                    </a:lnTo>
                    <a:lnTo>
                      <a:pt x="481" y="359"/>
                    </a:lnTo>
                    <a:lnTo>
                      <a:pt x="476" y="359"/>
                    </a:lnTo>
                    <a:lnTo>
                      <a:pt x="476" y="355"/>
                    </a:lnTo>
                    <a:lnTo>
                      <a:pt x="476" y="353"/>
                    </a:lnTo>
                    <a:lnTo>
                      <a:pt x="478" y="351"/>
                    </a:lnTo>
                    <a:lnTo>
                      <a:pt x="481" y="349"/>
                    </a:lnTo>
                    <a:close/>
                    <a:moveTo>
                      <a:pt x="401" y="326"/>
                    </a:moveTo>
                    <a:lnTo>
                      <a:pt x="403" y="328"/>
                    </a:lnTo>
                    <a:lnTo>
                      <a:pt x="405" y="330"/>
                    </a:lnTo>
                    <a:lnTo>
                      <a:pt x="410" y="328"/>
                    </a:lnTo>
                    <a:lnTo>
                      <a:pt x="414" y="326"/>
                    </a:lnTo>
                    <a:lnTo>
                      <a:pt x="420" y="326"/>
                    </a:lnTo>
                    <a:lnTo>
                      <a:pt x="430" y="328"/>
                    </a:lnTo>
                    <a:lnTo>
                      <a:pt x="416" y="332"/>
                    </a:lnTo>
                    <a:lnTo>
                      <a:pt x="405" y="338"/>
                    </a:lnTo>
                    <a:lnTo>
                      <a:pt x="397" y="344"/>
                    </a:lnTo>
                    <a:lnTo>
                      <a:pt x="387" y="351"/>
                    </a:lnTo>
                    <a:lnTo>
                      <a:pt x="385" y="353"/>
                    </a:lnTo>
                    <a:lnTo>
                      <a:pt x="385" y="357"/>
                    </a:lnTo>
                    <a:lnTo>
                      <a:pt x="382" y="357"/>
                    </a:lnTo>
                    <a:lnTo>
                      <a:pt x="378" y="357"/>
                    </a:lnTo>
                    <a:lnTo>
                      <a:pt x="376" y="353"/>
                    </a:lnTo>
                    <a:lnTo>
                      <a:pt x="374" y="351"/>
                    </a:lnTo>
                    <a:lnTo>
                      <a:pt x="378" y="351"/>
                    </a:lnTo>
                    <a:lnTo>
                      <a:pt x="389" y="340"/>
                    </a:lnTo>
                    <a:lnTo>
                      <a:pt x="401" y="326"/>
                    </a:lnTo>
                    <a:close/>
                    <a:moveTo>
                      <a:pt x="771" y="276"/>
                    </a:moveTo>
                    <a:lnTo>
                      <a:pt x="769" y="280"/>
                    </a:lnTo>
                    <a:lnTo>
                      <a:pt x="767" y="282"/>
                    </a:lnTo>
                    <a:lnTo>
                      <a:pt x="767" y="288"/>
                    </a:lnTo>
                    <a:lnTo>
                      <a:pt x="767" y="288"/>
                    </a:lnTo>
                    <a:lnTo>
                      <a:pt x="769" y="288"/>
                    </a:lnTo>
                    <a:lnTo>
                      <a:pt x="771" y="284"/>
                    </a:lnTo>
                    <a:lnTo>
                      <a:pt x="773" y="282"/>
                    </a:lnTo>
                    <a:lnTo>
                      <a:pt x="775" y="278"/>
                    </a:lnTo>
                    <a:lnTo>
                      <a:pt x="773" y="276"/>
                    </a:lnTo>
                    <a:lnTo>
                      <a:pt x="771" y="276"/>
                    </a:lnTo>
                    <a:close/>
                    <a:moveTo>
                      <a:pt x="794" y="265"/>
                    </a:moveTo>
                    <a:lnTo>
                      <a:pt x="796" y="269"/>
                    </a:lnTo>
                    <a:lnTo>
                      <a:pt x="798" y="269"/>
                    </a:lnTo>
                    <a:lnTo>
                      <a:pt x="798" y="267"/>
                    </a:lnTo>
                    <a:lnTo>
                      <a:pt x="796" y="265"/>
                    </a:lnTo>
                    <a:lnTo>
                      <a:pt x="794" y="265"/>
                    </a:lnTo>
                    <a:close/>
                    <a:moveTo>
                      <a:pt x="806" y="263"/>
                    </a:moveTo>
                    <a:lnTo>
                      <a:pt x="806" y="265"/>
                    </a:lnTo>
                    <a:lnTo>
                      <a:pt x="808" y="269"/>
                    </a:lnTo>
                    <a:lnTo>
                      <a:pt x="810" y="269"/>
                    </a:lnTo>
                    <a:lnTo>
                      <a:pt x="810" y="267"/>
                    </a:lnTo>
                    <a:lnTo>
                      <a:pt x="808" y="265"/>
                    </a:lnTo>
                    <a:lnTo>
                      <a:pt x="806" y="263"/>
                    </a:lnTo>
                    <a:close/>
                    <a:moveTo>
                      <a:pt x="733" y="259"/>
                    </a:moveTo>
                    <a:lnTo>
                      <a:pt x="731" y="261"/>
                    </a:lnTo>
                    <a:lnTo>
                      <a:pt x="729" y="265"/>
                    </a:lnTo>
                    <a:lnTo>
                      <a:pt x="721" y="267"/>
                    </a:lnTo>
                    <a:lnTo>
                      <a:pt x="714" y="271"/>
                    </a:lnTo>
                    <a:lnTo>
                      <a:pt x="712" y="273"/>
                    </a:lnTo>
                    <a:lnTo>
                      <a:pt x="710" y="276"/>
                    </a:lnTo>
                    <a:lnTo>
                      <a:pt x="714" y="276"/>
                    </a:lnTo>
                    <a:lnTo>
                      <a:pt x="714" y="278"/>
                    </a:lnTo>
                    <a:lnTo>
                      <a:pt x="718" y="278"/>
                    </a:lnTo>
                    <a:lnTo>
                      <a:pt x="718" y="274"/>
                    </a:lnTo>
                    <a:lnTo>
                      <a:pt x="719" y="273"/>
                    </a:lnTo>
                    <a:lnTo>
                      <a:pt x="723" y="273"/>
                    </a:lnTo>
                    <a:lnTo>
                      <a:pt x="729" y="273"/>
                    </a:lnTo>
                    <a:lnTo>
                      <a:pt x="729" y="269"/>
                    </a:lnTo>
                    <a:lnTo>
                      <a:pt x="731" y="265"/>
                    </a:lnTo>
                    <a:lnTo>
                      <a:pt x="733" y="263"/>
                    </a:lnTo>
                    <a:lnTo>
                      <a:pt x="737" y="263"/>
                    </a:lnTo>
                    <a:lnTo>
                      <a:pt x="735" y="261"/>
                    </a:lnTo>
                    <a:lnTo>
                      <a:pt x="735" y="259"/>
                    </a:lnTo>
                    <a:lnTo>
                      <a:pt x="733" y="259"/>
                    </a:lnTo>
                    <a:close/>
                    <a:moveTo>
                      <a:pt x="324" y="251"/>
                    </a:moveTo>
                    <a:lnTo>
                      <a:pt x="330" y="253"/>
                    </a:lnTo>
                    <a:lnTo>
                      <a:pt x="336" y="257"/>
                    </a:lnTo>
                    <a:lnTo>
                      <a:pt x="338" y="263"/>
                    </a:lnTo>
                    <a:lnTo>
                      <a:pt x="341" y="271"/>
                    </a:lnTo>
                    <a:lnTo>
                      <a:pt x="353" y="271"/>
                    </a:lnTo>
                    <a:lnTo>
                      <a:pt x="364" y="271"/>
                    </a:lnTo>
                    <a:lnTo>
                      <a:pt x="372" y="261"/>
                    </a:lnTo>
                    <a:lnTo>
                      <a:pt x="382" y="253"/>
                    </a:lnTo>
                    <a:lnTo>
                      <a:pt x="389" y="251"/>
                    </a:lnTo>
                    <a:lnTo>
                      <a:pt x="399" y="251"/>
                    </a:lnTo>
                    <a:lnTo>
                      <a:pt x="395" y="253"/>
                    </a:lnTo>
                    <a:lnTo>
                      <a:pt x="395" y="255"/>
                    </a:lnTo>
                    <a:lnTo>
                      <a:pt x="397" y="259"/>
                    </a:lnTo>
                    <a:lnTo>
                      <a:pt x="389" y="261"/>
                    </a:lnTo>
                    <a:lnTo>
                      <a:pt x="387" y="263"/>
                    </a:lnTo>
                    <a:lnTo>
                      <a:pt x="385" y="265"/>
                    </a:lnTo>
                    <a:lnTo>
                      <a:pt x="385" y="269"/>
                    </a:lnTo>
                    <a:lnTo>
                      <a:pt x="378" y="271"/>
                    </a:lnTo>
                    <a:lnTo>
                      <a:pt x="372" y="274"/>
                    </a:lnTo>
                    <a:lnTo>
                      <a:pt x="372" y="278"/>
                    </a:lnTo>
                    <a:lnTo>
                      <a:pt x="364" y="284"/>
                    </a:lnTo>
                    <a:lnTo>
                      <a:pt x="359" y="290"/>
                    </a:lnTo>
                    <a:lnTo>
                      <a:pt x="353" y="288"/>
                    </a:lnTo>
                    <a:lnTo>
                      <a:pt x="349" y="286"/>
                    </a:lnTo>
                    <a:lnTo>
                      <a:pt x="347" y="290"/>
                    </a:lnTo>
                    <a:lnTo>
                      <a:pt x="345" y="296"/>
                    </a:lnTo>
                    <a:lnTo>
                      <a:pt x="330" y="299"/>
                    </a:lnTo>
                    <a:lnTo>
                      <a:pt x="316" y="301"/>
                    </a:lnTo>
                    <a:lnTo>
                      <a:pt x="314" y="298"/>
                    </a:lnTo>
                    <a:lnTo>
                      <a:pt x="313" y="294"/>
                    </a:lnTo>
                    <a:lnTo>
                      <a:pt x="307" y="292"/>
                    </a:lnTo>
                    <a:lnTo>
                      <a:pt x="301" y="292"/>
                    </a:lnTo>
                    <a:lnTo>
                      <a:pt x="299" y="288"/>
                    </a:lnTo>
                    <a:lnTo>
                      <a:pt x="297" y="286"/>
                    </a:lnTo>
                    <a:lnTo>
                      <a:pt x="307" y="288"/>
                    </a:lnTo>
                    <a:lnTo>
                      <a:pt x="316" y="286"/>
                    </a:lnTo>
                    <a:lnTo>
                      <a:pt x="322" y="280"/>
                    </a:lnTo>
                    <a:lnTo>
                      <a:pt x="328" y="274"/>
                    </a:lnTo>
                    <a:lnTo>
                      <a:pt x="330" y="274"/>
                    </a:lnTo>
                    <a:lnTo>
                      <a:pt x="336" y="276"/>
                    </a:lnTo>
                    <a:lnTo>
                      <a:pt x="332" y="271"/>
                    </a:lnTo>
                    <a:lnTo>
                      <a:pt x="326" y="261"/>
                    </a:lnTo>
                    <a:lnTo>
                      <a:pt x="322" y="253"/>
                    </a:lnTo>
                    <a:lnTo>
                      <a:pt x="324" y="251"/>
                    </a:lnTo>
                    <a:close/>
                    <a:moveTo>
                      <a:pt x="272" y="244"/>
                    </a:moveTo>
                    <a:lnTo>
                      <a:pt x="276" y="246"/>
                    </a:lnTo>
                    <a:lnTo>
                      <a:pt x="282" y="250"/>
                    </a:lnTo>
                    <a:lnTo>
                      <a:pt x="290" y="251"/>
                    </a:lnTo>
                    <a:lnTo>
                      <a:pt x="293" y="251"/>
                    </a:lnTo>
                    <a:lnTo>
                      <a:pt x="293" y="253"/>
                    </a:lnTo>
                    <a:lnTo>
                      <a:pt x="291" y="251"/>
                    </a:lnTo>
                    <a:lnTo>
                      <a:pt x="276" y="253"/>
                    </a:lnTo>
                    <a:lnTo>
                      <a:pt x="261" y="253"/>
                    </a:lnTo>
                    <a:lnTo>
                      <a:pt x="261" y="250"/>
                    </a:lnTo>
                    <a:lnTo>
                      <a:pt x="265" y="248"/>
                    </a:lnTo>
                    <a:lnTo>
                      <a:pt x="268" y="248"/>
                    </a:lnTo>
                    <a:lnTo>
                      <a:pt x="268" y="246"/>
                    </a:lnTo>
                    <a:lnTo>
                      <a:pt x="272" y="244"/>
                    </a:lnTo>
                    <a:close/>
                    <a:moveTo>
                      <a:pt x="504" y="230"/>
                    </a:moveTo>
                    <a:lnTo>
                      <a:pt x="506" y="230"/>
                    </a:lnTo>
                    <a:lnTo>
                      <a:pt x="508" y="232"/>
                    </a:lnTo>
                    <a:lnTo>
                      <a:pt x="512" y="236"/>
                    </a:lnTo>
                    <a:lnTo>
                      <a:pt x="508" y="240"/>
                    </a:lnTo>
                    <a:lnTo>
                      <a:pt x="504" y="246"/>
                    </a:lnTo>
                    <a:lnTo>
                      <a:pt x="501" y="244"/>
                    </a:lnTo>
                    <a:lnTo>
                      <a:pt x="499" y="244"/>
                    </a:lnTo>
                    <a:lnTo>
                      <a:pt x="497" y="240"/>
                    </a:lnTo>
                    <a:lnTo>
                      <a:pt x="497" y="236"/>
                    </a:lnTo>
                    <a:lnTo>
                      <a:pt x="501" y="232"/>
                    </a:lnTo>
                    <a:lnTo>
                      <a:pt x="504" y="230"/>
                    </a:lnTo>
                    <a:close/>
                    <a:moveTo>
                      <a:pt x="288" y="215"/>
                    </a:moveTo>
                    <a:lnTo>
                      <a:pt x="288" y="215"/>
                    </a:lnTo>
                    <a:lnTo>
                      <a:pt x="290" y="217"/>
                    </a:lnTo>
                    <a:lnTo>
                      <a:pt x="290" y="219"/>
                    </a:lnTo>
                    <a:lnTo>
                      <a:pt x="288" y="219"/>
                    </a:lnTo>
                    <a:lnTo>
                      <a:pt x="286" y="217"/>
                    </a:lnTo>
                    <a:lnTo>
                      <a:pt x="286" y="217"/>
                    </a:lnTo>
                    <a:lnTo>
                      <a:pt x="284" y="215"/>
                    </a:lnTo>
                    <a:lnTo>
                      <a:pt x="288" y="215"/>
                    </a:lnTo>
                    <a:close/>
                    <a:moveTo>
                      <a:pt x="696" y="207"/>
                    </a:moveTo>
                    <a:lnTo>
                      <a:pt x="694" y="221"/>
                    </a:lnTo>
                    <a:lnTo>
                      <a:pt x="696" y="238"/>
                    </a:lnTo>
                    <a:lnTo>
                      <a:pt x="691" y="240"/>
                    </a:lnTo>
                    <a:lnTo>
                      <a:pt x="685" y="242"/>
                    </a:lnTo>
                    <a:lnTo>
                      <a:pt x="685" y="246"/>
                    </a:lnTo>
                    <a:lnTo>
                      <a:pt x="685" y="251"/>
                    </a:lnTo>
                    <a:lnTo>
                      <a:pt x="689" y="250"/>
                    </a:lnTo>
                    <a:lnTo>
                      <a:pt x="691" y="250"/>
                    </a:lnTo>
                    <a:lnTo>
                      <a:pt x="693" y="250"/>
                    </a:lnTo>
                    <a:lnTo>
                      <a:pt x="696" y="250"/>
                    </a:lnTo>
                    <a:lnTo>
                      <a:pt x="696" y="253"/>
                    </a:lnTo>
                    <a:lnTo>
                      <a:pt x="696" y="259"/>
                    </a:lnTo>
                    <a:lnTo>
                      <a:pt x="700" y="259"/>
                    </a:lnTo>
                    <a:lnTo>
                      <a:pt x="706" y="259"/>
                    </a:lnTo>
                    <a:lnTo>
                      <a:pt x="708" y="253"/>
                    </a:lnTo>
                    <a:lnTo>
                      <a:pt x="712" y="250"/>
                    </a:lnTo>
                    <a:lnTo>
                      <a:pt x="712" y="244"/>
                    </a:lnTo>
                    <a:lnTo>
                      <a:pt x="712" y="238"/>
                    </a:lnTo>
                    <a:lnTo>
                      <a:pt x="712" y="236"/>
                    </a:lnTo>
                    <a:lnTo>
                      <a:pt x="714" y="234"/>
                    </a:lnTo>
                    <a:lnTo>
                      <a:pt x="716" y="232"/>
                    </a:lnTo>
                    <a:lnTo>
                      <a:pt x="721" y="232"/>
                    </a:lnTo>
                    <a:lnTo>
                      <a:pt x="721" y="234"/>
                    </a:lnTo>
                    <a:lnTo>
                      <a:pt x="723" y="238"/>
                    </a:lnTo>
                    <a:lnTo>
                      <a:pt x="723" y="240"/>
                    </a:lnTo>
                    <a:lnTo>
                      <a:pt x="721" y="246"/>
                    </a:lnTo>
                    <a:lnTo>
                      <a:pt x="733" y="248"/>
                    </a:lnTo>
                    <a:lnTo>
                      <a:pt x="744" y="251"/>
                    </a:lnTo>
                    <a:lnTo>
                      <a:pt x="744" y="248"/>
                    </a:lnTo>
                    <a:lnTo>
                      <a:pt x="748" y="244"/>
                    </a:lnTo>
                    <a:lnTo>
                      <a:pt x="744" y="238"/>
                    </a:lnTo>
                    <a:lnTo>
                      <a:pt x="739" y="240"/>
                    </a:lnTo>
                    <a:lnTo>
                      <a:pt x="735" y="242"/>
                    </a:lnTo>
                    <a:lnTo>
                      <a:pt x="735" y="238"/>
                    </a:lnTo>
                    <a:lnTo>
                      <a:pt x="729" y="230"/>
                    </a:lnTo>
                    <a:lnTo>
                      <a:pt x="723" y="223"/>
                    </a:lnTo>
                    <a:lnTo>
                      <a:pt x="718" y="219"/>
                    </a:lnTo>
                    <a:lnTo>
                      <a:pt x="714" y="217"/>
                    </a:lnTo>
                    <a:lnTo>
                      <a:pt x="710" y="215"/>
                    </a:lnTo>
                    <a:lnTo>
                      <a:pt x="706" y="215"/>
                    </a:lnTo>
                    <a:lnTo>
                      <a:pt x="704" y="217"/>
                    </a:lnTo>
                    <a:lnTo>
                      <a:pt x="702" y="219"/>
                    </a:lnTo>
                    <a:lnTo>
                      <a:pt x="700" y="215"/>
                    </a:lnTo>
                    <a:lnTo>
                      <a:pt x="704" y="209"/>
                    </a:lnTo>
                    <a:lnTo>
                      <a:pt x="700" y="207"/>
                    </a:lnTo>
                    <a:lnTo>
                      <a:pt x="696" y="207"/>
                    </a:lnTo>
                    <a:close/>
                    <a:moveTo>
                      <a:pt x="700" y="202"/>
                    </a:moveTo>
                    <a:lnTo>
                      <a:pt x="704" y="207"/>
                    </a:lnTo>
                    <a:lnTo>
                      <a:pt x="706" y="205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0" y="202"/>
                    </a:lnTo>
                    <a:close/>
                    <a:moveTo>
                      <a:pt x="710" y="180"/>
                    </a:moveTo>
                    <a:lnTo>
                      <a:pt x="712" y="182"/>
                    </a:lnTo>
                    <a:lnTo>
                      <a:pt x="714" y="184"/>
                    </a:lnTo>
                    <a:lnTo>
                      <a:pt x="714" y="186"/>
                    </a:lnTo>
                    <a:lnTo>
                      <a:pt x="710" y="188"/>
                    </a:lnTo>
                    <a:lnTo>
                      <a:pt x="710" y="184"/>
                    </a:lnTo>
                    <a:lnTo>
                      <a:pt x="704" y="186"/>
                    </a:lnTo>
                    <a:lnTo>
                      <a:pt x="706" y="184"/>
                    </a:lnTo>
                    <a:lnTo>
                      <a:pt x="706" y="182"/>
                    </a:lnTo>
                    <a:lnTo>
                      <a:pt x="710" y="180"/>
                    </a:lnTo>
                    <a:close/>
                    <a:moveTo>
                      <a:pt x="268" y="173"/>
                    </a:moveTo>
                    <a:lnTo>
                      <a:pt x="276" y="173"/>
                    </a:lnTo>
                    <a:lnTo>
                      <a:pt x="288" y="177"/>
                    </a:lnTo>
                    <a:lnTo>
                      <a:pt x="284" y="180"/>
                    </a:lnTo>
                    <a:lnTo>
                      <a:pt x="280" y="179"/>
                    </a:lnTo>
                    <a:lnTo>
                      <a:pt x="278" y="179"/>
                    </a:lnTo>
                    <a:lnTo>
                      <a:pt x="274" y="180"/>
                    </a:lnTo>
                    <a:lnTo>
                      <a:pt x="270" y="182"/>
                    </a:lnTo>
                    <a:lnTo>
                      <a:pt x="272" y="184"/>
                    </a:lnTo>
                    <a:lnTo>
                      <a:pt x="276" y="186"/>
                    </a:lnTo>
                    <a:lnTo>
                      <a:pt x="286" y="190"/>
                    </a:lnTo>
                    <a:lnTo>
                      <a:pt x="297" y="190"/>
                    </a:lnTo>
                    <a:lnTo>
                      <a:pt x="297" y="188"/>
                    </a:lnTo>
                    <a:lnTo>
                      <a:pt x="301" y="186"/>
                    </a:lnTo>
                    <a:lnTo>
                      <a:pt x="301" y="188"/>
                    </a:lnTo>
                    <a:lnTo>
                      <a:pt x="303" y="194"/>
                    </a:lnTo>
                    <a:lnTo>
                      <a:pt x="299" y="196"/>
                    </a:lnTo>
                    <a:lnTo>
                      <a:pt x="297" y="200"/>
                    </a:lnTo>
                    <a:lnTo>
                      <a:pt x="297" y="202"/>
                    </a:lnTo>
                    <a:lnTo>
                      <a:pt x="301" y="205"/>
                    </a:lnTo>
                    <a:lnTo>
                      <a:pt x="290" y="205"/>
                    </a:lnTo>
                    <a:lnTo>
                      <a:pt x="278" y="205"/>
                    </a:lnTo>
                    <a:lnTo>
                      <a:pt x="278" y="207"/>
                    </a:lnTo>
                    <a:lnTo>
                      <a:pt x="278" y="211"/>
                    </a:lnTo>
                    <a:lnTo>
                      <a:pt x="282" y="213"/>
                    </a:lnTo>
                    <a:lnTo>
                      <a:pt x="286" y="215"/>
                    </a:lnTo>
                    <a:lnTo>
                      <a:pt x="274" y="215"/>
                    </a:lnTo>
                    <a:lnTo>
                      <a:pt x="265" y="219"/>
                    </a:lnTo>
                    <a:lnTo>
                      <a:pt x="261" y="223"/>
                    </a:lnTo>
                    <a:lnTo>
                      <a:pt x="259" y="227"/>
                    </a:lnTo>
                    <a:lnTo>
                      <a:pt x="255" y="227"/>
                    </a:lnTo>
                    <a:lnTo>
                      <a:pt x="255" y="225"/>
                    </a:lnTo>
                    <a:lnTo>
                      <a:pt x="261" y="219"/>
                    </a:lnTo>
                    <a:lnTo>
                      <a:pt x="267" y="213"/>
                    </a:lnTo>
                    <a:lnTo>
                      <a:pt x="270" y="213"/>
                    </a:lnTo>
                    <a:lnTo>
                      <a:pt x="274" y="213"/>
                    </a:lnTo>
                    <a:lnTo>
                      <a:pt x="270" y="211"/>
                    </a:lnTo>
                    <a:lnTo>
                      <a:pt x="270" y="209"/>
                    </a:lnTo>
                    <a:lnTo>
                      <a:pt x="265" y="209"/>
                    </a:lnTo>
                    <a:lnTo>
                      <a:pt x="261" y="209"/>
                    </a:lnTo>
                    <a:lnTo>
                      <a:pt x="259" y="213"/>
                    </a:lnTo>
                    <a:lnTo>
                      <a:pt x="253" y="219"/>
                    </a:lnTo>
                    <a:lnTo>
                      <a:pt x="249" y="223"/>
                    </a:lnTo>
                    <a:lnTo>
                      <a:pt x="247" y="223"/>
                    </a:lnTo>
                    <a:lnTo>
                      <a:pt x="238" y="221"/>
                    </a:lnTo>
                    <a:lnTo>
                      <a:pt x="236" y="217"/>
                    </a:lnTo>
                    <a:lnTo>
                      <a:pt x="234" y="215"/>
                    </a:lnTo>
                    <a:lnTo>
                      <a:pt x="238" y="215"/>
                    </a:lnTo>
                    <a:lnTo>
                      <a:pt x="236" y="211"/>
                    </a:lnTo>
                    <a:lnTo>
                      <a:pt x="236" y="209"/>
                    </a:lnTo>
                    <a:lnTo>
                      <a:pt x="243" y="200"/>
                    </a:lnTo>
                    <a:lnTo>
                      <a:pt x="240" y="198"/>
                    </a:lnTo>
                    <a:lnTo>
                      <a:pt x="240" y="196"/>
                    </a:lnTo>
                    <a:lnTo>
                      <a:pt x="240" y="194"/>
                    </a:lnTo>
                    <a:lnTo>
                      <a:pt x="249" y="196"/>
                    </a:lnTo>
                    <a:lnTo>
                      <a:pt x="249" y="196"/>
                    </a:lnTo>
                    <a:lnTo>
                      <a:pt x="255" y="196"/>
                    </a:lnTo>
                    <a:lnTo>
                      <a:pt x="251" y="190"/>
                    </a:lnTo>
                    <a:lnTo>
                      <a:pt x="247" y="186"/>
                    </a:lnTo>
                    <a:lnTo>
                      <a:pt x="238" y="184"/>
                    </a:lnTo>
                    <a:lnTo>
                      <a:pt x="230" y="184"/>
                    </a:lnTo>
                    <a:lnTo>
                      <a:pt x="226" y="184"/>
                    </a:lnTo>
                    <a:lnTo>
                      <a:pt x="222" y="186"/>
                    </a:lnTo>
                    <a:lnTo>
                      <a:pt x="222" y="182"/>
                    </a:lnTo>
                    <a:lnTo>
                      <a:pt x="222" y="180"/>
                    </a:lnTo>
                    <a:lnTo>
                      <a:pt x="232" y="180"/>
                    </a:lnTo>
                    <a:lnTo>
                      <a:pt x="243" y="180"/>
                    </a:lnTo>
                    <a:lnTo>
                      <a:pt x="255" y="177"/>
                    </a:lnTo>
                    <a:lnTo>
                      <a:pt x="268" y="173"/>
                    </a:lnTo>
                    <a:close/>
                    <a:moveTo>
                      <a:pt x="685" y="159"/>
                    </a:moveTo>
                    <a:lnTo>
                      <a:pt x="687" y="163"/>
                    </a:lnTo>
                    <a:lnTo>
                      <a:pt x="687" y="159"/>
                    </a:lnTo>
                    <a:lnTo>
                      <a:pt x="685" y="159"/>
                    </a:lnTo>
                    <a:close/>
                    <a:moveTo>
                      <a:pt x="650" y="557"/>
                    </a:moveTo>
                    <a:lnTo>
                      <a:pt x="652" y="553"/>
                    </a:lnTo>
                    <a:lnTo>
                      <a:pt x="654" y="549"/>
                    </a:lnTo>
                    <a:lnTo>
                      <a:pt x="658" y="547"/>
                    </a:lnTo>
                    <a:lnTo>
                      <a:pt x="664" y="545"/>
                    </a:lnTo>
                    <a:lnTo>
                      <a:pt x="664" y="541"/>
                    </a:lnTo>
                    <a:lnTo>
                      <a:pt x="664" y="543"/>
                    </a:lnTo>
                    <a:lnTo>
                      <a:pt x="668" y="547"/>
                    </a:lnTo>
                    <a:lnTo>
                      <a:pt x="668" y="541"/>
                    </a:lnTo>
                    <a:lnTo>
                      <a:pt x="670" y="539"/>
                    </a:lnTo>
                    <a:lnTo>
                      <a:pt x="677" y="539"/>
                    </a:lnTo>
                    <a:lnTo>
                      <a:pt x="687" y="541"/>
                    </a:lnTo>
                    <a:lnTo>
                      <a:pt x="691" y="551"/>
                    </a:lnTo>
                    <a:lnTo>
                      <a:pt x="696" y="559"/>
                    </a:lnTo>
                    <a:lnTo>
                      <a:pt x="700" y="559"/>
                    </a:lnTo>
                    <a:lnTo>
                      <a:pt x="706" y="559"/>
                    </a:lnTo>
                    <a:lnTo>
                      <a:pt x="706" y="562"/>
                    </a:lnTo>
                    <a:lnTo>
                      <a:pt x="706" y="566"/>
                    </a:lnTo>
                    <a:lnTo>
                      <a:pt x="708" y="568"/>
                    </a:lnTo>
                    <a:lnTo>
                      <a:pt x="712" y="568"/>
                    </a:lnTo>
                    <a:lnTo>
                      <a:pt x="710" y="576"/>
                    </a:lnTo>
                    <a:lnTo>
                      <a:pt x="714" y="585"/>
                    </a:lnTo>
                    <a:lnTo>
                      <a:pt x="716" y="585"/>
                    </a:lnTo>
                    <a:lnTo>
                      <a:pt x="719" y="585"/>
                    </a:lnTo>
                    <a:lnTo>
                      <a:pt x="719" y="589"/>
                    </a:lnTo>
                    <a:lnTo>
                      <a:pt x="737" y="593"/>
                    </a:lnTo>
                    <a:lnTo>
                      <a:pt x="754" y="597"/>
                    </a:lnTo>
                    <a:lnTo>
                      <a:pt x="756" y="595"/>
                    </a:lnTo>
                    <a:lnTo>
                      <a:pt x="760" y="595"/>
                    </a:lnTo>
                    <a:lnTo>
                      <a:pt x="762" y="597"/>
                    </a:lnTo>
                    <a:lnTo>
                      <a:pt x="764" y="601"/>
                    </a:lnTo>
                    <a:lnTo>
                      <a:pt x="769" y="603"/>
                    </a:lnTo>
                    <a:lnTo>
                      <a:pt x="769" y="606"/>
                    </a:lnTo>
                    <a:lnTo>
                      <a:pt x="769" y="612"/>
                    </a:lnTo>
                    <a:lnTo>
                      <a:pt x="771" y="614"/>
                    </a:lnTo>
                    <a:lnTo>
                      <a:pt x="775" y="618"/>
                    </a:lnTo>
                    <a:lnTo>
                      <a:pt x="769" y="618"/>
                    </a:lnTo>
                    <a:lnTo>
                      <a:pt x="769" y="622"/>
                    </a:lnTo>
                    <a:lnTo>
                      <a:pt x="769" y="626"/>
                    </a:lnTo>
                    <a:lnTo>
                      <a:pt x="765" y="624"/>
                    </a:lnTo>
                    <a:lnTo>
                      <a:pt x="764" y="622"/>
                    </a:lnTo>
                    <a:lnTo>
                      <a:pt x="758" y="620"/>
                    </a:lnTo>
                    <a:lnTo>
                      <a:pt x="754" y="618"/>
                    </a:lnTo>
                    <a:lnTo>
                      <a:pt x="748" y="624"/>
                    </a:lnTo>
                    <a:lnTo>
                      <a:pt x="746" y="628"/>
                    </a:lnTo>
                    <a:lnTo>
                      <a:pt x="746" y="635"/>
                    </a:lnTo>
                    <a:lnTo>
                      <a:pt x="746" y="645"/>
                    </a:lnTo>
                    <a:lnTo>
                      <a:pt x="741" y="647"/>
                    </a:lnTo>
                    <a:lnTo>
                      <a:pt x="739" y="649"/>
                    </a:lnTo>
                    <a:lnTo>
                      <a:pt x="737" y="651"/>
                    </a:lnTo>
                    <a:lnTo>
                      <a:pt x="737" y="654"/>
                    </a:lnTo>
                    <a:lnTo>
                      <a:pt x="735" y="658"/>
                    </a:lnTo>
                    <a:lnTo>
                      <a:pt x="733" y="660"/>
                    </a:lnTo>
                    <a:lnTo>
                      <a:pt x="733" y="662"/>
                    </a:lnTo>
                    <a:lnTo>
                      <a:pt x="733" y="664"/>
                    </a:lnTo>
                    <a:lnTo>
                      <a:pt x="735" y="666"/>
                    </a:lnTo>
                    <a:lnTo>
                      <a:pt x="739" y="666"/>
                    </a:lnTo>
                    <a:lnTo>
                      <a:pt x="741" y="664"/>
                    </a:lnTo>
                    <a:lnTo>
                      <a:pt x="742" y="662"/>
                    </a:lnTo>
                    <a:lnTo>
                      <a:pt x="748" y="656"/>
                    </a:lnTo>
                    <a:lnTo>
                      <a:pt x="756" y="653"/>
                    </a:lnTo>
                    <a:lnTo>
                      <a:pt x="760" y="653"/>
                    </a:lnTo>
                    <a:lnTo>
                      <a:pt x="764" y="653"/>
                    </a:lnTo>
                    <a:lnTo>
                      <a:pt x="765" y="649"/>
                    </a:lnTo>
                    <a:lnTo>
                      <a:pt x="771" y="649"/>
                    </a:lnTo>
                    <a:lnTo>
                      <a:pt x="777" y="649"/>
                    </a:lnTo>
                    <a:lnTo>
                      <a:pt x="777" y="645"/>
                    </a:lnTo>
                    <a:lnTo>
                      <a:pt x="769" y="645"/>
                    </a:lnTo>
                    <a:lnTo>
                      <a:pt x="769" y="643"/>
                    </a:lnTo>
                    <a:lnTo>
                      <a:pt x="771" y="643"/>
                    </a:lnTo>
                    <a:lnTo>
                      <a:pt x="775" y="641"/>
                    </a:lnTo>
                    <a:lnTo>
                      <a:pt x="777" y="637"/>
                    </a:lnTo>
                    <a:lnTo>
                      <a:pt x="781" y="635"/>
                    </a:lnTo>
                    <a:lnTo>
                      <a:pt x="792" y="635"/>
                    </a:lnTo>
                    <a:lnTo>
                      <a:pt x="804" y="637"/>
                    </a:lnTo>
                    <a:lnTo>
                      <a:pt x="804" y="635"/>
                    </a:lnTo>
                    <a:lnTo>
                      <a:pt x="808" y="633"/>
                    </a:lnTo>
                    <a:lnTo>
                      <a:pt x="802" y="631"/>
                    </a:lnTo>
                    <a:lnTo>
                      <a:pt x="798" y="631"/>
                    </a:lnTo>
                    <a:lnTo>
                      <a:pt x="796" y="630"/>
                    </a:lnTo>
                    <a:lnTo>
                      <a:pt x="796" y="628"/>
                    </a:lnTo>
                    <a:lnTo>
                      <a:pt x="804" y="630"/>
                    </a:lnTo>
                    <a:lnTo>
                      <a:pt x="813" y="630"/>
                    </a:lnTo>
                    <a:lnTo>
                      <a:pt x="813" y="630"/>
                    </a:lnTo>
                    <a:lnTo>
                      <a:pt x="815" y="628"/>
                    </a:lnTo>
                    <a:lnTo>
                      <a:pt x="817" y="624"/>
                    </a:lnTo>
                    <a:lnTo>
                      <a:pt x="819" y="622"/>
                    </a:lnTo>
                    <a:lnTo>
                      <a:pt x="829" y="614"/>
                    </a:lnTo>
                    <a:lnTo>
                      <a:pt x="838" y="610"/>
                    </a:lnTo>
                    <a:lnTo>
                      <a:pt x="842" y="612"/>
                    </a:lnTo>
                    <a:lnTo>
                      <a:pt x="861" y="610"/>
                    </a:lnTo>
                    <a:lnTo>
                      <a:pt x="879" y="606"/>
                    </a:lnTo>
                    <a:lnTo>
                      <a:pt x="879" y="605"/>
                    </a:lnTo>
                    <a:lnTo>
                      <a:pt x="883" y="603"/>
                    </a:lnTo>
                    <a:lnTo>
                      <a:pt x="888" y="597"/>
                    </a:lnTo>
                    <a:lnTo>
                      <a:pt x="894" y="591"/>
                    </a:lnTo>
                    <a:lnTo>
                      <a:pt x="894" y="585"/>
                    </a:lnTo>
                    <a:lnTo>
                      <a:pt x="896" y="582"/>
                    </a:lnTo>
                    <a:lnTo>
                      <a:pt x="900" y="574"/>
                    </a:lnTo>
                    <a:lnTo>
                      <a:pt x="902" y="572"/>
                    </a:lnTo>
                    <a:lnTo>
                      <a:pt x="906" y="576"/>
                    </a:lnTo>
                    <a:lnTo>
                      <a:pt x="908" y="576"/>
                    </a:lnTo>
                    <a:lnTo>
                      <a:pt x="911" y="574"/>
                    </a:lnTo>
                    <a:lnTo>
                      <a:pt x="915" y="574"/>
                    </a:lnTo>
                    <a:lnTo>
                      <a:pt x="919" y="576"/>
                    </a:lnTo>
                    <a:lnTo>
                      <a:pt x="921" y="580"/>
                    </a:lnTo>
                    <a:lnTo>
                      <a:pt x="921" y="583"/>
                    </a:lnTo>
                    <a:lnTo>
                      <a:pt x="919" y="595"/>
                    </a:lnTo>
                    <a:lnTo>
                      <a:pt x="921" y="601"/>
                    </a:lnTo>
                    <a:lnTo>
                      <a:pt x="923" y="601"/>
                    </a:lnTo>
                    <a:lnTo>
                      <a:pt x="925" y="603"/>
                    </a:lnTo>
                    <a:lnTo>
                      <a:pt x="925" y="606"/>
                    </a:lnTo>
                    <a:lnTo>
                      <a:pt x="927" y="610"/>
                    </a:lnTo>
                    <a:lnTo>
                      <a:pt x="927" y="610"/>
                    </a:lnTo>
                    <a:lnTo>
                      <a:pt x="927" y="612"/>
                    </a:lnTo>
                    <a:lnTo>
                      <a:pt x="929" y="614"/>
                    </a:lnTo>
                    <a:lnTo>
                      <a:pt x="932" y="616"/>
                    </a:lnTo>
                    <a:lnTo>
                      <a:pt x="938" y="616"/>
                    </a:lnTo>
                    <a:lnTo>
                      <a:pt x="944" y="614"/>
                    </a:lnTo>
                    <a:lnTo>
                      <a:pt x="942" y="612"/>
                    </a:lnTo>
                    <a:lnTo>
                      <a:pt x="942" y="608"/>
                    </a:lnTo>
                    <a:lnTo>
                      <a:pt x="944" y="610"/>
                    </a:lnTo>
                    <a:lnTo>
                      <a:pt x="946" y="612"/>
                    </a:lnTo>
                    <a:lnTo>
                      <a:pt x="954" y="605"/>
                    </a:lnTo>
                    <a:lnTo>
                      <a:pt x="959" y="597"/>
                    </a:lnTo>
                    <a:lnTo>
                      <a:pt x="959" y="599"/>
                    </a:lnTo>
                    <a:lnTo>
                      <a:pt x="961" y="599"/>
                    </a:lnTo>
                    <a:lnTo>
                      <a:pt x="963" y="601"/>
                    </a:lnTo>
                    <a:lnTo>
                      <a:pt x="959" y="601"/>
                    </a:lnTo>
                    <a:lnTo>
                      <a:pt x="957" y="606"/>
                    </a:lnTo>
                    <a:lnTo>
                      <a:pt x="957" y="610"/>
                    </a:lnTo>
                    <a:lnTo>
                      <a:pt x="965" y="608"/>
                    </a:lnTo>
                    <a:lnTo>
                      <a:pt x="973" y="606"/>
                    </a:lnTo>
                    <a:lnTo>
                      <a:pt x="975" y="608"/>
                    </a:lnTo>
                    <a:lnTo>
                      <a:pt x="975" y="610"/>
                    </a:lnTo>
                    <a:lnTo>
                      <a:pt x="971" y="612"/>
                    </a:lnTo>
                    <a:lnTo>
                      <a:pt x="971" y="616"/>
                    </a:lnTo>
                    <a:lnTo>
                      <a:pt x="963" y="614"/>
                    </a:lnTo>
                    <a:lnTo>
                      <a:pt x="959" y="614"/>
                    </a:lnTo>
                    <a:lnTo>
                      <a:pt x="957" y="616"/>
                    </a:lnTo>
                    <a:lnTo>
                      <a:pt x="952" y="618"/>
                    </a:lnTo>
                    <a:lnTo>
                      <a:pt x="952" y="622"/>
                    </a:lnTo>
                    <a:lnTo>
                      <a:pt x="948" y="622"/>
                    </a:lnTo>
                    <a:lnTo>
                      <a:pt x="946" y="622"/>
                    </a:lnTo>
                    <a:lnTo>
                      <a:pt x="942" y="628"/>
                    </a:lnTo>
                    <a:lnTo>
                      <a:pt x="938" y="631"/>
                    </a:lnTo>
                    <a:lnTo>
                      <a:pt x="938" y="633"/>
                    </a:lnTo>
                    <a:lnTo>
                      <a:pt x="940" y="635"/>
                    </a:lnTo>
                    <a:lnTo>
                      <a:pt x="942" y="637"/>
                    </a:lnTo>
                    <a:lnTo>
                      <a:pt x="948" y="639"/>
                    </a:lnTo>
                    <a:lnTo>
                      <a:pt x="950" y="643"/>
                    </a:lnTo>
                    <a:lnTo>
                      <a:pt x="952" y="641"/>
                    </a:lnTo>
                    <a:lnTo>
                      <a:pt x="955" y="641"/>
                    </a:lnTo>
                    <a:lnTo>
                      <a:pt x="955" y="643"/>
                    </a:lnTo>
                    <a:lnTo>
                      <a:pt x="957" y="645"/>
                    </a:lnTo>
                    <a:lnTo>
                      <a:pt x="965" y="639"/>
                    </a:lnTo>
                    <a:lnTo>
                      <a:pt x="965" y="633"/>
                    </a:lnTo>
                    <a:lnTo>
                      <a:pt x="967" y="630"/>
                    </a:lnTo>
                    <a:lnTo>
                      <a:pt x="971" y="628"/>
                    </a:lnTo>
                    <a:lnTo>
                      <a:pt x="975" y="630"/>
                    </a:lnTo>
                    <a:lnTo>
                      <a:pt x="975" y="628"/>
                    </a:lnTo>
                    <a:lnTo>
                      <a:pt x="977" y="624"/>
                    </a:lnTo>
                    <a:lnTo>
                      <a:pt x="980" y="624"/>
                    </a:lnTo>
                    <a:lnTo>
                      <a:pt x="986" y="624"/>
                    </a:lnTo>
                    <a:lnTo>
                      <a:pt x="986" y="622"/>
                    </a:lnTo>
                    <a:lnTo>
                      <a:pt x="992" y="618"/>
                    </a:lnTo>
                    <a:lnTo>
                      <a:pt x="998" y="614"/>
                    </a:lnTo>
                    <a:lnTo>
                      <a:pt x="998" y="610"/>
                    </a:lnTo>
                    <a:lnTo>
                      <a:pt x="1002" y="610"/>
                    </a:lnTo>
                    <a:lnTo>
                      <a:pt x="1000" y="605"/>
                    </a:lnTo>
                    <a:lnTo>
                      <a:pt x="998" y="599"/>
                    </a:lnTo>
                    <a:lnTo>
                      <a:pt x="994" y="603"/>
                    </a:lnTo>
                    <a:lnTo>
                      <a:pt x="990" y="605"/>
                    </a:lnTo>
                    <a:lnTo>
                      <a:pt x="984" y="606"/>
                    </a:lnTo>
                    <a:lnTo>
                      <a:pt x="980" y="605"/>
                    </a:lnTo>
                    <a:lnTo>
                      <a:pt x="977" y="601"/>
                    </a:lnTo>
                    <a:lnTo>
                      <a:pt x="973" y="601"/>
                    </a:lnTo>
                    <a:lnTo>
                      <a:pt x="971" y="603"/>
                    </a:lnTo>
                    <a:lnTo>
                      <a:pt x="969" y="601"/>
                    </a:lnTo>
                    <a:lnTo>
                      <a:pt x="969" y="599"/>
                    </a:lnTo>
                    <a:lnTo>
                      <a:pt x="973" y="599"/>
                    </a:lnTo>
                    <a:lnTo>
                      <a:pt x="973" y="597"/>
                    </a:lnTo>
                    <a:lnTo>
                      <a:pt x="975" y="595"/>
                    </a:lnTo>
                    <a:lnTo>
                      <a:pt x="967" y="593"/>
                    </a:lnTo>
                    <a:lnTo>
                      <a:pt x="961" y="591"/>
                    </a:lnTo>
                    <a:lnTo>
                      <a:pt x="961" y="585"/>
                    </a:lnTo>
                    <a:lnTo>
                      <a:pt x="961" y="582"/>
                    </a:lnTo>
                    <a:lnTo>
                      <a:pt x="963" y="580"/>
                    </a:lnTo>
                    <a:lnTo>
                      <a:pt x="963" y="578"/>
                    </a:lnTo>
                    <a:lnTo>
                      <a:pt x="959" y="578"/>
                    </a:lnTo>
                    <a:lnTo>
                      <a:pt x="959" y="580"/>
                    </a:lnTo>
                    <a:lnTo>
                      <a:pt x="957" y="580"/>
                    </a:lnTo>
                    <a:lnTo>
                      <a:pt x="959" y="574"/>
                    </a:lnTo>
                    <a:lnTo>
                      <a:pt x="959" y="572"/>
                    </a:lnTo>
                    <a:lnTo>
                      <a:pt x="961" y="568"/>
                    </a:lnTo>
                    <a:lnTo>
                      <a:pt x="961" y="566"/>
                    </a:lnTo>
                    <a:lnTo>
                      <a:pt x="961" y="562"/>
                    </a:lnTo>
                    <a:lnTo>
                      <a:pt x="950" y="564"/>
                    </a:lnTo>
                    <a:lnTo>
                      <a:pt x="946" y="564"/>
                    </a:lnTo>
                    <a:lnTo>
                      <a:pt x="944" y="560"/>
                    </a:lnTo>
                    <a:lnTo>
                      <a:pt x="942" y="557"/>
                    </a:lnTo>
                    <a:lnTo>
                      <a:pt x="944" y="557"/>
                    </a:lnTo>
                    <a:lnTo>
                      <a:pt x="948" y="555"/>
                    </a:lnTo>
                    <a:lnTo>
                      <a:pt x="952" y="560"/>
                    </a:lnTo>
                    <a:lnTo>
                      <a:pt x="954" y="559"/>
                    </a:lnTo>
                    <a:lnTo>
                      <a:pt x="957" y="559"/>
                    </a:lnTo>
                    <a:lnTo>
                      <a:pt x="957" y="555"/>
                    </a:lnTo>
                    <a:lnTo>
                      <a:pt x="959" y="551"/>
                    </a:lnTo>
                    <a:lnTo>
                      <a:pt x="961" y="551"/>
                    </a:lnTo>
                    <a:lnTo>
                      <a:pt x="965" y="551"/>
                    </a:lnTo>
                    <a:lnTo>
                      <a:pt x="965" y="545"/>
                    </a:lnTo>
                    <a:lnTo>
                      <a:pt x="965" y="541"/>
                    </a:lnTo>
                    <a:lnTo>
                      <a:pt x="967" y="541"/>
                    </a:lnTo>
                    <a:lnTo>
                      <a:pt x="969" y="539"/>
                    </a:lnTo>
                    <a:lnTo>
                      <a:pt x="965" y="537"/>
                    </a:lnTo>
                    <a:lnTo>
                      <a:pt x="963" y="534"/>
                    </a:lnTo>
                    <a:lnTo>
                      <a:pt x="963" y="532"/>
                    </a:lnTo>
                    <a:lnTo>
                      <a:pt x="955" y="530"/>
                    </a:lnTo>
                    <a:lnTo>
                      <a:pt x="950" y="530"/>
                    </a:lnTo>
                    <a:lnTo>
                      <a:pt x="944" y="532"/>
                    </a:lnTo>
                    <a:lnTo>
                      <a:pt x="938" y="534"/>
                    </a:lnTo>
                    <a:lnTo>
                      <a:pt x="934" y="535"/>
                    </a:lnTo>
                    <a:lnTo>
                      <a:pt x="931" y="537"/>
                    </a:lnTo>
                    <a:lnTo>
                      <a:pt x="917" y="545"/>
                    </a:lnTo>
                    <a:lnTo>
                      <a:pt x="906" y="555"/>
                    </a:lnTo>
                    <a:lnTo>
                      <a:pt x="896" y="564"/>
                    </a:lnTo>
                    <a:lnTo>
                      <a:pt x="888" y="576"/>
                    </a:lnTo>
                    <a:lnTo>
                      <a:pt x="890" y="570"/>
                    </a:lnTo>
                    <a:lnTo>
                      <a:pt x="894" y="566"/>
                    </a:lnTo>
                    <a:lnTo>
                      <a:pt x="896" y="560"/>
                    </a:lnTo>
                    <a:lnTo>
                      <a:pt x="898" y="557"/>
                    </a:lnTo>
                    <a:lnTo>
                      <a:pt x="894" y="557"/>
                    </a:lnTo>
                    <a:lnTo>
                      <a:pt x="894" y="555"/>
                    </a:lnTo>
                    <a:lnTo>
                      <a:pt x="896" y="553"/>
                    </a:lnTo>
                    <a:lnTo>
                      <a:pt x="900" y="553"/>
                    </a:lnTo>
                    <a:lnTo>
                      <a:pt x="904" y="547"/>
                    </a:lnTo>
                    <a:lnTo>
                      <a:pt x="908" y="541"/>
                    </a:lnTo>
                    <a:lnTo>
                      <a:pt x="909" y="541"/>
                    </a:lnTo>
                    <a:lnTo>
                      <a:pt x="913" y="541"/>
                    </a:lnTo>
                    <a:lnTo>
                      <a:pt x="913" y="537"/>
                    </a:lnTo>
                    <a:lnTo>
                      <a:pt x="913" y="535"/>
                    </a:lnTo>
                    <a:lnTo>
                      <a:pt x="915" y="535"/>
                    </a:lnTo>
                    <a:lnTo>
                      <a:pt x="919" y="535"/>
                    </a:lnTo>
                    <a:lnTo>
                      <a:pt x="929" y="524"/>
                    </a:lnTo>
                    <a:lnTo>
                      <a:pt x="931" y="522"/>
                    </a:lnTo>
                    <a:lnTo>
                      <a:pt x="932" y="520"/>
                    </a:lnTo>
                    <a:lnTo>
                      <a:pt x="934" y="516"/>
                    </a:lnTo>
                    <a:lnTo>
                      <a:pt x="938" y="514"/>
                    </a:lnTo>
                    <a:lnTo>
                      <a:pt x="961" y="514"/>
                    </a:lnTo>
                    <a:lnTo>
                      <a:pt x="980" y="514"/>
                    </a:lnTo>
                    <a:lnTo>
                      <a:pt x="982" y="512"/>
                    </a:lnTo>
                    <a:lnTo>
                      <a:pt x="988" y="511"/>
                    </a:lnTo>
                    <a:lnTo>
                      <a:pt x="990" y="512"/>
                    </a:lnTo>
                    <a:lnTo>
                      <a:pt x="994" y="514"/>
                    </a:lnTo>
                    <a:lnTo>
                      <a:pt x="994" y="512"/>
                    </a:lnTo>
                    <a:lnTo>
                      <a:pt x="998" y="511"/>
                    </a:lnTo>
                    <a:lnTo>
                      <a:pt x="1000" y="512"/>
                    </a:lnTo>
                    <a:lnTo>
                      <a:pt x="1002" y="516"/>
                    </a:lnTo>
                    <a:lnTo>
                      <a:pt x="1003" y="516"/>
                    </a:lnTo>
                    <a:lnTo>
                      <a:pt x="1007" y="516"/>
                    </a:lnTo>
                    <a:lnTo>
                      <a:pt x="1007" y="512"/>
                    </a:lnTo>
                    <a:lnTo>
                      <a:pt x="1011" y="514"/>
                    </a:lnTo>
                    <a:lnTo>
                      <a:pt x="1017" y="514"/>
                    </a:lnTo>
                    <a:lnTo>
                      <a:pt x="1017" y="511"/>
                    </a:lnTo>
                    <a:lnTo>
                      <a:pt x="1021" y="511"/>
                    </a:lnTo>
                    <a:lnTo>
                      <a:pt x="1025" y="511"/>
                    </a:lnTo>
                    <a:lnTo>
                      <a:pt x="1025" y="507"/>
                    </a:lnTo>
                    <a:lnTo>
                      <a:pt x="1026" y="505"/>
                    </a:lnTo>
                    <a:lnTo>
                      <a:pt x="1030" y="503"/>
                    </a:lnTo>
                    <a:lnTo>
                      <a:pt x="1036" y="501"/>
                    </a:lnTo>
                    <a:lnTo>
                      <a:pt x="1036" y="495"/>
                    </a:lnTo>
                    <a:lnTo>
                      <a:pt x="1038" y="489"/>
                    </a:lnTo>
                    <a:lnTo>
                      <a:pt x="1046" y="486"/>
                    </a:lnTo>
                    <a:lnTo>
                      <a:pt x="1055" y="484"/>
                    </a:lnTo>
                    <a:lnTo>
                      <a:pt x="1055" y="486"/>
                    </a:lnTo>
                    <a:lnTo>
                      <a:pt x="1059" y="486"/>
                    </a:lnTo>
                    <a:lnTo>
                      <a:pt x="1067" y="480"/>
                    </a:lnTo>
                    <a:lnTo>
                      <a:pt x="1074" y="472"/>
                    </a:lnTo>
                    <a:lnTo>
                      <a:pt x="1073" y="453"/>
                    </a:lnTo>
                    <a:lnTo>
                      <a:pt x="1071" y="453"/>
                    </a:lnTo>
                    <a:lnTo>
                      <a:pt x="1067" y="455"/>
                    </a:lnTo>
                    <a:lnTo>
                      <a:pt x="1063" y="453"/>
                    </a:lnTo>
                    <a:lnTo>
                      <a:pt x="1059" y="449"/>
                    </a:lnTo>
                    <a:lnTo>
                      <a:pt x="1053" y="445"/>
                    </a:lnTo>
                    <a:lnTo>
                      <a:pt x="1046" y="445"/>
                    </a:lnTo>
                    <a:lnTo>
                      <a:pt x="1046" y="447"/>
                    </a:lnTo>
                    <a:lnTo>
                      <a:pt x="1048" y="449"/>
                    </a:lnTo>
                    <a:lnTo>
                      <a:pt x="1042" y="449"/>
                    </a:lnTo>
                    <a:lnTo>
                      <a:pt x="1038" y="451"/>
                    </a:lnTo>
                    <a:lnTo>
                      <a:pt x="1028" y="455"/>
                    </a:lnTo>
                    <a:lnTo>
                      <a:pt x="1021" y="459"/>
                    </a:lnTo>
                    <a:lnTo>
                      <a:pt x="1021" y="463"/>
                    </a:lnTo>
                    <a:lnTo>
                      <a:pt x="1017" y="463"/>
                    </a:lnTo>
                    <a:lnTo>
                      <a:pt x="1015" y="461"/>
                    </a:lnTo>
                    <a:lnTo>
                      <a:pt x="1015" y="457"/>
                    </a:lnTo>
                    <a:lnTo>
                      <a:pt x="1015" y="455"/>
                    </a:lnTo>
                    <a:lnTo>
                      <a:pt x="1021" y="455"/>
                    </a:lnTo>
                    <a:lnTo>
                      <a:pt x="1026" y="455"/>
                    </a:lnTo>
                    <a:lnTo>
                      <a:pt x="1032" y="449"/>
                    </a:lnTo>
                    <a:lnTo>
                      <a:pt x="1038" y="445"/>
                    </a:lnTo>
                    <a:lnTo>
                      <a:pt x="1044" y="443"/>
                    </a:lnTo>
                    <a:lnTo>
                      <a:pt x="1050" y="443"/>
                    </a:lnTo>
                    <a:lnTo>
                      <a:pt x="1051" y="440"/>
                    </a:lnTo>
                    <a:lnTo>
                      <a:pt x="1055" y="436"/>
                    </a:lnTo>
                    <a:lnTo>
                      <a:pt x="1051" y="436"/>
                    </a:lnTo>
                    <a:lnTo>
                      <a:pt x="1050" y="438"/>
                    </a:lnTo>
                    <a:lnTo>
                      <a:pt x="1048" y="434"/>
                    </a:lnTo>
                    <a:lnTo>
                      <a:pt x="1050" y="432"/>
                    </a:lnTo>
                    <a:lnTo>
                      <a:pt x="1048" y="432"/>
                    </a:lnTo>
                    <a:lnTo>
                      <a:pt x="1048" y="430"/>
                    </a:lnTo>
                    <a:lnTo>
                      <a:pt x="1046" y="430"/>
                    </a:lnTo>
                    <a:lnTo>
                      <a:pt x="1046" y="432"/>
                    </a:lnTo>
                    <a:lnTo>
                      <a:pt x="1042" y="434"/>
                    </a:lnTo>
                    <a:lnTo>
                      <a:pt x="1038" y="432"/>
                    </a:lnTo>
                    <a:lnTo>
                      <a:pt x="1036" y="430"/>
                    </a:lnTo>
                    <a:lnTo>
                      <a:pt x="1036" y="428"/>
                    </a:lnTo>
                    <a:lnTo>
                      <a:pt x="1036" y="424"/>
                    </a:lnTo>
                    <a:lnTo>
                      <a:pt x="1030" y="426"/>
                    </a:lnTo>
                    <a:lnTo>
                      <a:pt x="1026" y="426"/>
                    </a:lnTo>
                    <a:lnTo>
                      <a:pt x="1023" y="426"/>
                    </a:lnTo>
                    <a:lnTo>
                      <a:pt x="1015" y="424"/>
                    </a:lnTo>
                    <a:lnTo>
                      <a:pt x="1015" y="420"/>
                    </a:lnTo>
                    <a:lnTo>
                      <a:pt x="1015" y="415"/>
                    </a:lnTo>
                    <a:lnTo>
                      <a:pt x="1013" y="415"/>
                    </a:lnTo>
                    <a:lnTo>
                      <a:pt x="1009" y="411"/>
                    </a:lnTo>
                    <a:lnTo>
                      <a:pt x="1007" y="409"/>
                    </a:lnTo>
                    <a:lnTo>
                      <a:pt x="1003" y="409"/>
                    </a:lnTo>
                    <a:lnTo>
                      <a:pt x="1002" y="409"/>
                    </a:lnTo>
                    <a:lnTo>
                      <a:pt x="998" y="399"/>
                    </a:lnTo>
                    <a:lnTo>
                      <a:pt x="996" y="401"/>
                    </a:lnTo>
                    <a:lnTo>
                      <a:pt x="994" y="401"/>
                    </a:lnTo>
                    <a:lnTo>
                      <a:pt x="994" y="397"/>
                    </a:lnTo>
                    <a:lnTo>
                      <a:pt x="996" y="393"/>
                    </a:lnTo>
                    <a:lnTo>
                      <a:pt x="992" y="393"/>
                    </a:lnTo>
                    <a:lnTo>
                      <a:pt x="992" y="392"/>
                    </a:lnTo>
                    <a:lnTo>
                      <a:pt x="1000" y="392"/>
                    </a:lnTo>
                    <a:lnTo>
                      <a:pt x="1005" y="392"/>
                    </a:lnTo>
                    <a:lnTo>
                      <a:pt x="1005" y="388"/>
                    </a:lnTo>
                    <a:lnTo>
                      <a:pt x="1005" y="386"/>
                    </a:lnTo>
                    <a:lnTo>
                      <a:pt x="1000" y="384"/>
                    </a:lnTo>
                    <a:lnTo>
                      <a:pt x="996" y="382"/>
                    </a:lnTo>
                    <a:lnTo>
                      <a:pt x="996" y="378"/>
                    </a:lnTo>
                    <a:lnTo>
                      <a:pt x="996" y="372"/>
                    </a:lnTo>
                    <a:lnTo>
                      <a:pt x="994" y="372"/>
                    </a:lnTo>
                    <a:lnTo>
                      <a:pt x="988" y="369"/>
                    </a:lnTo>
                    <a:lnTo>
                      <a:pt x="986" y="365"/>
                    </a:lnTo>
                    <a:lnTo>
                      <a:pt x="986" y="361"/>
                    </a:lnTo>
                    <a:lnTo>
                      <a:pt x="988" y="359"/>
                    </a:lnTo>
                    <a:lnTo>
                      <a:pt x="980" y="359"/>
                    </a:lnTo>
                    <a:lnTo>
                      <a:pt x="975" y="359"/>
                    </a:lnTo>
                    <a:lnTo>
                      <a:pt x="979" y="355"/>
                    </a:lnTo>
                    <a:lnTo>
                      <a:pt x="984" y="353"/>
                    </a:lnTo>
                    <a:lnTo>
                      <a:pt x="980" y="347"/>
                    </a:lnTo>
                    <a:lnTo>
                      <a:pt x="979" y="342"/>
                    </a:lnTo>
                    <a:lnTo>
                      <a:pt x="975" y="342"/>
                    </a:lnTo>
                    <a:lnTo>
                      <a:pt x="971" y="342"/>
                    </a:lnTo>
                    <a:lnTo>
                      <a:pt x="969" y="340"/>
                    </a:lnTo>
                    <a:lnTo>
                      <a:pt x="969" y="338"/>
                    </a:lnTo>
                    <a:lnTo>
                      <a:pt x="969" y="332"/>
                    </a:lnTo>
                    <a:lnTo>
                      <a:pt x="967" y="328"/>
                    </a:lnTo>
                    <a:lnTo>
                      <a:pt x="969" y="322"/>
                    </a:lnTo>
                    <a:lnTo>
                      <a:pt x="965" y="321"/>
                    </a:lnTo>
                    <a:lnTo>
                      <a:pt x="965" y="315"/>
                    </a:lnTo>
                    <a:lnTo>
                      <a:pt x="967" y="313"/>
                    </a:lnTo>
                    <a:lnTo>
                      <a:pt x="963" y="313"/>
                    </a:lnTo>
                    <a:lnTo>
                      <a:pt x="961" y="313"/>
                    </a:lnTo>
                    <a:lnTo>
                      <a:pt x="955" y="324"/>
                    </a:lnTo>
                    <a:lnTo>
                      <a:pt x="952" y="338"/>
                    </a:lnTo>
                    <a:lnTo>
                      <a:pt x="950" y="336"/>
                    </a:lnTo>
                    <a:lnTo>
                      <a:pt x="950" y="332"/>
                    </a:lnTo>
                    <a:lnTo>
                      <a:pt x="946" y="334"/>
                    </a:lnTo>
                    <a:lnTo>
                      <a:pt x="944" y="336"/>
                    </a:lnTo>
                    <a:lnTo>
                      <a:pt x="944" y="338"/>
                    </a:lnTo>
                    <a:lnTo>
                      <a:pt x="944" y="342"/>
                    </a:lnTo>
                    <a:lnTo>
                      <a:pt x="942" y="340"/>
                    </a:lnTo>
                    <a:lnTo>
                      <a:pt x="940" y="340"/>
                    </a:lnTo>
                    <a:lnTo>
                      <a:pt x="938" y="344"/>
                    </a:lnTo>
                    <a:lnTo>
                      <a:pt x="938" y="347"/>
                    </a:lnTo>
                    <a:lnTo>
                      <a:pt x="932" y="349"/>
                    </a:lnTo>
                    <a:lnTo>
                      <a:pt x="929" y="353"/>
                    </a:lnTo>
                    <a:lnTo>
                      <a:pt x="925" y="349"/>
                    </a:lnTo>
                    <a:lnTo>
                      <a:pt x="921" y="345"/>
                    </a:lnTo>
                    <a:lnTo>
                      <a:pt x="919" y="347"/>
                    </a:lnTo>
                    <a:lnTo>
                      <a:pt x="915" y="349"/>
                    </a:lnTo>
                    <a:lnTo>
                      <a:pt x="913" y="344"/>
                    </a:lnTo>
                    <a:lnTo>
                      <a:pt x="913" y="340"/>
                    </a:lnTo>
                    <a:lnTo>
                      <a:pt x="908" y="340"/>
                    </a:lnTo>
                    <a:lnTo>
                      <a:pt x="904" y="340"/>
                    </a:lnTo>
                    <a:lnTo>
                      <a:pt x="900" y="338"/>
                    </a:lnTo>
                    <a:lnTo>
                      <a:pt x="896" y="336"/>
                    </a:lnTo>
                    <a:lnTo>
                      <a:pt x="896" y="324"/>
                    </a:lnTo>
                    <a:lnTo>
                      <a:pt x="894" y="315"/>
                    </a:lnTo>
                    <a:lnTo>
                      <a:pt x="896" y="315"/>
                    </a:lnTo>
                    <a:lnTo>
                      <a:pt x="900" y="313"/>
                    </a:lnTo>
                    <a:lnTo>
                      <a:pt x="898" y="311"/>
                    </a:lnTo>
                    <a:lnTo>
                      <a:pt x="896" y="311"/>
                    </a:lnTo>
                    <a:lnTo>
                      <a:pt x="900" y="303"/>
                    </a:lnTo>
                    <a:lnTo>
                      <a:pt x="904" y="298"/>
                    </a:lnTo>
                    <a:lnTo>
                      <a:pt x="900" y="299"/>
                    </a:lnTo>
                    <a:lnTo>
                      <a:pt x="898" y="301"/>
                    </a:lnTo>
                    <a:lnTo>
                      <a:pt x="894" y="299"/>
                    </a:lnTo>
                    <a:lnTo>
                      <a:pt x="888" y="299"/>
                    </a:lnTo>
                    <a:lnTo>
                      <a:pt x="888" y="296"/>
                    </a:lnTo>
                    <a:lnTo>
                      <a:pt x="890" y="296"/>
                    </a:lnTo>
                    <a:lnTo>
                      <a:pt x="890" y="294"/>
                    </a:lnTo>
                    <a:lnTo>
                      <a:pt x="892" y="292"/>
                    </a:lnTo>
                    <a:lnTo>
                      <a:pt x="883" y="292"/>
                    </a:lnTo>
                    <a:lnTo>
                      <a:pt x="873" y="292"/>
                    </a:lnTo>
                    <a:lnTo>
                      <a:pt x="873" y="288"/>
                    </a:lnTo>
                    <a:lnTo>
                      <a:pt x="873" y="286"/>
                    </a:lnTo>
                    <a:lnTo>
                      <a:pt x="869" y="286"/>
                    </a:lnTo>
                    <a:lnTo>
                      <a:pt x="869" y="282"/>
                    </a:lnTo>
                    <a:lnTo>
                      <a:pt x="860" y="273"/>
                    </a:lnTo>
                    <a:lnTo>
                      <a:pt x="850" y="267"/>
                    </a:lnTo>
                    <a:lnTo>
                      <a:pt x="846" y="267"/>
                    </a:lnTo>
                    <a:lnTo>
                      <a:pt x="842" y="269"/>
                    </a:lnTo>
                    <a:lnTo>
                      <a:pt x="840" y="271"/>
                    </a:lnTo>
                    <a:lnTo>
                      <a:pt x="838" y="274"/>
                    </a:lnTo>
                    <a:lnTo>
                      <a:pt x="833" y="274"/>
                    </a:lnTo>
                    <a:lnTo>
                      <a:pt x="829" y="274"/>
                    </a:lnTo>
                    <a:lnTo>
                      <a:pt x="829" y="278"/>
                    </a:lnTo>
                    <a:lnTo>
                      <a:pt x="817" y="276"/>
                    </a:lnTo>
                    <a:lnTo>
                      <a:pt x="808" y="274"/>
                    </a:lnTo>
                    <a:lnTo>
                      <a:pt x="800" y="274"/>
                    </a:lnTo>
                    <a:lnTo>
                      <a:pt x="794" y="276"/>
                    </a:lnTo>
                    <a:lnTo>
                      <a:pt x="792" y="282"/>
                    </a:lnTo>
                    <a:lnTo>
                      <a:pt x="794" y="282"/>
                    </a:lnTo>
                    <a:lnTo>
                      <a:pt x="800" y="284"/>
                    </a:lnTo>
                    <a:lnTo>
                      <a:pt x="800" y="288"/>
                    </a:lnTo>
                    <a:lnTo>
                      <a:pt x="796" y="288"/>
                    </a:lnTo>
                    <a:lnTo>
                      <a:pt x="796" y="290"/>
                    </a:lnTo>
                    <a:lnTo>
                      <a:pt x="798" y="294"/>
                    </a:lnTo>
                    <a:lnTo>
                      <a:pt x="794" y="298"/>
                    </a:lnTo>
                    <a:lnTo>
                      <a:pt x="792" y="301"/>
                    </a:lnTo>
                    <a:lnTo>
                      <a:pt x="790" y="301"/>
                    </a:lnTo>
                    <a:lnTo>
                      <a:pt x="792" y="305"/>
                    </a:lnTo>
                    <a:lnTo>
                      <a:pt x="794" y="305"/>
                    </a:lnTo>
                    <a:lnTo>
                      <a:pt x="798" y="305"/>
                    </a:lnTo>
                    <a:lnTo>
                      <a:pt x="796" y="311"/>
                    </a:lnTo>
                    <a:lnTo>
                      <a:pt x="796" y="313"/>
                    </a:lnTo>
                    <a:lnTo>
                      <a:pt x="796" y="317"/>
                    </a:lnTo>
                    <a:lnTo>
                      <a:pt x="802" y="321"/>
                    </a:lnTo>
                    <a:lnTo>
                      <a:pt x="802" y="322"/>
                    </a:lnTo>
                    <a:lnTo>
                      <a:pt x="800" y="324"/>
                    </a:lnTo>
                    <a:lnTo>
                      <a:pt x="798" y="326"/>
                    </a:lnTo>
                    <a:lnTo>
                      <a:pt x="798" y="328"/>
                    </a:lnTo>
                    <a:lnTo>
                      <a:pt x="794" y="326"/>
                    </a:lnTo>
                    <a:lnTo>
                      <a:pt x="792" y="326"/>
                    </a:lnTo>
                    <a:lnTo>
                      <a:pt x="794" y="330"/>
                    </a:lnTo>
                    <a:lnTo>
                      <a:pt x="796" y="332"/>
                    </a:lnTo>
                    <a:lnTo>
                      <a:pt x="796" y="336"/>
                    </a:lnTo>
                    <a:lnTo>
                      <a:pt x="790" y="336"/>
                    </a:lnTo>
                    <a:lnTo>
                      <a:pt x="785" y="338"/>
                    </a:lnTo>
                    <a:lnTo>
                      <a:pt x="785" y="344"/>
                    </a:lnTo>
                    <a:lnTo>
                      <a:pt x="785" y="349"/>
                    </a:lnTo>
                    <a:lnTo>
                      <a:pt x="790" y="351"/>
                    </a:lnTo>
                    <a:lnTo>
                      <a:pt x="796" y="353"/>
                    </a:lnTo>
                    <a:lnTo>
                      <a:pt x="800" y="363"/>
                    </a:lnTo>
                    <a:lnTo>
                      <a:pt x="804" y="374"/>
                    </a:lnTo>
                    <a:lnTo>
                      <a:pt x="808" y="376"/>
                    </a:lnTo>
                    <a:lnTo>
                      <a:pt x="812" y="380"/>
                    </a:lnTo>
                    <a:lnTo>
                      <a:pt x="810" y="388"/>
                    </a:lnTo>
                    <a:lnTo>
                      <a:pt x="808" y="399"/>
                    </a:lnTo>
                    <a:lnTo>
                      <a:pt x="808" y="397"/>
                    </a:lnTo>
                    <a:lnTo>
                      <a:pt x="812" y="395"/>
                    </a:lnTo>
                    <a:lnTo>
                      <a:pt x="812" y="399"/>
                    </a:lnTo>
                    <a:lnTo>
                      <a:pt x="813" y="403"/>
                    </a:lnTo>
                    <a:lnTo>
                      <a:pt x="810" y="403"/>
                    </a:lnTo>
                    <a:lnTo>
                      <a:pt x="808" y="403"/>
                    </a:lnTo>
                    <a:lnTo>
                      <a:pt x="804" y="409"/>
                    </a:lnTo>
                    <a:lnTo>
                      <a:pt x="802" y="415"/>
                    </a:lnTo>
                    <a:lnTo>
                      <a:pt x="790" y="424"/>
                    </a:lnTo>
                    <a:lnTo>
                      <a:pt x="777" y="432"/>
                    </a:lnTo>
                    <a:lnTo>
                      <a:pt x="779" y="447"/>
                    </a:lnTo>
                    <a:lnTo>
                      <a:pt x="783" y="463"/>
                    </a:lnTo>
                    <a:lnTo>
                      <a:pt x="783" y="476"/>
                    </a:lnTo>
                    <a:lnTo>
                      <a:pt x="781" y="491"/>
                    </a:lnTo>
                    <a:lnTo>
                      <a:pt x="777" y="491"/>
                    </a:lnTo>
                    <a:lnTo>
                      <a:pt x="775" y="491"/>
                    </a:lnTo>
                    <a:lnTo>
                      <a:pt x="771" y="493"/>
                    </a:lnTo>
                    <a:lnTo>
                      <a:pt x="769" y="497"/>
                    </a:lnTo>
                    <a:lnTo>
                      <a:pt x="767" y="497"/>
                    </a:lnTo>
                    <a:lnTo>
                      <a:pt x="762" y="495"/>
                    </a:lnTo>
                    <a:lnTo>
                      <a:pt x="754" y="489"/>
                    </a:lnTo>
                    <a:lnTo>
                      <a:pt x="748" y="482"/>
                    </a:lnTo>
                    <a:lnTo>
                      <a:pt x="748" y="478"/>
                    </a:lnTo>
                    <a:lnTo>
                      <a:pt x="748" y="472"/>
                    </a:lnTo>
                    <a:lnTo>
                      <a:pt x="744" y="470"/>
                    </a:lnTo>
                    <a:lnTo>
                      <a:pt x="741" y="468"/>
                    </a:lnTo>
                    <a:lnTo>
                      <a:pt x="741" y="463"/>
                    </a:lnTo>
                    <a:lnTo>
                      <a:pt x="741" y="459"/>
                    </a:lnTo>
                    <a:lnTo>
                      <a:pt x="737" y="457"/>
                    </a:lnTo>
                    <a:lnTo>
                      <a:pt x="739" y="455"/>
                    </a:lnTo>
                    <a:lnTo>
                      <a:pt x="739" y="453"/>
                    </a:lnTo>
                    <a:lnTo>
                      <a:pt x="741" y="453"/>
                    </a:lnTo>
                    <a:lnTo>
                      <a:pt x="739" y="451"/>
                    </a:lnTo>
                    <a:lnTo>
                      <a:pt x="739" y="449"/>
                    </a:lnTo>
                    <a:lnTo>
                      <a:pt x="739" y="447"/>
                    </a:lnTo>
                    <a:lnTo>
                      <a:pt x="741" y="447"/>
                    </a:lnTo>
                    <a:lnTo>
                      <a:pt x="741" y="440"/>
                    </a:lnTo>
                    <a:lnTo>
                      <a:pt x="742" y="436"/>
                    </a:lnTo>
                    <a:lnTo>
                      <a:pt x="741" y="434"/>
                    </a:lnTo>
                    <a:lnTo>
                      <a:pt x="741" y="430"/>
                    </a:lnTo>
                    <a:lnTo>
                      <a:pt x="741" y="428"/>
                    </a:lnTo>
                    <a:lnTo>
                      <a:pt x="741" y="424"/>
                    </a:lnTo>
                    <a:lnTo>
                      <a:pt x="725" y="420"/>
                    </a:lnTo>
                    <a:lnTo>
                      <a:pt x="710" y="422"/>
                    </a:lnTo>
                    <a:lnTo>
                      <a:pt x="702" y="418"/>
                    </a:lnTo>
                    <a:lnTo>
                      <a:pt x="696" y="413"/>
                    </a:lnTo>
                    <a:lnTo>
                      <a:pt x="685" y="409"/>
                    </a:lnTo>
                    <a:lnTo>
                      <a:pt x="675" y="407"/>
                    </a:lnTo>
                    <a:lnTo>
                      <a:pt x="673" y="399"/>
                    </a:lnTo>
                    <a:lnTo>
                      <a:pt x="671" y="393"/>
                    </a:lnTo>
                    <a:lnTo>
                      <a:pt x="666" y="392"/>
                    </a:lnTo>
                    <a:lnTo>
                      <a:pt x="662" y="392"/>
                    </a:lnTo>
                    <a:lnTo>
                      <a:pt x="656" y="388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45" y="384"/>
                    </a:lnTo>
                    <a:lnTo>
                      <a:pt x="639" y="380"/>
                    </a:lnTo>
                    <a:lnTo>
                      <a:pt x="637" y="378"/>
                    </a:lnTo>
                    <a:lnTo>
                      <a:pt x="631" y="376"/>
                    </a:lnTo>
                    <a:lnTo>
                      <a:pt x="625" y="378"/>
                    </a:lnTo>
                    <a:lnTo>
                      <a:pt x="620" y="380"/>
                    </a:lnTo>
                    <a:lnTo>
                      <a:pt x="616" y="382"/>
                    </a:lnTo>
                    <a:lnTo>
                      <a:pt x="610" y="365"/>
                    </a:lnTo>
                    <a:lnTo>
                      <a:pt x="602" y="345"/>
                    </a:lnTo>
                    <a:lnTo>
                      <a:pt x="593" y="345"/>
                    </a:lnTo>
                    <a:lnTo>
                      <a:pt x="589" y="347"/>
                    </a:lnTo>
                    <a:lnTo>
                      <a:pt x="585" y="345"/>
                    </a:lnTo>
                    <a:lnTo>
                      <a:pt x="583" y="338"/>
                    </a:lnTo>
                    <a:lnTo>
                      <a:pt x="579" y="334"/>
                    </a:lnTo>
                    <a:lnTo>
                      <a:pt x="579" y="326"/>
                    </a:lnTo>
                    <a:lnTo>
                      <a:pt x="581" y="319"/>
                    </a:lnTo>
                    <a:lnTo>
                      <a:pt x="583" y="317"/>
                    </a:lnTo>
                    <a:lnTo>
                      <a:pt x="587" y="315"/>
                    </a:lnTo>
                    <a:lnTo>
                      <a:pt x="585" y="311"/>
                    </a:lnTo>
                    <a:lnTo>
                      <a:pt x="585" y="307"/>
                    </a:lnTo>
                    <a:lnTo>
                      <a:pt x="587" y="307"/>
                    </a:lnTo>
                    <a:lnTo>
                      <a:pt x="591" y="307"/>
                    </a:lnTo>
                    <a:lnTo>
                      <a:pt x="591" y="301"/>
                    </a:lnTo>
                    <a:lnTo>
                      <a:pt x="591" y="298"/>
                    </a:lnTo>
                    <a:lnTo>
                      <a:pt x="595" y="294"/>
                    </a:lnTo>
                    <a:lnTo>
                      <a:pt x="599" y="290"/>
                    </a:lnTo>
                    <a:lnTo>
                      <a:pt x="599" y="288"/>
                    </a:lnTo>
                    <a:lnTo>
                      <a:pt x="602" y="288"/>
                    </a:lnTo>
                    <a:lnTo>
                      <a:pt x="606" y="288"/>
                    </a:lnTo>
                    <a:lnTo>
                      <a:pt x="606" y="282"/>
                    </a:lnTo>
                    <a:lnTo>
                      <a:pt x="606" y="278"/>
                    </a:lnTo>
                    <a:lnTo>
                      <a:pt x="608" y="276"/>
                    </a:lnTo>
                    <a:lnTo>
                      <a:pt x="610" y="274"/>
                    </a:lnTo>
                    <a:lnTo>
                      <a:pt x="612" y="276"/>
                    </a:lnTo>
                    <a:lnTo>
                      <a:pt x="618" y="276"/>
                    </a:lnTo>
                    <a:lnTo>
                      <a:pt x="616" y="274"/>
                    </a:lnTo>
                    <a:lnTo>
                      <a:pt x="614" y="273"/>
                    </a:lnTo>
                    <a:lnTo>
                      <a:pt x="618" y="271"/>
                    </a:lnTo>
                    <a:lnTo>
                      <a:pt x="622" y="269"/>
                    </a:lnTo>
                    <a:lnTo>
                      <a:pt x="618" y="269"/>
                    </a:lnTo>
                    <a:lnTo>
                      <a:pt x="618" y="267"/>
                    </a:lnTo>
                    <a:lnTo>
                      <a:pt x="623" y="267"/>
                    </a:lnTo>
                    <a:lnTo>
                      <a:pt x="629" y="269"/>
                    </a:lnTo>
                    <a:lnTo>
                      <a:pt x="633" y="265"/>
                    </a:lnTo>
                    <a:lnTo>
                      <a:pt x="637" y="263"/>
                    </a:lnTo>
                    <a:lnTo>
                      <a:pt x="637" y="259"/>
                    </a:lnTo>
                    <a:lnTo>
                      <a:pt x="639" y="257"/>
                    </a:lnTo>
                    <a:lnTo>
                      <a:pt x="635" y="255"/>
                    </a:lnTo>
                    <a:lnTo>
                      <a:pt x="633" y="253"/>
                    </a:lnTo>
                    <a:lnTo>
                      <a:pt x="633" y="250"/>
                    </a:lnTo>
                    <a:lnTo>
                      <a:pt x="637" y="251"/>
                    </a:lnTo>
                    <a:lnTo>
                      <a:pt x="641" y="251"/>
                    </a:lnTo>
                    <a:lnTo>
                      <a:pt x="641" y="244"/>
                    </a:lnTo>
                    <a:lnTo>
                      <a:pt x="643" y="236"/>
                    </a:lnTo>
                    <a:lnTo>
                      <a:pt x="646" y="236"/>
                    </a:lnTo>
                    <a:lnTo>
                      <a:pt x="650" y="236"/>
                    </a:lnTo>
                    <a:lnTo>
                      <a:pt x="650" y="232"/>
                    </a:lnTo>
                    <a:lnTo>
                      <a:pt x="652" y="232"/>
                    </a:lnTo>
                    <a:lnTo>
                      <a:pt x="658" y="232"/>
                    </a:lnTo>
                    <a:lnTo>
                      <a:pt x="660" y="236"/>
                    </a:lnTo>
                    <a:lnTo>
                      <a:pt x="662" y="236"/>
                    </a:lnTo>
                    <a:lnTo>
                      <a:pt x="671" y="232"/>
                    </a:lnTo>
                    <a:lnTo>
                      <a:pt x="673" y="232"/>
                    </a:lnTo>
                    <a:lnTo>
                      <a:pt x="677" y="230"/>
                    </a:lnTo>
                    <a:lnTo>
                      <a:pt x="677" y="227"/>
                    </a:lnTo>
                    <a:lnTo>
                      <a:pt x="675" y="223"/>
                    </a:lnTo>
                    <a:lnTo>
                      <a:pt x="677" y="221"/>
                    </a:lnTo>
                    <a:lnTo>
                      <a:pt x="677" y="219"/>
                    </a:lnTo>
                    <a:lnTo>
                      <a:pt x="679" y="219"/>
                    </a:lnTo>
                    <a:lnTo>
                      <a:pt x="679" y="217"/>
                    </a:lnTo>
                    <a:lnTo>
                      <a:pt x="679" y="215"/>
                    </a:lnTo>
                    <a:lnTo>
                      <a:pt x="679" y="215"/>
                    </a:lnTo>
                    <a:lnTo>
                      <a:pt x="660" y="213"/>
                    </a:lnTo>
                    <a:lnTo>
                      <a:pt x="639" y="213"/>
                    </a:lnTo>
                    <a:lnTo>
                      <a:pt x="645" y="211"/>
                    </a:lnTo>
                    <a:lnTo>
                      <a:pt x="648" y="209"/>
                    </a:lnTo>
                    <a:lnTo>
                      <a:pt x="648" y="207"/>
                    </a:lnTo>
                    <a:lnTo>
                      <a:pt x="650" y="202"/>
                    </a:lnTo>
                    <a:lnTo>
                      <a:pt x="652" y="202"/>
                    </a:lnTo>
                    <a:lnTo>
                      <a:pt x="652" y="205"/>
                    </a:lnTo>
                    <a:lnTo>
                      <a:pt x="662" y="205"/>
                    </a:lnTo>
                    <a:lnTo>
                      <a:pt x="670" y="205"/>
                    </a:lnTo>
                    <a:lnTo>
                      <a:pt x="677" y="209"/>
                    </a:lnTo>
                    <a:lnTo>
                      <a:pt x="685" y="215"/>
                    </a:lnTo>
                    <a:lnTo>
                      <a:pt x="685" y="211"/>
                    </a:lnTo>
                    <a:lnTo>
                      <a:pt x="685" y="209"/>
                    </a:lnTo>
                    <a:lnTo>
                      <a:pt x="687" y="207"/>
                    </a:lnTo>
                    <a:lnTo>
                      <a:pt x="691" y="205"/>
                    </a:lnTo>
                    <a:lnTo>
                      <a:pt x="687" y="198"/>
                    </a:lnTo>
                    <a:lnTo>
                      <a:pt x="687" y="192"/>
                    </a:lnTo>
                    <a:lnTo>
                      <a:pt x="693" y="190"/>
                    </a:lnTo>
                    <a:lnTo>
                      <a:pt x="698" y="190"/>
                    </a:lnTo>
                    <a:lnTo>
                      <a:pt x="702" y="196"/>
                    </a:lnTo>
                    <a:lnTo>
                      <a:pt x="712" y="200"/>
                    </a:lnTo>
                    <a:lnTo>
                      <a:pt x="718" y="200"/>
                    </a:lnTo>
                    <a:lnTo>
                      <a:pt x="718" y="198"/>
                    </a:lnTo>
                    <a:lnTo>
                      <a:pt x="716" y="194"/>
                    </a:lnTo>
                    <a:lnTo>
                      <a:pt x="712" y="192"/>
                    </a:lnTo>
                    <a:lnTo>
                      <a:pt x="712" y="188"/>
                    </a:lnTo>
                    <a:lnTo>
                      <a:pt x="714" y="188"/>
                    </a:lnTo>
                    <a:lnTo>
                      <a:pt x="718" y="186"/>
                    </a:lnTo>
                    <a:lnTo>
                      <a:pt x="718" y="190"/>
                    </a:lnTo>
                    <a:lnTo>
                      <a:pt x="721" y="192"/>
                    </a:lnTo>
                    <a:lnTo>
                      <a:pt x="725" y="194"/>
                    </a:lnTo>
                    <a:lnTo>
                      <a:pt x="729" y="188"/>
                    </a:lnTo>
                    <a:lnTo>
                      <a:pt x="733" y="184"/>
                    </a:lnTo>
                    <a:lnTo>
                      <a:pt x="735" y="184"/>
                    </a:lnTo>
                    <a:lnTo>
                      <a:pt x="739" y="184"/>
                    </a:lnTo>
                    <a:lnTo>
                      <a:pt x="741" y="180"/>
                    </a:lnTo>
                    <a:lnTo>
                      <a:pt x="750" y="177"/>
                    </a:lnTo>
                    <a:lnTo>
                      <a:pt x="762" y="173"/>
                    </a:lnTo>
                    <a:lnTo>
                      <a:pt x="760" y="167"/>
                    </a:lnTo>
                    <a:lnTo>
                      <a:pt x="762" y="163"/>
                    </a:lnTo>
                    <a:lnTo>
                      <a:pt x="754" y="161"/>
                    </a:lnTo>
                    <a:lnTo>
                      <a:pt x="748" y="157"/>
                    </a:lnTo>
                    <a:lnTo>
                      <a:pt x="746" y="156"/>
                    </a:lnTo>
                    <a:lnTo>
                      <a:pt x="744" y="152"/>
                    </a:lnTo>
                    <a:lnTo>
                      <a:pt x="742" y="148"/>
                    </a:lnTo>
                    <a:lnTo>
                      <a:pt x="744" y="144"/>
                    </a:lnTo>
                    <a:lnTo>
                      <a:pt x="746" y="142"/>
                    </a:lnTo>
                    <a:lnTo>
                      <a:pt x="746" y="140"/>
                    </a:lnTo>
                    <a:lnTo>
                      <a:pt x="750" y="138"/>
                    </a:lnTo>
                    <a:lnTo>
                      <a:pt x="752" y="136"/>
                    </a:lnTo>
                    <a:lnTo>
                      <a:pt x="748" y="136"/>
                    </a:lnTo>
                    <a:lnTo>
                      <a:pt x="746" y="136"/>
                    </a:lnTo>
                    <a:lnTo>
                      <a:pt x="746" y="134"/>
                    </a:lnTo>
                    <a:lnTo>
                      <a:pt x="748" y="132"/>
                    </a:lnTo>
                    <a:lnTo>
                      <a:pt x="752" y="127"/>
                    </a:lnTo>
                    <a:lnTo>
                      <a:pt x="754" y="125"/>
                    </a:lnTo>
                    <a:lnTo>
                      <a:pt x="752" y="121"/>
                    </a:lnTo>
                    <a:lnTo>
                      <a:pt x="752" y="119"/>
                    </a:lnTo>
                    <a:lnTo>
                      <a:pt x="748" y="121"/>
                    </a:lnTo>
                    <a:lnTo>
                      <a:pt x="746" y="123"/>
                    </a:lnTo>
                    <a:lnTo>
                      <a:pt x="742" y="121"/>
                    </a:lnTo>
                    <a:lnTo>
                      <a:pt x="741" y="121"/>
                    </a:lnTo>
                    <a:lnTo>
                      <a:pt x="739" y="115"/>
                    </a:lnTo>
                    <a:lnTo>
                      <a:pt x="737" y="108"/>
                    </a:lnTo>
                    <a:lnTo>
                      <a:pt x="721" y="108"/>
                    </a:lnTo>
                    <a:lnTo>
                      <a:pt x="704" y="106"/>
                    </a:lnTo>
                    <a:lnTo>
                      <a:pt x="708" y="117"/>
                    </a:lnTo>
                    <a:lnTo>
                      <a:pt x="714" y="131"/>
                    </a:lnTo>
                    <a:lnTo>
                      <a:pt x="712" y="131"/>
                    </a:lnTo>
                    <a:lnTo>
                      <a:pt x="712" y="134"/>
                    </a:lnTo>
                    <a:lnTo>
                      <a:pt x="708" y="134"/>
                    </a:lnTo>
                    <a:lnTo>
                      <a:pt x="704" y="134"/>
                    </a:lnTo>
                    <a:lnTo>
                      <a:pt x="702" y="142"/>
                    </a:lnTo>
                    <a:lnTo>
                      <a:pt x="702" y="150"/>
                    </a:lnTo>
                    <a:lnTo>
                      <a:pt x="698" y="150"/>
                    </a:lnTo>
                    <a:lnTo>
                      <a:pt x="693" y="161"/>
                    </a:lnTo>
                    <a:lnTo>
                      <a:pt x="685" y="173"/>
                    </a:lnTo>
                    <a:lnTo>
                      <a:pt x="683" y="173"/>
                    </a:lnTo>
                    <a:lnTo>
                      <a:pt x="677" y="173"/>
                    </a:lnTo>
                    <a:lnTo>
                      <a:pt x="675" y="169"/>
                    </a:lnTo>
                    <a:lnTo>
                      <a:pt x="673" y="163"/>
                    </a:lnTo>
                    <a:lnTo>
                      <a:pt x="670" y="161"/>
                    </a:lnTo>
                    <a:lnTo>
                      <a:pt x="668" y="159"/>
                    </a:lnTo>
                    <a:lnTo>
                      <a:pt x="664" y="154"/>
                    </a:lnTo>
                    <a:lnTo>
                      <a:pt x="662" y="150"/>
                    </a:lnTo>
                    <a:lnTo>
                      <a:pt x="668" y="140"/>
                    </a:lnTo>
                    <a:lnTo>
                      <a:pt x="671" y="131"/>
                    </a:lnTo>
                    <a:lnTo>
                      <a:pt x="673" y="129"/>
                    </a:lnTo>
                    <a:lnTo>
                      <a:pt x="673" y="129"/>
                    </a:lnTo>
                    <a:lnTo>
                      <a:pt x="670" y="123"/>
                    </a:lnTo>
                    <a:lnTo>
                      <a:pt x="668" y="117"/>
                    </a:lnTo>
                    <a:lnTo>
                      <a:pt x="662" y="119"/>
                    </a:lnTo>
                    <a:lnTo>
                      <a:pt x="656" y="121"/>
                    </a:lnTo>
                    <a:lnTo>
                      <a:pt x="654" y="131"/>
                    </a:lnTo>
                    <a:lnTo>
                      <a:pt x="654" y="140"/>
                    </a:lnTo>
                    <a:lnTo>
                      <a:pt x="650" y="140"/>
                    </a:lnTo>
                    <a:lnTo>
                      <a:pt x="648" y="142"/>
                    </a:lnTo>
                    <a:lnTo>
                      <a:pt x="648" y="144"/>
                    </a:lnTo>
                    <a:lnTo>
                      <a:pt x="648" y="148"/>
                    </a:lnTo>
                    <a:lnTo>
                      <a:pt x="645" y="148"/>
                    </a:lnTo>
                    <a:lnTo>
                      <a:pt x="643" y="148"/>
                    </a:lnTo>
                    <a:lnTo>
                      <a:pt x="643" y="144"/>
                    </a:lnTo>
                    <a:lnTo>
                      <a:pt x="645" y="142"/>
                    </a:lnTo>
                    <a:lnTo>
                      <a:pt x="639" y="131"/>
                    </a:lnTo>
                    <a:lnTo>
                      <a:pt x="637" y="121"/>
                    </a:lnTo>
                    <a:lnTo>
                      <a:pt x="629" y="119"/>
                    </a:lnTo>
                    <a:lnTo>
                      <a:pt x="622" y="117"/>
                    </a:lnTo>
                    <a:lnTo>
                      <a:pt x="616" y="109"/>
                    </a:lnTo>
                    <a:lnTo>
                      <a:pt x="618" y="106"/>
                    </a:lnTo>
                    <a:lnTo>
                      <a:pt x="625" y="100"/>
                    </a:lnTo>
                    <a:lnTo>
                      <a:pt x="623" y="96"/>
                    </a:lnTo>
                    <a:lnTo>
                      <a:pt x="622" y="96"/>
                    </a:lnTo>
                    <a:lnTo>
                      <a:pt x="620" y="98"/>
                    </a:lnTo>
                    <a:lnTo>
                      <a:pt x="620" y="100"/>
                    </a:lnTo>
                    <a:lnTo>
                      <a:pt x="618" y="100"/>
                    </a:lnTo>
                    <a:lnTo>
                      <a:pt x="618" y="96"/>
                    </a:lnTo>
                    <a:lnTo>
                      <a:pt x="620" y="90"/>
                    </a:lnTo>
                    <a:lnTo>
                      <a:pt x="625" y="92"/>
                    </a:lnTo>
                    <a:lnTo>
                      <a:pt x="631" y="94"/>
                    </a:lnTo>
                    <a:lnTo>
                      <a:pt x="631" y="90"/>
                    </a:lnTo>
                    <a:lnTo>
                      <a:pt x="633" y="88"/>
                    </a:lnTo>
                    <a:lnTo>
                      <a:pt x="629" y="88"/>
                    </a:lnTo>
                    <a:lnTo>
                      <a:pt x="627" y="88"/>
                    </a:lnTo>
                    <a:lnTo>
                      <a:pt x="627" y="85"/>
                    </a:lnTo>
                    <a:lnTo>
                      <a:pt x="623" y="83"/>
                    </a:lnTo>
                    <a:lnTo>
                      <a:pt x="620" y="83"/>
                    </a:lnTo>
                    <a:lnTo>
                      <a:pt x="616" y="79"/>
                    </a:lnTo>
                    <a:lnTo>
                      <a:pt x="614" y="75"/>
                    </a:lnTo>
                    <a:lnTo>
                      <a:pt x="606" y="73"/>
                    </a:lnTo>
                    <a:lnTo>
                      <a:pt x="600" y="71"/>
                    </a:lnTo>
                    <a:lnTo>
                      <a:pt x="600" y="67"/>
                    </a:lnTo>
                    <a:lnTo>
                      <a:pt x="595" y="65"/>
                    </a:lnTo>
                    <a:lnTo>
                      <a:pt x="591" y="63"/>
                    </a:lnTo>
                    <a:lnTo>
                      <a:pt x="591" y="60"/>
                    </a:lnTo>
                    <a:lnTo>
                      <a:pt x="589" y="61"/>
                    </a:lnTo>
                    <a:lnTo>
                      <a:pt x="587" y="61"/>
                    </a:lnTo>
                    <a:lnTo>
                      <a:pt x="589" y="56"/>
                    </a:lnTo>
                    <a:lnTo>
                      <a:pt x="591" y="50"/>
                    </a:lnTo>
                    <a:lnTo>
                      <a:pt x="595" y="50"/>
                    </a:lnTo>
                    <a:lnTo>
                      <a:pt x="595" y="44"/>
                    </a:lnTo>
                    <a:lnTo>
                      <a:pt x="591" y="40"/>
                    </a:lnTo>
                    <a:lnTo>
                      <a:pt x="595" y="37"/>
                    </a:lnTo>
                    <a:lnTo>
                      <a:pt x="606" y="35"/>
                    </a:lnTo>
                    <a:lnTo>
                      <a:pt x="618" y="33"/>
                    </a:lnTo>
                    <a:lnTo>
                      <a:pt x="623" y="33"/>
                    </a:lnTo>
                    <a:lnTo>
                      <a:pt x="629" y="31"/>
                    </a:lnTo>
                    <a:lnTo>
                      <a:pt x="635" y="19"/>
                    </a:lnTo>
                    <a:lnTo>
                      <a:pt x="641" y="8"/>
                    </a:lnTo>
                    <a:lnTo>
                      <a:pt x="635" y="6"/>
                    </a:lnTo>
                    <a:lnTo>
                      <a:pt x="631" y="6"/>
                    </a:lnTo>
                    <a:lnTo>
                      <a:pt x="623" y="6"/>
                    </a:lnTo>
                    <a:lnTo>
                      <a:pt x="618" y="8"/>
                    </a:lnTo>
                    <a:lnTo>
                      <a:pt x="618" y="4"/>
                    </a:lnTo>
                    <a:lnTo>
                      <a:pt x="606" y="0"/>
                    </a:lnTo>
                    <a:lnTo>
                      <a:pt x="595" y="0"/>
                    </a:lnTo>
                    <a:lnTo>
                      <a:pt x="593" y="2"/>
                    </a:lnTo>
                    <a:lnTo>
                      <a:pt x="593" y="4"/>
                    </a:lnTo>
                    <a:lnTo>
                      <a:pt x="585" y="4"/>
                    </a:lnTo>
                    <a:lnTo>
                      <a:pt x="577" y="4"/>
                    </a:lnTo>
                    <a:lnTo>
                      <a:pt x="575" y="8"/>
                    </a:lnTo>
                    <a:lnTo>
                      <a:pt x="574" y="12"/>
                    </a:lnTo>
                    <a:lnTo>
                      <a:pt x="574" y="21"/>
                    </a:lnTo>
                    <a:lnTo>
                      <a:pt x="575" y="29"/>
                    </a:lnTo>
                    <a:lnTo>
                      <a:pt x="577" y="33"/>
                    </a:lnTo>
                    <a:lnTo>
                      <a:pt x="581" y="37"/>
                    </a:lnTo>
                    <a:lnTo>
                      <a:pt x="579" y="38"/>
                    </a:lnTo>
                    <a:lnTo>
                      <a:pt x="577" y="40"/>
                    </a:lnTo>
                    <a:lnTo>
                      <a:pt x="579" y="42"/>
                    </a:lnTo>
                    <a:lnTo>
                      <a:pt x="583" y="44"/>
                    </a:lnTo>
                    <a:lnTo>
                      <a:pt x="583" y="56"/>
                    </a:lnTo>
                    <a:lnTo>
                      <a:pt x="579" y="58"/>
                    </a:lnTo>
                    <a:lnTo>
                      <a:pt x="575" y="61"/>
                    </a:lnTo>
                    <a:lnTo>
                      <a:pt x="575" y="63"/>
                    </a:lnTo>
                    <a:lnTo>
                      <a:pt x="575" y="67"/>
                    </a:lnTo>
                    <a:lnTo>
                      <a:pt x="579" y="67"/>
                    </a:lnTo>
                    <a:lnTo>
                      <a:pt x="579" y="71"/>
                    </a:lnTo>
                    <a:lnTo>
                      <a:pt x="574" y="69"/>
                    </a:lnTo>
                    <a:lnTo>
                      <a:pt x="572" y="67"/>
                    </a:lnTo>
                    <a:lnTo>
                      <a:pt x="568" y="73"/>
                    </a:lnTo>
                    <a:lnTo>
                      <a:pt x="566" y="79"/>
                    </a:lnTo>
                    <a:lnTo>
                      <a:pt x="566" y="85"/>
                    </a:lnTo>
                    <a:lnTo>
                      <a:pt x="570" y="90"/>
                    </a:lnTo>
                    <a:lnTo>
                      <a:pt x="566" y="90"/>
                    </a:lnTo>
                    <a:lnTo>
                      <a:pt x="564" y="90"/>
                    </a:lnTo>
                    <a:lnTo>
                      <a:pt x="562" y="92"/>
                    </a:lnTo>
                    <a:lnTo>
                      <a:pt x="562" y="94"/>
                    </a:lnTo>
                    <a:lnTo>
                      <a:pt x="568" y="98"/>
                    </a:lnTo>
                    <a:lnTo>
                      <a:pt x="574" y="104"/>
                    </a:lnTo>
                    <a:lnTo>
                      <a:pt x="570" y="104"/>
                    </a:lnTo>
                    <a:lnTo>
                      <a:pt x="568" y="108"/>
                    </a:lnTo>
                    <a:lnTo>
                      <a:pt x="570" y="109"/>
                    </a:lnTo>
                    <a:lnTo>
                      <a:pt x="575" y="109"/>
                    </a:lnTo>
                    <a:lnTo>
                      <a:pt x="575" y="111"/>
                    </a:lnTo>
                    <a:lnTo>
                      <a:pt x="577" y="111"/>
                    </a:lnTo>
                    <a:lnTo>
                      <a:pt x="575" y="108"/>
                    </a:lnTo>
                    <a:lnTo>
                      <a:pt x="577" y="104"/>
                    </a:lnTo>
                    <a:lnTo>
                      <a:pt x="579" y="104"/>
                    </a:lnTo>
                    <a:lnTo>
                      <a:pt x="583" y="104"/>
                    </a:lnTo>
                    <a:lnTo>
                      <a:pt x="589" y="111"/>
                    </a:lnTo>
                    <a:lnTo>
                      <a:pt x="593" y="113"/>
                    </a:lnTo>
                    <a:lnTo>
                      <a:pt x="600" y="111"/>
                    </a:lnTo>
                    <a:lnTo>
                      <a:pt x="610" y="108"/>
                    </a:lnTo>
                    <a:lnTo>
                      <a:pt x="610" y="111"/>
                    </a:lnTo>
                    <a:lnTo>
                      <a:pt x="606" y="111"/>
                    </a:lnTo>
                    <a:lnTo>
                      <a:pt x="604" y="113"/>
                    </a:lnTo>
                    <a:lnTo>
                      <a:pt x="602" y="113"/>
                    </a:lnTo>
                    <a:lnTo>
                      <a:pt x="600" y="117"/>
                    </a:lnTo>
                    <a:lnTo>
                      <a:pt x="602" y="123"/>
                    </a:lnTo>
                    <a:lnTo>
                      <a:pt x="599" y="121"/>
                    </a:lnTo>
                    <a:lnTo>
                      <a:pt x="597" y="121"/>
                    </a:lnTo>
                    <a:lnTo>
                      <a:pt x="593" y="121"/>
                    </a:lnTo>
                    <a:lnTo>
                      <a:pt x="591" y="121"/>
                    </a:lnTo>
                    <a:lnTo>
                      <a:pt x="589" y="127"/>
                    </a:lnTo>
                    <a:lnTo>
                      <a:pt x="589" y="136"/>
                    </a:lnTo>
                    <a:lnTo>
                      <a:pt x="593" y="134"/>
                    </a:lnTo>
                    <a:lnTo>
                      <a:pt x="599" y="134"/>
                    </a:lnTo>
                    <a:lnTo>
                      <a:pt x="599" y="136"/>
                    </a:lnTo>
                    <a:lnTo>
                      <a:pt x="600" y="140"/>
                    </a:lnTo>
                    <a:lnTo>
                      <a:pt x="595" y="140"/>
                    </a:lnTo>
                    <a:lnTo>
                      <a:pt x="591" y="142"/>
                    </a:lnTo>
                    <a:lnTo>
                      <a:pt x="591" y="144"/>
                    </a:lnTo>
                    <a:lnTo>
                      <a:pt x="581" y="150"/>
                    </a:lnTo>
                    <a:lnTo>
                      <a:pt x="574" y="157"/>
                    </a:lnTo>
                    <a:lnTo>
                      <a:pt x="572" y="161"/>
                    </a:lnTo>
                    <a:lnTo>
                      <a:pt x="570" y="167"/>
                    </a:lnTo>
                    <a:lnTo>
                      <a:pt x="572" y="171"/>
                    </a:lnTo>
                    <a:lnTo>
                      <a:pt x="577" y="175"/>
                    </a:lnTo>
                    <a:lnTo>
                      <a:pt x="575" y="177"/>
                    </a:lnTo>
                    <a:lnTo>
                      <a:pt x="575" y="179"/>
                    </a:lnTo>
                    <a:lnTo>
                      <a:pt x="570" y="175"/>
                    </a:lnTo>
                    <a:lnTo>
                      <a:pt x="566" y="173"/>
                    </a:lnTo>
                    <a:lnTo>
                      <a:pt x="560" y="167"/>
                    </a:lnTo>
                    <a:lnTo>
                      <a:pt x="558" y="161"/>
                    </a:lnTo>
                    <a:lnTo>
                      <a:pt x="558" y="154"/>
                    </a:lnTo>
                    <a:lnTo>
                      <a:pt x="558" y="146"/>
                    </a:lnTo>
                    <a:lnTo>
                      <a:pt x="556" y="146"/>
                    </a:lnTo>
                    <a:lnTo>
                      <a:pt x="554" y="148"/>
                    </a:lnTo>
                    <a:lnTo>
                      <a:pt x="554" y="150"/>
                    </a:lnTo>
                    <a:lnTo>
                      <a:pt x="552" y="150"/>
                    </a:lnTo>
                    <a:lnTo>
                      <a:pt x="547" y="144"/>
                    </a:lnTo>
                    <a:lnTo>
                      <a:pt x="541" y="138"/>
                    </a:lnTo>
                    <a:lnTo>
                      <a:pt x="539" y="142"/>
                    </a:lnTo>
                    <a:lnTo>
                      <a:pt x="537" y="146"/>
                    </a:lnTo>
                    <a:lnTo>
                      <a:pt x="535" y="150"/>
                    </a:lnTo>
                    <a:lnTo>
                      <a:pt x="539" y="156"/>
                    </a:lnTo>
                    <a:lnTo>
                      <a:pt x="533" y="157"/>
                    </a:lnTo>
                    <a:lnTo>
                      <a:pt x="528" y="159"/>
                    </a:lnTo>
                    <a:lnTo>
                      <a:pt x="522" y="159"/>
                    </a:lnTo>
                    <a:lnTo>
                      <a:pt x="516" y="157"/>
                    </a:lnTo>
                    <a:lnTo>
                      <a:pt x="514" y="154"/>
                    </a:lnTo>
                    <a:lnTo>
                      <a:pt x="504" y="157"/>
                    </a:lnTo>
                    <a:lnTo>
                      <a:pt x="497" y="161"/>
                    </a:lnTo>
                    <a:lnTo>
                      <a:pt x="495" y="157"/>
                    </a:lnTo>
                    <a:lnTo>
                      <a:pt x="489" y="157"/>
                    </a:lnTo>
                    <a:lnTo>
                      <a:pt x="481" y="156"/>
                    </a:lnTo>
                    <a:lnTo>
                      <a:pt x="478" y="152"/>
                    </a:lnTo>
                    <a:lnTo>
                      <a:pt x="474" y="148"/>
                    </a:lnTo>
                    <a:lnTo>
                      <a:pt x="470" y="150"/>
                    </a:lnTo>
                    <a:lnTo>
                      <a:pt x="468" y="152"/>
                    </a:lnTo>
                    <a:lnTo>
                      <a:pt x="468" y="150"/>
                    </a:lnTo>
                    <a:lnTo>
                      <a:pt x="466" y="152"/>
                    </a:lnTo>
                    <a:lnTo>
                      <a:pt x="462" y="152"/>
                    </a:lnTo>
                    <a:lnTo>
                      <a:pt x="462" y="150"/>
                    </a:lnTo>
                    <a:lnTo>
                      <a:pt x="464" y="148"/>
                    </a:lnTo>
                    <a:lnTo>
                      <a:pt x="464" y="146"/>
                    </a:lnTo>
                    <a:lnTo>
                      <a:pt x="460" y="144"/>
                    </a:lnTo>
                    <a:lnTo>
                      <a:pt x="458" y="144"/>
                    </a:lnTo>
                    <a:lnTo>
                      <a:pt x="457" y="146"/>
                    </a:lnTo>
                    <a:lnTo>
                      <a:pt x="453" y="148"/>
                    </a:lnTo>
                    <a:lnTo>
                      <a:pt x="449" y="138"/>
                    </a:lnTo>
                    <a:lnTo>
                      <a:pt x="447" y="131"/>
                    </a:lnTo>
                    <a:lnTo>
                      <a:pt x="428" y="131"/>
                    </a:lnTo>
                    <a:lnTo>
                      <a:pt x="412" y="132"/>
                    </a:lnTo>
                    <a:lnTo>
                      <a:pt x="409" y="140"/>
                    </a:lnTo>
                    <a:lnTo>
                      <a:pt x="407" y="150"/>
                    </a:lnTo>
                    <a:lnTo>
                      <a:pt x="409" y="148"/>
                    </a:lnTo>
                    <a:lnTo>
                      <a:pt x="412" y="148"/>
                    </a:lnTo>
                    <a:lnTo>
                      <a:pt x="412" y="150"/>
                    </a:lnTo>
                    <a:lnTo>
                      <a:pt x="416" y="150"/>
                    </a:lnTo>
                    <a:lnTo>
                      <a:pt x="414" y="144"/>
                    </a:lnTo>
                    <a:lnTo>
                      <a:pt x="418" y="144"/>
                    </a:lnTo>
                    <a:lnTo>
                      <a:pt x="422" y="146"/>
                    </a:lnTo>
                    <a:lnTo>
                      <a:pt x="424" y="142"/>
                    </a:lnTo>
                    <a:lnTo>
                      <a:pt x="426" y="140"/>
                    </a:lnTo>
                    <a:lnTo>
                      <a:pt x="430" y="142"/>
                    </a:lnTo>
                    <a:lnTo>
                      <a:pt x="435" y="142"/>
                    </a:lnTo>
                    <a:lnTo>
                      <a:pt x="422" y="150"/>
                    </a:lnTo>
                    <a:lnTo>
                      <a:pt x="410" y="159"/>
                    </a:lnTo>
                    <a:lnTo>
                      <a:pt x="412" y="163"/>
                    </a:lnTo>
                    <a:lnTo>
                      <a:pt x="414" y="167"/>
                    </a:lnTo>
                    <a:lnTo>
                      <a:pt x="412" y="171"/>
                    </a:lnTo>
                    <a:lnTo>
                      <a:pt x="412" y="173"/>
                    </a:lnTo>
                    <a:lnTo>
                      <a:pt x="414" y="175"/>
                    </a:lnTo>
                    <a:lnTo>
                      <a:pt x="416" y="177"/>
                    </a:lnTo>
                    <a:lnTo>
                      <a:pt x="418" y="177"/>
                    </a:lnTo>
                    <a:lnTo>
                      <a:pt x="416" y="179"/>
                    </a:lnTo>
                    <a:lnTo>
                      <a:pt x="414" y="179"/>
                    </a:lnTo>
                    <a:lnTo>
                      <a:pt x="414" y="179"/>
                    </a:lnTo>
                    <a:lnTo>
                      <a:pt x="412" y="180"/>
                    </a:lnTo>
                    <a:lnTo>
                      <a:pt x="412" y="184"/>
                    </a:lnTo>
                    <a:lnTo>
                      <a:pt x="409" y="182"/>
                    </a:lnTo>
                    <a:lnTo>
                      <a:pt x="407" y="180"/>
                    </a:lnTo>
                    <a:lnTo>
                      <a:pt x="405" y="169"/>
                    </a:lnTo>
                    <a:lnTo>
                      <a:pt x="403" y="167"/>
                    </a:lnTo>
                    <a:lnTo>
                      <a:pt x="401" y="169"/>
                    </a:lnTo>
                    <a:lnTo>
                      <a:pt x="401" y="173"/>
                    </a:lnTo>
                    <a:lnTo>
                      <a:pt x="399" y="165"/>
                    </a:lnTo>
                    <a:lnTo>
                      <a:pt x="397" y="157"/>
                    </a:lnTo>
                    <a:lnTo>
                      <a:pt x="393" y="157"/>
                    </a:lnTo>
                    <a:lnTo>
                      <a:pt x="389" y="157"/>
                    </a:lnTo>
                    <a:lnTo>
                      <a:pt x="385" y="154"/>
                    </a:lnTo>
                    <a:lnTo>
                      <a:pt x="385" y="150"/>
                    </a:lnTo>
                    <a:lnTo>
                      <a:pt x="380" y="154"/>
                    </a:lnTo>
                    <a:lnTo>
                      <a:pt x="376" y="157"/>
                    </a:lnTo>
                    <a:lnTo>
                      <a:pt x="374" y="157"/>
                    </a:lnTo>
                    <a:lnTo>
                      <a:pt x="374" y="156"/>
                    </a:lnTo>
                    <a:lnTo>
                      <a:pt x="357" y="159"/>
                    </a:lnTo>
                    <a:lnTo>
                      <a:pt x="336" y="161"/>
                    </a:lnTo>
                    <a:lnTo>
                      <a:pt x="332" y="159"/>
                    </a:lnTo>
                    <a:lnTo>
                      <a:pt x="332" y="154"/>
                    </a:lnTo>
                    <a:lnTo>
                      <a:pt x="332" y="150"/>
                    </a:lnTo>
                    <a:lnTo>
                      <a:pt x="336" y="150"/>
                    </a:lnTo>
                    <a:lnTo>
                      <a:pt x="334" y="148"/>
                    </a:lnTo>
                    <a:lnTo>
                      <a:pt x="334" y="146"/>
                    </a:lnTo>
                    <a:lnTo>
                      <a:pt x="339" y="146"/>
                    </a:lnTo>
                    <a:lnTo>
                      <a:pt x="345" y="146"/>
                    </a:lnTo>
                    <a:lnTo>
                      <a:pt x="338" y="136"/>
                    </a:lnTo>
                    <a:lnTo>
                      <a:pt x="330" y="131"/>
                    </a:lnTo>
                    <a:lnTo>
                      <a:pt x="320" y="132"/>
                    </a:lnTo>
                    <a:lnTo>
                      <a:pt x="313" y="136"/>
                    </a:lnTo>
                    <a:lnTo>
                      <a:pt x="307" y="132"/>
                    </a:lnTo>
                    <a:lnTo>
                      <a:pt x="303" y="131"/>
                    </a:lnTo>
                    <a:lnTo>
                      <a:pt x="295" y="131"/>
                    </a:lnTo>
                    <a:lnTo>
                      <a:pt x="290" y="129"/>
                    </a:lnTo>
                    <a:lnTo>
                      <a:pt x="288" y="125"/>
                    </a:lnTo>
                    <a:lnTo>
                      <a:pt x="288" y="123"/>
                    </a:lnTo>
                    <a:lnTo>
                      <a:pt x="284" y="123"/>
                    </a:lnTo>
                    <a:lnTo>
                      <a:pt x="282" y="125"/>
                    </a:lnTo>
                    <a:lnTo>
                      <a:pt x="278" y="121"/>
                    </a:lnTo>
                    <a:lnTo>
                      <a:pt x="268" y="117"/>
                    </a:lnTo>
                    <a:lnTo>
                      <a:pt x="259" y="111"/>
                    </a:lnTo>
                    <a:lnTo>
                      <a:pt x="247" y="109"/>
                    </a:lnTo>
                    <a:lnTo>
                      <a:pt x="238" y="109"/>
                    </a:lnTo>
                    <a:lnTo>
                      <a:pt x="238" y="113"/>
                    </a:lnTo>
                    <a:lnTo>
                      <a:pt x="232" y="115"/>
                    </a:lnTo>
                    <a:lnTo>
                      <a:pt x="226" y="119"/>
                    </a:lnTo>
                    <a:lnTo>
                      <a:pt x="222" y="108"/>
                    </a:lnTo>
                    <a:lnTo>
                      <a:pt x="222" y="100"/>
                    </a:lnTo>
                    <a:lnTo>
                      <a:pt x="220" y="102"/>
                    </a:lnTo>
                    <a:lnTo>
                      <a:pt x="219" y="104"/>
                    </a:lnTo>
                    <a:lnTo>
                      <a:pt x="219" y="111"/>
                    </a:lnTo>
                    <a:lnTo>
                      <a:pt x="217" y="121"/>
                    </a:lnTo>
                    <a:lnTo>
                      <a:pt x="213" y="121"/>
                    </a:lnTo>
                    <a:lnTo>
                      <a:pt x="201" y="111"/>
                    </a:lnTo>
                    <a:lnTo>
                      <a:pt x="192" y="102"/>
                    </a:lnTo>
                    <a:lnTo>
                      <a:pt x="192" y="98"/>
                    </a:lnTo>
                    <a:lnTo>
                      <a:pt x="188" y="98"/>
                    </a:lnTo>
                    <a:lnTo>
                      <a:pt x="188" y="96"/>
                    </a:lnTo>
                    <a:lnTo>
                      <a:pt x="176" y="88"/>
                    </a:lnTo>
                    <a:lnTo>
                      <a:pt x="167" y="79"/>
                    </a:lnTo>
                    <a:lnTo>
                      <a:pt x="165" y="83"/>
                    </a:lnTo>
                    <a:lnTo>
                      <a:pt x="165" y="88"/>
                    </a:lnTo>
                    <a:lnTo>
                      <a:pt x="167" y="88"/>
                    </a:lnTo>
                    <a:lnTo>
                      <a:pt x="167" y="90"/>
                    </a:lnTo>
                    <a:lnTo>
                      <a:pt x="165" y="92"/>
                    </a:lnTo>
                    <a:lnTo>
                      <a:pt x="165" y="92"/>
                    </a:lnTo>
                    <a:lnTo>
                      <a:pt x="161" y="100"/>
                    </a:lnTo>
                    <a:lnTo>
                      <a:pt x="159" y="106"/>
                    </a:lnTo>
                    <a:lnTo>
                      <a:pt x="155" y="104"/>
                    </a:lnTo>
                    <a:lnTo>
                      <a:pt x="151" y="104"/>
                    </a:lnTo>
                    <a:lnTo>
                      <a:pt x="146" y="106"/>
                    </a:lnTo>
                    <a:lnTo>
                      <a:pt x="142" y="109"/>
                    </a:lnTo>
                    <a:lnTo>
                      <a:pt x="142" y="115"/>
                    </a:lnTo>
                    <a:lnTo>
                      <a:pt x="140" y="121"/>
                    </a:lnTo>
                    <a:lnTo>
                      <a:pt x="138" y="121"/>
                    </a:lnTo>
                    <a:lnTo>
                      <a:pt x="138" y="119"/>
                    </a:lnTo>
                    <a:lnTo>
                      <a:pt x="136" y="117"/>
                    </a:lnTo>
                    <a:lnTo>
                      <a:pt x="132" y="119"/>
                    </a:lnTo>
                    <a:lnTo>
                      <a:pt x="130" y="121"/>
                    </a:lnTo>
                    <a:lnTo>
                      <a:pt x="130" y="117"/>
                    </a:lnTo>
                    <a:lnTo>
                      <a:pt x="123" y="119"/>
                    </a:lnTo>
                    <a:lnTo>
                      <a:pt x="119" y="123"/>
                    </a:lnTo>
                    <a:lnTo>
                      <a:pt x="115" y="134"/>
                    </a:lnTo>
                    <a:lnTo>
                      <a:pt x="111" y="134"/>
                    </a:lnTo>
                    <a:lnTo>
                      <a:pt x="107" y="136"/>
                    </a:lnTo>
                    <a:lnTo>
                      <a:pt x="107" y="134"/>
                    </a:lnTo>
                    <a:lnTo>
                      <a:pt x="105" y="134"/>
                    </a:lnTo>
                    <a:lnTo>
                      <a:pt x="111" y="123"/>
                    </a:lnTo>
                    <a:lnTo>
                      <a:pt x="119" y="111"/>
                    </a:lnTo>
                    <a:lnTo>
                      <a:pt x="128" y="109"/>
                    </a:lnTo>
                    <a:lnTo>
                      <a:pt x="140" y="106"/>
                    </a:lnTo>
                    <a:lnTo>
                      <a:pt x="148" y="100"/>
                    </a:lnTo>
                    <a:lnTo>
                      <a:pt x="148" y="96"/>
                    </a:lnTo>
                    <a:lnTo>
                      <a:pt x="144" y="94"/>
                    </a:lnTo>
                    <a:lnTo>
                      <a:pt x="134" y="94"/>
                    </a:lnTo>
                    <a:lnTo>
                      <a:pt x="130" y="100"/>
                    </a:lnTo>
                    <a:lnTo>
                      <a:pt x="130" y="106"/>
                    </a:lnTo>
                    <a:lnTo>
                      <a:pt x="126" y="104"/>
                    </a:lnTo>
                    <a:lnTo>
                      <a:pt x="124" y="102"/>
                    </a:lnTo>
                    <a:lnTo>
                      <a:pt x="115" y="104"/>
                    </a:lnTo>
                    <a:lnTo>
                      <a:pt x="107" y="108"/>
                    </a:lnTo>
                    <a:lnTo>
                      <a:pt x="105" y="111"/>
                    </a:lnTo>
                    <a:lnTo>
                      <a:pt x="105" y="115"/>
                    </a:lnTo>
                    <a:lnTo>
                      <a:pt x="100" y="115"/>
                    </a:lnTo>
                    <a:lnTo>
                      <a:pt x="98" y="117"/>
                    </a:lnTo>
                    <a:lnTo>
                      <a:pt x="96" y="113"/>
                    </a:lnTo>
                    <a:lnTo>
                      <a:pt x="98" y="111"/>
                    </a:lnTo>
                    <a:lnTo>
                      <a:pt x="92" y="109"/>
                    </a:lnTo>
                    <a:lnTo>
                      <a:pt x="90" y="108"/>
                    </a:lnTo>
                    <a:lnTo>
                      <a:pt x="88" y="113"/>
                    </a:lnTo>
                    <a:lnTo>
                      <a:pt x="88" y="119"/>
                    </a:lnTo>
                    <a:lnTo>
                      <a:pt x="86" y="119"/>
                    </a:lnTo>
                    <a:lnTo>
                      <a:pt x="86" y="117"/>
                    </a:lnTo>
                    <a:lnTo>
                      <a:pt x="82" y="117"/>
                    </a:lnTo>
                    <a:lnTo>
                      <a:pt x="82" y="119"/>
                    </a:lnTo>
                    <a:lnTo>
                      <a:pt x="82" y="121"/>
                    </a:lnTo>
                    <a:lnTo>
                      <a:pt x="82" y="123"/>
                    </a:lnTo>
                    <a:lnTo>
                      <a:pt x="77" y="123"/>
                    </a:lnTo>
                    <a:lnTo>
                      <a:pt x="71" y="121"/>
                    </a:lnTo>
                    <a:lnTo>
                      <a:pt x="69" y="123"/>
                    </a:lnTo>
                    <a:lnTo>
                      <a:pt x="73" y="125"/>
                    </a:lnTo>
                    <a:lnTo>
                      <a:pt x="73" y="127"/>
                    </a:lnTo>
                    <a:lnTo>
                      <a:pt x="75" y="127"/>
                    </a:lnTo>
                    <a:lnTo>
                      <a:pt x="77" y="129"/>
                    </a:lnTo>
                    <a:lnTo>
                      <a:pt x="77" y="131"/>
                    </a:lnTo>
                    <a:lnTo>
                      <a:pt x="77" y="132"/>
                    </a:lnTo>
                    <a:lnTo>
                      <a:pt x="75" y="132"/>
                    </a:lnTo>
                    <a:lnTo>
                      <a:pt x="73" y="132"/>
                    </a:lnTo>
                    <a:lnTo>
                      <a:pt x="71" y="129"/>
                    </a:lnTo>
                    <a:lnTo>
                      <a:pt x="71" y="127"/>
                    </a:lnTo>
                    <a:lnTo>
                      <a:pt x="65" y="125"/>
                    </a:lnTo>
                    <a:lnTo>
                      <a:pt x="61" y="125"/>
                    </a:lnTo>
                    <a:lnTo>
                      <a:pt x="59" y="121"/>
                    </a:lnTo>
                    <a:lnTo>
                      <a:pt x="44" y="115"/>
                    </a:lnTo>
                    <a:lnTo>
                      <a:pt x="32" y="109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21" y="106"/>
                    </a:lnTo>
                    <a:lnTo>
                      <a:pt x="13" y="108"/>
                    </a:lnTo>
                    <a:lnTo>
                      <a:pt x="7" y="106"/>
                    </a:lnTo>
                    <a:lnTo>
                      <a:pt x="0" y="102"/>
                    </a:lnTo>
                    <a:lnTo>
                      <a:pt x="6" y="307"/>
                    </a:lnTo>
                    <a:lnTo>
                      <a:pt x="9" y="305"/>
                    </a:lnTo>
                    <a:lnTo>
                      <a:pt x="17" y="303"/>
                    </a:lnTo>
                    <a:lnTo>
                      <a:pt x="21" y="307"/>
                    </a:lnTo>
                    <a:lnTo>
                      <a:pt x="25" y="307"/>
                    </a:lnTo>
                    <a:lnTo>
                      <a:pt x="30" y="303"/>
                    </a:lnTo>
                    <a:lnTo>
                      <a:pt x="30" y="303"/>
                    </a:lnTo>
                    <a:lnTo>
                      <a:pt x="30" y="307"/>
                    </a:lnTo>
                    <a:lnTo>
                      <a:pt x="30" y="311"/>
                    </a:lnTo>
                    <a:lnTo>
                      <a:pt x="32" y="315"/>
                    </a:lnTo>
                    <a:lnTo>
                      <a:pt x="36" y="321"/>
                    </a:lnTo>
                    <a:lnTo>
                      <a:pt x="44" y="326"/>
                    </a:lnTo>
                    <a:lnTo>
                      <a:pt x="52" y="334"/>
                    </a:lnTo>
                    <a:lnTo>
                      <a:pt x="52" y="336"/>
                    </a:lnTo>
                    <a:lnTo>
                      <a:pt x="52" y="340"/>
                    </a:lnTo>
                    <a:lnTo>
                      <a:pt x="53" y="340"/>
                    </a:lnTo>
                    <a:lnTo>
                      <a:pt x="57" y="336"/>
                    </a:lnTo>
                    <a:lnTo>
                      <a:pt x="63" y="334"/>
                    </a:lnTo>
                    <a:lnTo>
                      <a:pt x="69" y="330"/>
                    </a:lnTo>
                    <a:lnTo>
                      <a:pt x="67" y="324"/>
                    </a:lnTo>
                    <a:lnTo>
                      <a:pt x="69" y="322"/>
                    </a:lnTo>
                    <a:lnTo>
                      <a:pt x="75" y="321"/>
                    </a:lnTo>
                    <a:lnTo>
                      <a:pt x="80" y="322"/>
                    </a:lnTo>
                    <a:lnTo>
                      <a:pt x="84" y="326"/>
                    </a:lnTo>
                    <a:lnTo>
                      <a:pt x="88" y="330"/>
                    </a:lnTo>
                    <a:lnTo>
                      <a:pt x="88" y="332"/>
                    </a:lnTo>
                    <a:lnTo>
                      <a:pt x="90" y="334"/>
                    </a:lnTo>
                    <a:lnTo>
                      <a:pt x="92" y="336"/>
                    </a:lnTo>
                    <a:lnTo>
                      <a:pt x="94" y="336"/>
                    </a:lnTo>
                    <a:lnTo>
                      <a:pt x="101" y="342"/>
                    </a:lnTo>
                    <a:lnTo>
                      <a:pt x="105" y="347"/>
                    </a:lnTo>
                    <a:lnTo>
                      <a:pt x="113" y="355"/>
                    </a:lnTo>
                    <a:lnTo>
                      <a:pt x="123" y="365"/>
                    </a:lnTo>
                    <a:lnTo>
                      <a:pt x="124" y="372"/>
                    </a:lnTo>
                    <a:lnTo>
                      <a:pt x="130" y="378"/>
                    </a:lnTo>
                    <a:lnTo>
                      <a:pt x="134" y="386"/>
                    </a:lnTo>
                    <a:lnTo>
                      <a:pt x="138" y="392"/>
                    </a:lnTo>
                    <a:lnTo>
                      <a:pt x="142" y="393"/>
                    </a:lnTo>
                    <a:lnTo>
                      <a:pt x="146" y="397"/>
                    </a:lnTo>
                    <a:lnTo>
                      <a:pt x="149" y="399"/>
                    </a:lnTo>
                    <a:lnTo>
                      <a:pt x="153" y="401"/>
                    </a:lnTo>
                    <a:lnTo>
                      <a:pt x="155" y="403"/>
                    </a:lnTo>
                    <a:lnTo>
                      <a:pt x="157" y="403"/>
                    </a:lnTo>
                    <a:lnTo>
                      <a:pt x="159" y="409"/>
                    </a:lnTo>
                    <a:lnTo>
                      <a:pt x="161" y="411"/>
                    </a:lnTo>
                    <a:lnTo>
                      <a:pt x="161" y="415"/>
                    </a:lnTo>
                    <a:lnTo>
                      <a:pt x="159" y="418"/>
                    </a:lnTo>
                    <a:lnTo>
                      <a:pt x="161" y="420"/>
                    </a:lnTo>
                    <a:lnTo>
                      <a:pt x="159" y="424"/>
                    </a:lnTo>
                    <a:lnTo>
                      <a:pt x="159" y="424"/>
                    </a:lnTo>
                    <a:lnTo>
                      <a:pt x="157" y="428"/>
                    </a:lnTo>
                    <a:lnTo>
                      <a:pt x="155" y="428"/>
                    </a:lnTo>
                    <a:lnTo>
                      <a:pt x="157" y="430"/>
                    </a:lnTo>
                    <a:lnTo>
                      <a:pt x="153" y="432"/>
                    </a:lnTo>
                    <a:lnTo>
                      <a:pt x="151" y="436"/>
                    </a:lnTo>
                    <a:lnTo>
                      <a:pt x="149" y="436"/>
                    </a:lnTo>
                    <a:lnTo>
                      <a:pt x="148" y="436"/>
                    </a:lnTo>
                    <a:lnTo>
                      <a:pt x="149" y="440"/>
                    </a:lnTo>
                    <a:lnTo>
                      <a:pt x="148" y="440"/>
                    </a:lnTo>
                    <a:lnTo>
                      <a:pt x="146" y="443"/>
                    </a:lnTo>
                    <a:lnTo>
                      <a:pt x="146" y="445"/>
                    </a:lnTo>
                    <a:lnTo>
                      <a:pt x="151" y="447"/>
                    </a:lnTo>
                    <a:lnTo>
                      <a:pt x="151" y="455"/>
                    </a:lnTo>
                    <a:lnTo>
                      <a:pt x="151" y="463"/>
                    </a:lnTo>
                    <a:lnTo>
                      <a:pt x="153" y="464"/>
                    </a:lnTo>
                    <a:lnTo>
                      <a:pt x="157" y="466"/>
                    </a:lnTo>
                    <a:lnTo>
                      <a:pt x="153" y="468"/>
                    </a:lnTo>
                    <a:lnTo>
                      <a:pt x="155" y="468"/>
                    </a:lnTo>
                    <a:lnTo>
                      <a:pt x="157" y="468"/>
                    </a:lnTo>
                    <a:lnTo>
                      <a:pt x="159" y="468"/>
                    </a:lnTo>
                    <a:lnTo>
                      <a:pt x="159" y="464"/>
                    </a:lnTo>
                    <a:lnTo>
                      <a:pt x="159" y="464"/>
                    </a:lnTo>
                    <a:lnTo>
                      <a:pt x="159" y="463"/>
                    </a:lnTo>
                    <a:lnTo>
                      <a:pt x="163" y="463"/>
                    </a:lnTo>
                    <a:lnTo>
                      <a:pt x="167" y="461"/>
                    </a:lnTo>
                    <a:lnTo>
                      <a:pt x="165" y="464"/>
                    </a:lnTo>
                    <a:lnTo>
                      <a:pt x="165" y="470"/>
                    </a:lnTo>
                    <a:lnTo>
                      <a:pt x="161" y="470"/>
                    </a:lnTo>
                    <a:lnTo>
                      <a:pt x="161" y="474"/>
                    </a:lnTo>
                    <a:lnTo>
                      <a:pt x="163" y="476"/>
                    </a:lnTo>
                    <a:lnTo>
                      <a:pt x="165" y="478"/>
                    </a:lnTo>
                    <a:lnTo>
                      <a:pt x="165" y="482"/>
                    </a:lnTo>
                    <a:lnTo>
                      <a:pt x="167" y="480"/>
                    </a:lnTo>
                    <a:lnTo>
                      <a:pt x="167" y="478"/>
                    </a:lnTo>
                    <a:lnTo>
                      <a:pt x="172" y="482"/>
                    </a:lnTo>
                    <a:lnTo>
                      <a:pt x="180" y="486"/>
                    </a:lnTo>
                    <a:lnTo>
                      <a:pt x="180" y="495"/>
                    </a:lnTo>
                    <a:lnTo>
                      <a:pt x="180" y="509"/>
                    </a:lnTo>
                    <a:lnTo>
                      <a:pt x="176" y="509"/>
                    </a:lnTo>
                    <a:lnTo>
                      <a:pt x="172" y="509"/>
                    </a:lnTo>
                    <a:lnTo>
                      <a:pt x="174" y="516"/>
                    </a:lnTo>
                    <a:lnTo>
                      <a:pt x="176" y="524"/>
                    </a:lnTo>
                    <a:lnTo>
                      <a:pt x="184" y="522"/>
                    </a:lnTo>
                    <a:lnTo>
                      <a:pt x="196" y="524"/>
                    </a:lnTo>
                    <a:lnTo>
                      <a:pt x="196" y="526"/>
                    </a:lnTo>
                    <a:lnTo>
                      <a:pt x="196" y="530"/>
                    </a:lnTo>
                    <a:lnTo>
                      <a:pt x="194" y="532"/>
                    </a:lnTo>
                    <a:lnTo>
                      <a:pt x="197" y="530"/>
                    </a:lnTo>
                    <a:lnTo>
                      <a:pt x="201" y="530"/>
                    </a:lnTo>
                    <a:lnTo>
                      <a:pt x="207" y="534"/>
                    </a:lnTo>
                    <a:lnTo>
                      <a:pt x="213" y="539"/>
                    </a:lnTo>
                    <a:lnTo>
                      <a:pt x="213" y="537"/>
                    </a:lnTo>
                    <a:lnTo>
                      <a:pt x="215" y="537"/>
                    </a:lnTo>
                    <a:lnTo>
                      <a:pt x="215" y="543"/>
                    </a:lnTo>
                    <a:lnTo>
                      <a:pt x="219" y="549"/>
                    </a:lnTo>
                    <a:lnTo>
                      <a:pt x="230" y="551"/>
                    </a:lnTo>
                    <a:lnTo>
                      <a:pt x="240" y="551"/>
                    </a:lnTo>
                    <a:lnTo>
                      <a:pt x="242" y="551"/>
                    </a:lnTo>
                    <a:lnTo>
                      <a:pt x="236" y="541"/>
                    </a:lnTo>
                    <a:lnTo>
                      <a:pt x="230" y="534"/>
                    </a:lnTo>
                    <a:lnTo>
                      <a:pt x="220" y="532"/>
                    </a:lnTo>
                    <a:lnTo>
                      <a:pt x="215" y="528"/>
                    </a:lnTo>
                    <a:lnTo>
                      <a:pt x="209" y="520"/>
                    </a:lnTo>
                    <a:lnTo>
                      <a:pt x="209" y="518"/>
                    </a:lnTo>
                    <a:lnTo>
                      <a:pt x="211" y="516"/>
                    </a:lnTo>
                    <a:lnTo>
                      <a:pt x="197" y="514"/>
                    </a:lnTo>
                    <a:lnTo>
                      <a:pt x="203" y="512"/>
                    </a:lnTo>
                    <a:lnTo>
                      <a:pt x="211" y="512"/>
                    </a:lnTo>
                    <a:lnTo>
                      <a:pt x="211" y="511"/>
                    </a:lnTo>
                    <a:lnTo>
                      <a:pt x="215" y="509"/>
                    </a:lnTo>
                    <a:lnTo>
                      <a:pt x="217" y="514"/>
                    </a:lnTo>
                    <a:lnTo>
                      <a:pt x="217" y="516"/>
                    </a:lnTo>
                    <a:lnTo>
                      <a:pt x="220" y="518"/>
                    </a:lnTo>
                    <a:lnTo>
                      <a:pt x="228" y="520"/>
                    </a:lnTo>
                    <a:lnTo>
                      <a:pt x="230" y="524"/>
                    </a:lnTo>
                    <a:lnTo>
                      <a:pt x="228" y="526"/>
                    </a:lnTo>
                    <a:lnTo>
                      <a:pt x="228" y="528"/>
                    </a:lnTo>
                    <a:lnTo>
                      <a:pt x="232" y="526"/>
                    </a:lnTo>
                    <a:lnTo>
                      <a:pt x="236" y="524"/>
                    </a:lnTo>
                    <a:lnTo>
                      <a:pt x="234" y="528"/>
                    </a:lnTo>
                    <a:lnTo>
                      <a:pt x="234" y="530"/>
                    </a:lnTo>
                    <a:lnTo>
                      <a:pt x="240" y="534"/>
                    </a:lnTo>
                    <a:lnTo>
                      <a:pt x="245" y="539"/>
                    </a:lnTo>
                    <a:lnTo>
                      <a:pt x="581" y="541"/>
                    </a:lnTo>
                    <a:lnTo>
                      <a:pt x="581" y="537"/>
                    </a:lnTo>
                    <a:lnTo>
                      <a:pt x="585" y="535"/>
                    </a:lnTo>
                    <a:lnTo>
                      <a:pt x="589" y="541"/>
                    </a:lnTo>
                    <a:lnTo>
                      <a:pt x="591" y="547"/>
                    </a:lnTo>
                    <a:lnTo>
                      <a:pt x="593" y="547"/>
                    </a:lnTo>
                    <a:lnTo>
                      <a:pt x="597" y="547"/>
                    </a:lnTo>
                    <a:lnTo>
                      <a:pt x="602" y="549"/>
                    </a:lnTo>
                    <a:lnTo>
                      <a:pt x="604" y="549"/>
                    </a:lnTo>
                    <a:lnTo>
                      <a:pt x="608" y="547"/>
                    </a:lnTo>
                    <a:lnTo>
                      <a:pt x="612" y="547"/>
                    </a:lnTo>
                    <a:lnTo>
                      <a:pt x="616" y="549"/>
                    </a:lnTo>
                    <a:lnTo>
                      <a:pt x="620" y="551"/>
                    </a:lnTo>
                    <a:lnTo>
                      <a:pt x="623" y="553"/>
                    </a:lnTo>
                    <a:lnTo>
                      <a:pt x="627" y="553"/>
                    </a:lnTo>
                    <a:lnTo>
                      <a:pt x="631" y="553"/>
                    </a:lnTo>
                    <a:lnTo>
                      <a:pt x="635" y="553"/>
                    </a:lnTo>
                    <a:lnTo>
                      <a:pt x="639" y="553"/>
                    </a:lnTo>
                    <a:lnTo>
                      <a:pt x="643" y="553"/>
                    </a:lnTo>
                    <a:lnTo>
                      <a:pt x="645" y="557"/>
                    </a:lnTo>
                    <a:lnTo>
                      <a:pt x="648" y="557"/>
                    </a:lnTo>
                    <a:lnTo>
                      <a:pt x="650" y="55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8" name="Freeform 216"/>
              <p:cNvSpPr>
                <a:spLocks noEditPoints="1"/>
              </p:cNvSpPr>
              <p:nvPr/>
            </p:nvSpPr>
            <p:spPr bwMode="gray">
              <a:xfrm>
                <a:off x="1865507" y="1947864"/>
                <a:ext cx="1260335" cy="812800"/>
              </a:xfrm>
              <a:custGeom>
                <a:avLst/>
                <a:gdLst>
                  <a:gd name="T0" fmla="*/ 568 w 794"/>
                  <a:gd name="T1" fmla="*/ 290 h 512"/>
                  <a:gd name="T2" fmla="*/ 681 w 794"/>
                  <a:gd name="T3" fmla="*/ 409 h 512"/>
                  <a:gd name="T4" fmla="*/ 572 w 794"/>
                  <a:gd name="T5" fmla="*/ 351 h 512"/>
                  <a:gd name="T6" fmla="*/ 689 w 794"/>
                  <a:gd name="T7" fmla="*/ 340 h 512"/>
                  <a:gd name="T8" fmla="*/ 579 w 794"/>
                  <a:gd name="T9" fmla="*/ 280 h 512"/>
                  <a:gd name="T10" fmla="*/ 558 w 794"/>
                  <a:gd name="T11" fmla="*/ 219 h 512"/>
                  <a:gd name="T12" fmla="*/ 244 w 794"/>
                  <a:gd name="T13" fmla="*/ 368 h 512"/>
                  <a:gd name="T14" fmla="*/ 343 w 794"/>
                  <a:gd name="T15" fmla="*/ 368 h 512"/>
                  <a:gd name="T16" fmla="*/ 94 w 794"/>
                  <a:gd name="T17" fmla="*/ 263 h 512"/>
                  <a:gd name="T18" fmla="*/ 142 w 794"/>
                  <a:gd name="T19" fmla="*/ 318 h 512"/>
                  <a:gd name="T20" fmla="*/ 247 w 794"/>
                  <a:gd name="T21" fmla="*/ 353 h 512"/>
                  <a:gd name="T22" fmla="*/ 301 w 794"/>
                  <a:gd name="T23" fmla="*/ 343 h 512"/>
                  <a:gd name="T24" fmla="*/ 232 w 794"/>
                  <a:gd name="T25" fmla="*/ 276 h 512"/>
                  <a:gd name="T26" fmla="*/ 136 w 794"/>
                  <a:gd name="T27" fmla="*/ 261 h 512"/>
                  <a:gd name="T28" fmla="*/ 280 w 794"/>
                  <a:gd name="T29" fmla="*/ 278 h 512"/>
                  <a:gd name="T30" fmla="*/ 330 w 794"/>
                  <a:gd name="T31" fmla="*/ 236 h 512"/>
                  <a:gd name="T32" fmla="*/ 109 w 794"/>
                  <a:gd name="T33" fmla="*/ 251 h 512"/>
                  <a:gd name="T34" fmla="*/ 362 w 794"/>
                  <a:gd name="T35" fmla="*/ 221 h 512"/>
                  <a:gd name="T36" fmla="*/ 86 w 794"/>
                  <a:gd name="T37" fmla="*/ 194 h 512"/>
                  <a:gd name="T38" fmla="*/ 268 w 794"/>
                  <a:gd name="T39" fmla="*/ 182 h 512"/>
                  <a:gd name="T40" fmla="*/ 307 w 794"/>
                  <a:gd name="T41" fmla="*/ 184 h 512"/>
                  <a:gd name="T42" fmla="*/ 326 w 794"/>
                  <a:gd name="T43" fmla="*/ 215 h 512"/>
                  <a:gd name="T44" fmla="*/ 353 w 794"/>
                  <a:gd name="T45" fmla="*/ 167 h 512"/>
                  <a:gd name="T46" fmla="*/ 493 w 794"/>
                  <a:gd name="T47" fmla="*/ 226 h 512"/>
                  <a:gd name="T48" fmla="*/ 462 w 794"/>
                  <a:gd name="T49" fmla="*/ 201 h 512"/>
                  <a:gd name="T50" fmla="*/ 188 w 794"/>
                  <a:gd name="T51" fmla="*/ 188 h 512"/>
                  <a:gd name="T52" fmla="*/ 121 w 794"/>
                  <a:gd name="T53" fmla="*/ 215 h 512"/>
                  <a:gd name="T54" fmla="*/ 213 w 794"/>
                  <a:gd name="T55" fmla="*/ 211 h 512"/>
                  <a:gd name="T56" fmla="*/ 372 w 794"/>
                  <a:gd name="T57" fmla="*/ 153 h 512"/>
                  <a:gd name="T58" fmla="*/ 249 w 794"/>
                  <a:gd name="T59" fmla="*/ 144 h 512"/>
                  <a:gd name="T60" fmla="*/ 55 w 794"/>
                  <a:gd name="T61" fmla="*/ 190 h 512"/>
                  <a:gd name="T62" fmla="*/ 522 w 794"/>
                  <a:gd name="T63" fmla="*/ 136 h 512"/>
                  <a:gd name="T64" fmla="*/ 140 w 794"/>
                  <a:gd name="T65" fmla="*/ 123 h 512"/>
                  <a:gd name="T66" fmla="*/ 343 w 794"/>
                  <a:gd name="T67" fmla="*/ 134 h 512"/>
                  <a:gd name="T68" fmla="*/ 291 w 794"/>
                  <a:gd name="T69" fmla="*/ 134 h 512"/>
                  <a:gd name="T70" fmla="*/ 510 w 794"/>
                  <a:gd name="T71" fmla="*/ 109 h 512"/>
                  <a:gd name="T72" fmla="*/ 535 w 794"/>
                  <a:gd name="T73" fmla="*/ 92 h 512"/>
                  <a:gd name="T74" fmla="*/ 368 w 794"/>
                  <a:gd name="T75" fmla="*/ 65 h 512"/>
                  <a:gd name="T76" fmla="*/ 416 w 794"/>
                  <a:gd name="T77" fmla="*/ 109 h 512"/>
                  <a:gd name="T78" fmla="*/ 481 w 794"/>
                  <a:gd name="T79" fmla="*/ 136 h 512"/>
                  <a:gd name="T80" fmla="*/ 458 w 794"/>
                  <a:gd name="T81" fmla="*/ 178 h 512"/>
                  <a:gd name="T82" fmla="*/ 579 w 794"/>
                  <a:gd name="T83" fmla="*/ 165 h 512"/>
                  <a:gd name="T84" fmla="*/ 585 w 794"/>
                  <a:gd name="T85" fmla="*/ 109 h 512"/>
                  <a:gd name="T86" fmla="*/ 687 w 794"/>
                  <a:gd name="T87" fmla="*/ 77 h 512"/>
                  <a:gd name="T88" fmla="*/ 716 w 794"/>
                  <a:gd name="T89" fmla="*/ 15 h 512"/>
                  <a:gd name="T90" fmla="*/ 583 w 794"/>
                  <a:gd name="T91" fmla="*/ 17 h 512"/>
                  <a:gd name="T92" fmla="*/ 493 w 794"/>
                  <a:gd name="T93" fmla="*/ 38 h 512"/>
                  <a:gd name="T94" fmla="*/ 466 w 794"/>
                  <a:gd name="T95" fmla="*/ 67 h 512"/>
                  <a:gd name="T96" fmla="*/ 783 w 794"/>
                  <a:gd name="T97" fmla="*/ 422 h 512"/>
                  <a:gd name="T98" fmla="*/ 741 w 794"/>
                  <a:gd name="T99" fmla="*/ 386 h 512"/>
                  <a:gd name="T100" fmla="*/ 710 w 794"/>
                  <a:gd name="T101" fmla="*/ 330 h 512"/>
                  <a:gd name="T102" fmla="*/ 656 w 794"/>
                  <a:gd name="T103" fmla="*/ 299 h 512"/>
                  <a:gd name="T104" fmla="*/ 570 w 794"/>
                  <a:gd name="T105" fmla="*/ 244 h 512"/>
                  <a:gd name="T106" fmla="*/ 487 w 794"/>
                  <a:gd name="T107" fmla="*/ 284 h 512"/>
                  <a:gd name="T108" fmla="*/ 441 w 794"/>
                  <a:gd name="T109" fmla="*/ 267 h 512"/>
                  <a:gd name="T110" fmla="*/ 533 w 794"/>
                  <a:gd name="T111" fmla="*/ 326 h 512"/>
                  <a:gd name="T112" fmla="*/ 606 w 794"/>
                  <a:gd name="T113" fmla="*/ 340 h 512"/>
                  <a:gd name="T114" fmla="*/ 648 w 794"/>
                  <a:gd name="T115" fmla="*/ 411 h 512"/>
                  <a:gd name="T116" fmla="*/ 645 w 794"/>
                  <a:gd name="T117" fmla="*/ 480 h 512"/>
                  <a:gd name="T118" fmla="*/ 710 w 794"/>
                  <a:gd name="T119" fmla="*/ 493 h 512"/>
                  <a:gd name="T120" fmla="*/ 708 w 794"/>
                  <a:gd name="T121" fmla="*/ 435 h 512"/>
                  <a:gd name="T122" fmla="*/ 766 w 794"/>
                  <a:gd name="T123" fmla="*/ 434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94" h="512">
                    <a:moveTo>
                      <a:pt x="622" y="103"/>
                    </a:moveTo>
                    <a:lnTo>
                      <a:pt x="622" y="107"/>
                    </a:lnTo>
                    <a:lnTo>
                      <a:pt x="622" y="111"/>
                    </a:lnTo>
                    <a:lnTo>
                      <a:pt x="625" y="111"/>
                    </a:lnTo>
                    <a:lnTo>
                      <a:pt x="631" y="113"/>
                    </a:lnTo>
                    <a:lnTo>
                      <a:pt x="635" y="113"/>
                    </a:lnTo>
                    <a:lnTo>
                      <a:pt x="635" y="109"/>
                    </a:lnTo>
                    <a:lnTo>
                      <a:pt x="637" y="107"/>
                    </a:lnTo>
                    <a:lnTo>
                      <a:pt x="637" y="105"/>
                    </a:lnTo>
                    <a:lnTo>
                      <a:pt x="629" y="103"/>
                    </a:lnTo>
                    <a:lnTo>
                      <a:pt x="622" y="103"/>
                    </a:lnTo>
                    <a:close/>
                    <a:moveTo>
                      <a:pt x="746" y="44"/>
                    </a:moveTo>
                    <a:lnTo>
                      <a:pt x="748" y="44"/>
                    </a:lnTo>
                    <a:lnTo>
                      <a:pt x="748" y="42"/>
                    </a:lnTo>
                    <a:lnTo>
                      <a:pt x="746" y="44"/>
                    </a:lnTo>
                    <a:lnTo>
                      <a:pt x="748" y="46"/>
                    </a:lnTo>
                    <a:lnTo>
                      <a:pt x="744" y="48"/>
                    </a:lnTo>
                    <a:lnTo>
                      <a:pt x="741" y="52"/>
                    </a:lnTo>
                    <a:lnTo>
                      <a:pt x="733" y="52"/>
                    </a:lnTo>
                    <a:lnTo>
                      <a:pt x="729" y="50"/>
                    </a:lnTo>
                    <a:lnTo>
                      <a:pt x="737" y="48"/>
                    </a:lnTo>
                    <a:lnTo>
                      <a:pt x="744" y="48"/>
                    </a:lnTo>
                    <a:lnTo>
                      <a:pt x="744" y="44"/>
                    </a:lnTo>
                    <a:lnTo>
                      <a:pt x="746" y="44"/>
                    </a:lnTo>
                    <a:close/>
                    <a:moveTo>
                      <a:pt x="700" y="19"/>
                    </a:moveTo>
                    <a:lnTo>
                      <a:pt x="702" y="19"/>
                    </a:lnTo>
                    <a:lnTo>
                      <a:pt x="702" y="19"/>
                    </a:lnTo>
                    <a:lnTo>
                      <a:pt x="700" y="21"/>
                    </a:lnTo>
                    <a:lnTo>
                      <a:pt x="700" y="23"/>
                    </a:lnTo>
                    <a:lnTo>
                      <a:pt x="695" y="23"/>
                    </a:lnTo>
                    <a:lnTo>
                      <a:pt x="693" y="21"/>
                    </a:lnTo>
                    <a:lnTo>
                      <a:pt x="696" y="19"/>
                    </a:lnTo>
                    <a:lnTo>
                      <a:pt x="700" y="19"/>
                    </a:lnTo>
                    <a:close/>
                    <a:moveTo>
                      <a:pt x="648" y="299"/>
                    </a:moveTo>
                    <a:lnTo>
                      <a:pt x="650" y="303"/>
                    </a:lnTo>
                    <a:lnTo>
                      <a:pt x="650" y="299"/>
                    </a:lnTo>
                    <a:lnTo>
                      <a:pt x="648" y="299"/>
                    </a:lnTo>
                    <a:close/>
                    <a:moveTo>
                      <a:pt x="568" y="286"/>
                    </a:moveTo>
                    <a:lnTo>
                      <a:pt x="568" y="288"/>
                    </a:lnTo>
                    <a:lnTo>
                      <a:pt x="568" y="290"/>
                    </a:lnTo>
                    <a:lnTo>
                      <a:pt x="568" y="292"/>
                    </a:lnTo>
                    <a:lnTo>
                      <a:pt x="566" y="293"/>
                    </a:lnTo>
                    <a:lnTo>
                      <a:pt x="566" y="288"/>
                    </a:lnTo>
                    <a:lnTo>
                      <a:pt x="568" y="286"/>
                    </a:lnTo>
                    <a:close/>
                    <a:moveTo>
                      <a:pt x="668" y="508"/>
                    </a:moveTo>
                    <a:lnTo>
                      <a:pt x="670" y="512"/>
                    </a:lnTo>
                    <a:lnTo>
                      <a:pt x="671" y="512"/>
                    </a:lnTo>
                    <a:lnTo>
                      <a:pt x="671" y="510"/>
                    </a:lnTo>
                    <a:lnTo>
                      <a:pt x="670" y="510"/>
                    </a:lnTo>
                    <a:lnTo>
                      <a:pt x="668" y="508"/>
                    </a:lnTo>
                    <a:close/>
                    <a:moveTo>
                      <a:pt x="758" y="491"/>
                    </a:moveTo>
                    <a:lnTo>
                      <a:pt x="754" y="491"/>
                    </a:lnTo>
                    <a:lnTo>
                      <a:pt x="750" y="493"/>
                    </a:lnTo>
                    <a:lnTo>
                      <a:pt x="748" y="493"/>
                    </a:lnTo>
                    <a:lnTo>
                      <a:pt x="748" y="495"/>
                    </a:lnTo>
                    <a:lnTo>
                      <a:pt x="748" y="495"/>
                    </a:lnTo>
                    <a:lnTo>
                      <a:pt x="750" y="497"/>
                    </a:lnTo>
                    <a:lnTo>
                      <a:pt x="752" y="499"/>
                    </a:lnTo>
                    <a:lnTo>
                      <a:pt x="756" y="501"/>
                    </a:lnTo>
                    <a:lnTo>
                      <a:pt x="756" y="499"/>
                    </a:lnTo>
                    <a:lnTo>
                      <a:pt x="758" y="495"/>
                    </a:lnTo>
                    <a:lnTo>
                      <a:pt x="760" y="493"/>
                    </a:lnTo>
                    <a:lnTo>
                      <a:pt x="758" y="491"/>
                    </a:lnTo>
                    <a:close/>
                    <a:moveTo>
                      <a:pt x="664" y="447"/>
                    </a:moveTo>
                    <a:lnTo>
                      <a:pt x="670" y="447"/>
                    </a:lnTo>
                    <a:lnTo>
                      <a:pt x="673" y="451"/>
                    </a:lnTo>
                    <a:lnTo>
                      <a:pt x="675" y="453"/>
                    </a:lnTo>
                    <a:lnTo>
                      <a:pt x="677" y="457"/>
                    </a:lnTo>
                    <a:lnTo>
                      <a:pt x="677" y="460"/>
                    </a:lnTo>
                    <a:lnTo>
                      <a:pt x="677" y="464"/>
                    </a:lnTo>
                    <a:lnTo>
                      <a:pt x="677" y="466"/>
                    </a:lnTo>
                    <a:lnTo>
                      <a:pt x="675" y="466"/>
                    </a:lnTo>
                    <a:lnTo>
                      <a:pt x="670" y="464"/>
                    </a:lnTo>
                    <a:lnTo>
                      <a:pt x="662" y="464"/>
                    </a:lnTo>
                    <a:lnTo>
                      <a:pt x="664" y="453"/>
                    </a:lnTo>
                    <a:lnTo>
                      <a:pt x="664" y="447"/>
                    </a:lnTo>
                    <a:close/>
                    <a:moveTo>
                      <a:pt x="671" y="401"/>
                    </a:moveTo>
                    <a:lnTo>
                      <a:pt x="673" y="405"/>
                    </a:lnTo>
                    <a:lnTo>
                      <a:pt x="677" y="409"/>
                    </a:lnTo>
                    <a:lnTo>
                      <a:pt x="681" y="409"/>
                    </a:lnTo>
                    <a:lnTo>
                      <a:pt x="687" y="409"/>
                    </a:lnTo>
                    <a:lnTo>
                      <a:pt x="693" y="412"/>
                    </a:lnTo>
                    <a:lnTo>
                      <a:pt x="698" y="416"/>
                    </a:lnTo>
                    <a:lnTo>
                      <a:pt x="698" y="418"/>
                    </a:lnTo>
                    <a:lnTo>
                      <a:pt x="698" y="422"/>
                    </a:lnTo>
                    <a:lnTo>
                      <a:pt x="693" y="420"/>
                    </a:lnTo>
                    <a:lnTo>
                      <a:pt x="691" y="420"/>
                    </a:lnTo>
                    <a:lnTo>
                      <a:pt x="689" y="424"/>
                    </a:lnTo>
                    <a:lnTo>
                      <a:pt x="685" y="424"/>
                    </a:lnTo>
                    <a:lnTo>
                      <a:pt x="681" y="424"/>
                    </a:lnTo>
                    <a:lnTo>
                      <a:pt x="677" y="426"/>
                    </a:lnTo>
                    <a:lnTo>
                      <a:pt x="675" y="430"/>
                    </a:lnTo>
                    <a:lnTo>
                      <a:pt x="670" y="420"/>
                    </a:lnTo>
                    <a:lnTo>
                      <a:pt x="668" y="409"/>
                    </a:lnTo>
                    <a:lnTo>
                      <a:pt x="671" y="401"/>
                    </a:lnTo>
                    <a:close/>
                    <a:moveTo>
                      <a:pt x="627" y="382"/>
                    </a:moveTo>
                    <a:lnTo>
                      <a:pt x="627" y="388"/>
                    </a:lnTo>
                    <a:lnTo>
                      <a:pt x="633" y="386"/>
                    </a:lnTo>
                    <a:lnTo>
                      <a:pt x="635" y="384"/>
                    </a:lnTo>
                    <a:lnTo>
                      <a:pt x="633" y="384"/>
                    </a:lnTo>
                    <a:lnTo>
                      <a:pt x="627" y="382"/>
                    </a:lnTo>
                    <a:close/>
                    <a:moveTo>
                      <a:pt x="610" y="376"/>
                    </a:moveTo>
                    <a:lnTo>
                      <a:pt x="606" y="378"/>
                    </a:lnTo>
                    <a:lnTo>
                      <a:pt x="602" y="382"/>
                    </a:lnTo>
                    <a:lnTo>
                      <a:pt x="602" y="389"/>
                    </a:lnTo>
                    <a:lnTo>
                      <a:pt x="604" y="395"/>
                    </a:lnTo>
                    <a:lnTo>
                      <a:pt x="610" y="393"/>
                    </a:lnTo>
                    <a:lnTo>
                      <a:pt x="616" y="393"/>
                    </a:lnTo>
                    <a:lnTo>
                      <a:pt x="616" y="388"/>
                    </a:lnTo>
                    <a:lnTo>
                      <a:pt x="618" y="382"/>
                    </a:lnTo>
                    <a:lnTo>
                      <a:pt x="614" y="378"/>
                    </a:lnTo>
                    <a:lnTo>
                      <a:pt x="610" y="376"/>
                    </a:lnTo>
                    <a:close/>
                    <a:moveTo>
                      <a:pt x="633" y="370"/>
                    </a:moveTo>
                    <a:lnTo>
                      <a:pt x="631" y="376"/>
                    </a:lnTo>
                    <a:lnTo>
                      <a:pt x="633" y="376"/>
                    </a:lnTo>
                    <a:lnTo>
                      <a:pt x="631" y="378"/>
                    </a:lnTo>
                    <a:lnTo>
                      <a:pt x="635" y="378"/>
                    </a:lnTo>
                    <a:lnTo>
                      <a:pt x="635" y="372"/>
                    </a:lnTo>
                    <a:lnTo>
                      <a:pt x="633" y="370"/>
                    </a:lnTo>
                    <a:close/>
                    <a:moveTo>
                      <a:pt x="572" y="351"/>
                    </a:moveTo>
                    <a:lnTo>
                      <a:pt x="574" y="355"/>
                    </a:lnTo>
                    <a:lnTo>
                      <a:pt x="574" y="353"/>
                    </a:lnTo>
                    <a:lnTo>
                      <a:pt x="572" y="351"/>
                    </a:lnTo>
                    <a:close/>
                    <a:moveTo>
                      <a:pt x="604" y="349"/>
                    </a:moveTo>
                    <a:lnTo>
                      <a:pt x="604" y="351"/>
                    </a:lnTo>
                    <a:lnTo>
                      <a:pt x="608" y="353"/>
                    </a:lnTo>
                    <a:lnTo>
                      <a:pt x="608" y="351"/>
                    </a:lnTo>
                    <a:lnTo>
                      <a:pt x="608" y="351"/>
                    </a:lnTo>
                    <a:lnTo>
                      <a:pt x="608" y="349"/>
                    </a:lnTo>
                    <a:lnTo>
                      <a:pt x="604" y="349"/>
                    </a:lnTo>
                    <a:close/>
                    <a:moveTo>
                      <a:pt x="295" y="347"/>
                    </a:moveTo>
                    <a:lnTo>
                      <a:pt x="295" y="349"/>
                    </a:lnTo>
                    <a:lnTo>
                      <a:pt x="297" y="351"/>
                    </a:lnTo>
                    <a:lnTo>
                      <a:pt x="297" y="349"/>
                    </a:lnTo>
                    <a:lnTo>
                      <a:pt x="295" y="347"/>
                    </a:lnTo>
                    <a:close/>
                    <a:moveTo>
                      <a:pt x="577" y="345"/>
                    </a:moveTo>
                    <a:lnTo>
                      <a:pt x="577" y="349"/>
                    </a:lnTo>
                    <a:lnTo>
                      <a:pt x="581" y="349"/>
                    </a:lnTo>
                    <a:lnTo>
                      <a:pt x="579" y="347"/>
                    </a:lnTo>
                    <a:lnTo>
                      <a:pt x="577" y="345"/>
                    </a:lnTo>
                    <a:close/>
                    <a:moveTo>
                      <a:pt x="568" y="340"/>
                    </a:moveTo>
                    <a:lnTo>
                      <a:pt x="564" y="343"/>
                    </a:lnTo>
                    <a:lnTo>
                      <a:pt x="558" y="343"/>
                    </a:lnTo>
                    <a:lnTo>
                      <a:pt x="554" y="343"/>
                    </a:lnTo>
                    <a:lnTo>
                      <a:pt x="554" y="345"/>
                    </a:lnTo>
                    <a:lnTo>
                      <a:pt x="556" y="347"/>
                    </a:lnTo>
                    <a:lnTo>
                      <a:pt x="560" y="347"/>
                    </a:lnTo>
                    <a:lnTo>
                      <a:pt x="568" y="349"/>
                    </a:lnTo>
                    <a:lnTo>
                      <a:pt x="570" y="345"/>
                    </a:lnTo>
                    <a:lnTo>
                      <a:pt x="572" y="343"/>
                    </a:lnTo>
                    <a:lnTo>
                      <a:pt x="572" y="341"/>
                    </a:lnTo>
                    <a:lnTo>
                      <a:pt x="572" y="340"/>
                    </a:lnTo>
                    <a:lnTo>
                      <a:pt x="570" y="340"/>
                    </a:lnTo>
                    <a:lnTo>
                      <a:pt x="568" y="340"/>
                    </a:lnTo>
                    <a:close/>
                    <a:moveTo>
                      <a:pt x="689" y="338"/>
                    </a:moveTo>
                    <a:lnTo>
                      <a:pt x="693" y="340"/>
                    </a:lnTo>
                    <a:lnTo>
                      <a:pt x="695" y="340"/>
                    </a:lnTo>
                    <a:lnTo>
                      <a:pt x="695" y="341"/>
                    </a:lnTo>
                    <a:lnTo>
                      <a:pt x="691" y="341"/>
                    </a:lnTo>
                    <a:lnTo>
                      <a:pt x="689" y="340"/>
                    </a:lnTo>
                    <a:lnTo>
                      <a:pt x="687" y="340"/>
                    </a:lnTo>
                    <a:lnTo>
                      <a:pt x="685" y="338"/>
                    </a:lnTo>
                    <a:lnTo>
                      <a:pt x="689" y="338"/>
                    </a:lnTo>
                    <a:close/>
                    <a:moveTo>
                      <a:pt x="685" y="330"/>
                    </a:moveTo>
                    <a:lnTo>
                      <a:pt x="685" y="334"/>
                    </a:lnTo>
                    <a:lnTo>
                      <a:pt x="681" y="334"/>
                    </a:lnTo>
                    <a:lnTo>
                      <a:pt x="681" y="332"/>
                    </a:lnTo>
                    <a:lnTo>
                      <a:pt x="683" y="330"/>
                    </a:lnTo>
                    <a:lnTo>
                      <a:pt x="685" y="330"/>
                    </a:lnTo>
                    <a:close/>
                    <a:moveTo>
                      <a:pt x="529" y="322"/>
                    </a:moveTo>
                    <a:lnTo>
                      <a:pt x="531" y="322"/>
                    </a:lnTo>
                    <a:lnTo>
                      <a:pt x="531" y="324"/>
                    </a:lnTo>
                    <a:lnTo>
                      <a:pt x="531" y="326"/>
                    </a:lnTo>
                    <a:lnTo>
                      <a:pt x="529" y="326"/>
                    </a:lnTo>
                    <a:lnTo>
                      <a:pt x="528" y="324"/>
                    </a:lnTo>
                    <a:lnTo>
                      <a:pt x="528" y="324"/>
                    </a:lnTo>
                    <a:lnTo>
                      <a:pt x="526" y="322"/>
                    </a:lnTo>
                    <a:lnTo>
                      <a:pt x="529" y="322"/>
                    </a:lnTo>
                    <a:close/>
                    <a:moveTo>
                      <a:pt x="675" y="315"/>
                    </a:moveTo>
                    <a:lnTo>
                      <a:pt x="675" y="318"/>
                    </a:lnTo>
                    <a:lnTo>
                      <a:pt x="677" y="326"/>
                    </a:lnTo>
                    <a:lnTo>
                      <a:pt x="673" y="326"/>
                    </a:lnTo>
                    <a:lnTo>
                      <a:pt x="673" y="318"/>
                    </a:lnTo>
                    <a:lnTo>
                      <a:pt x="675" y="315"/>
                    </a:lnTo>
                    <a:close/>
                    <a:moveTo>
                      <a:pt x="541" y="249"/>
                    </a:moveTo>
                    <a:lnTo>
                      <a:pt x="541" y="253"/>
                    </a:lnTo>
                    <a:lnTo>
                      <a:pt x="543" y="257"/>
                    </a:lnTo>
                    <a:lnTo>
                      <a:pt x="541" y="259"/>
                    </a:lnTo>
                    <a:lnTo>
                      <a:pt x="539" y="265"/>
                    </a:lnTo>
                    <a:lnTo>
                      <a:pt x="545" y="267"/>
                    </a:lnTo>
                    <a:lnTo>
                      <a:pt x="552" y="270"/>
                    </a:lnTo>
                    <a:lnTo>
                      <a:pt x="560" y="270"/>
                    </a:lnTo>
                    <a:lnTo>
                      <a:pt x="570" y="270"/>
                    </a:lnTo>
                    <a:lnTo>
                      <a:pt x="570" y="269"/>
                    </a:lnTo>
                    <a:lnTo>
                      <a:pt x="574" y="269"/>
                    </a:lnTo>
                    <a:lnTo>
                      <a:pt x="574" y="270"/>
                    </a:lnTo>
                    <a:lnTo>
                      <a:pt x="574" y="274"/>
                    </a:lnTo>
                    <a:lnTo>
                      <a:pt x="581" y="278"/>
                    </a:lnTo>
                    <a:lnTo>
                      <a:pt x="589" y="282"/>
                    </a:lnTo>
                    <a:lnTo>
                      <a:pt x="579" y="280"/>
                    </a:lnTo>
                    <a:lnTo>
                      <a:pt x="572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68" y="282"/>
                    </a:lnTo>
                    <a:lnTo>
                      <a:pt x="568" y="278"/>
                    </a:lnTo>
                    <a:lnTo>
                      <a:pt x="564" y="278"/>
                    </a:lnTo>
                    <a:lnTo>
                      <a:pt x="560" y="280"/>
                    </a:lnTo>
                    <a:lnTo>
                      <a:pt x="558" y="282"/>
                    </a:lnTo>
                    <a:lnTo>
                      <a:pt x="556" y="282"/>
                    </a:lnTo>
                    <a:lnTo>
                      <a:pt x="556" y="278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51" y="276"/>
                    </a:lnTo>
                    <a:lnTo>
                      <a:pt x="549" y="278"/>
                    </a:lnTo>
                    <a:lnTo>
                      <a:pt x="547" y="282"/>
                    </a:lnTo>
                    <a:lnTo>
                      <a:pt x="547" y="284"/>
                    </a:lnTo>
                    <a:lnTo>
                      <a:pt x="547" y="286"/>
                    </a:lnTo>
                    <a:lnTo>
                      <a:pt x="547" y="286"/>
                    </a:lnTo>
                    <a:lnTo>
                      <a:pt x="551" y="286"/>
                    </a:lnTo>
                    <a:lnTo>
                      <a:pt x="549" y="288"/>
                    </a:lnTo>
                    <a:lnTo>
                      <a:pt x="549" y="290"/>
                    </a:lnTo>
                    <a:lnTo>
                      <a:pt x="543" y="290"/>
                    </a:lnTo>
                    <a:lnTo>
                      <a:pt x="541" y="290"/>
                    </a:lnTo>
                    <a:lnTo>
                      <a:pt x="537" y="290"/>
                    </a:lnTo>
                    <a:lnTo>
                      <a:pt x="537" y="288"/>
                    </a:lnTo>
                    <a:lnTo>
                      <a:pt x="541" y="288"/>
                    </a:lnTo>
                    <a:lnTo>
                      <a:pt x="541" y="284"/>
                    </a:lnTo>
                    <a:lnTo>
                      <a:pt x="541" y="280"/>
                    </a:lnTo>
                    <a:lnTo>
                      <a:pt x="543" y="280"/>
                    </a:lnTo>
                    <a:lnTo>
                      <a:pt x="543" y="278"/>
                    </a:lnTo>
                    <a:lnTo>
                      <a:pt x="539" y="278"/>
                    </a:lnTo>
                    <a:lnTo>
                      <a:pt x="539" y="274"/>
                    </a:lnTo>
                    <a:lnTo>
                      <a:pt x="541" y="270"/>
                    </a:lnTo>
                    <a:lnTo>
                      <a:pt x="537" y="267"/>
                    </a:lnTo>
                    <a:lnTo>
                      <a:pt x="535" y="263"/>
                    </a:lnTo>
                    <a:lnTo>
                      <a:pt x="535" y="259"/>
                    </a:lnTo>
                    <a:lnTo>
                      <a:pt x="537" y="255"/>
                    </a:lnTo>
                    <a:lnTo>
                      <a:pt x="541" y="249"/>
                    </a:lnTo>
                    <a:close/>
                    <a:moveTo>
                      <a:pt x="556" y="215"/>
                    </a:moveTo>
                    <a:lnTo>
                      <a:pt x="558" y="219"/>
                    </a:lnTo>
                    <a:lnTo>
                      <a:pt x="560" y="219"/>
                    </a:lnTo>
                    <a:lnTo>
                      <a:pt x="562" y="217"/>
                    </a:lnTo>
                    <a:lnTo>
                      <a:pt x="560" y="217"/>
                    </a:lnTo>
                    <a:lnTo>
                      <a:pt x="556" y="215"/>
                    </a:lnTo>
                    <a:close/>
                    <a:moveTo>
                      <a:pt x="564" y="184"/>
                    </a:moveTo>
                    <a:lnTo>
                      <a:pt x="558" y="186"/>
                    </a:lnTo>
                    <a:lnTo>
                      <a:pt x="558" y="188"/>
                    </a:lnTo>
                    <a:lnTo>
                      <a:pt x="560" y="190"/>
                    </a:lnTo>
                    <a:lnTo>
                      <a:pt x="564" y="194"/>
                    </a:lnTo>
                    <a:lnTo>
                      <a:pt x="564" y="190"/>
                    </a:lnTo>
                    <a:lnTo>
                      <a:pt x="566" y="188"/>
                    </a:lnTo>
                    <a:lnTo>
                      <a:pt x="566" y="186"/>
                    </a:lnTo>
                    <a:lnTo>
                      <a:pt x="566" y="184"/>
                    </a:lnTo>
                    <a:lnTo>
                      <a:pt x="566" y="184"/>
                    </a:lnTo>
                    <a:lnTo>
                      <a:pt x="564" y="184"/>
                    </a:lnTo>
                    <a:close/>
                    <a:moveTo>
                      <a:pt x="537" y="150"/>
                    </a:moveTo>
                    <a:lnTo>
                      <a:pt x="541" y="150"/>
                    </a:lnTo>
                    <a:lnTo>
                      <a:pt x="547" y="151"/>
                    </a:lnTo>
                    <a:lnTo>
                      <a:pt x="547" y="153"/>
                    </a:lnTo>
                    <a:lnTo>
                      <a:pt x="543" y="153"/>
                    </a:lnTo>
                    <a:lnTo>
                      <a:pt x="537" y="151"/>
                    </a:lnTo>
                    <a:lnTo>
                      <a:pt x="537" y="150"/>
                    </a:lnTo>
                    <a:close/>
                    <a:moveTo>
                      <a:pt x="568" y="31"/>
                    </a:moveTo>
                    <a:lnTo>
                      <a:pt x="570" y="31"/>
                    </a:lnTo>
                    <a:lnTo>
                      <a:pt x="570" y="32"/>
                    </a:lnTo>
                    <a:lnTo>
                      <a:pt x="570" y="32"/>
                    </a:lnTo>
                    <a:lnTo>
                      <a:pt x="570" y="34"/>
                    </a:lnTo>
                    <a:lnTo>
                      <a:pt x="568" y="32"/>
                    </a:lnTo>
                    <a:lnTo>
                      <a:pt x="566" y="32"/>
                    </a:lnTo>
                    <a:lnTo>
                      <a:pt x="564" y="31"/>
                    </a:lnTo>
                    <a:lnTo>
                      <a:pt x="568" y="31"/>
                    </a:lnTo>
                    <a:close/>
                    <a:moveTo>
                      <a:pt x="604" y="23"/>
                    </a:moveTo>
                    <a:lnTo>
                      <a:pt x="606" y="23"/>
                    </a:lnTo>
                    <a:lnTo>
                      <a:pt x="606" y="25"/>
                    </a:lnTo>
                    <a:lnTo>
                      <a:pt x="604" y="27"/>
                    </a:lnTo>
                    <a:lnTo>
                      <a:pt x="602" y="29"/>
                    </a:lnTo>
                    <a:lnTo>
                      <a:pt x="602" y="25"/>
                    </a:lnTo>
                    <a:lnTo>
                      <a:pt x="604" y="23"/>
                    </a:lnTo>
                    <a:close/>
                    <a:moveTo>
                      <a:pt x="244" y="366"/>
                    </a:moveTo>
                    <a:lnTo>
                      <a:pt x="244" y="368"/>
                    </a:lnTo>
                    <a:lnTo>
                      <a:pt x="251" y="370"/>
                    </a:lnTo>
                    <a:lnTo>
                      <a:pt x="249" y="368"/>
                    </a:lnTo>
                    <a:lnTo>
                      <a:pt x="244" y="366"/>
                    </a:lnTo>
                    <a:close/>
                    <a:moveTo>
                      <a:pt x="284" y="361"/>
                    </a:moveTo>
                    <a:lnTo>
                      <a:pt x="282" y="363"/>
                    </a:lnTo>
                    <a:lnTo>
                      <a:pt x="282" y="364"/>
                    </a:lnTo>
                    <a:lnTo>
                      <a:pt x="284" y="366"/>
                    </a:lnTo>
                    <a:lnTo>
                      <a:pt x="286" y="366"/>
                    </a:lnTo>
                    <a:lnTo>
                      <a:pt x="288" y="364"/>
                    </a:lnTo>
                    <a:lnTo>
                      <a:pt x="288" y="363"/>
                    </a:lnTo>
                    <a:lnTo>
                      <a:pt x="288" y="361"/>
                    </a:lnTo>
                    <a:lnTo>
                      <a:pt x="284" y="361"/>
                    </a:lnTo>
                    <a:close/>
                    <a:moveTo>
                      <a:pt x="303" y="355"/>
                    </a:moveTo>
                    <a:lnTo>
                      <a:pt x="299" y="357"/>
                    </a:lnTo>
                    <a:lnTo>
                      <a:pt x="297" y="359"/>
                    </a:lnTo>
                    <a:lnTo>
                      <a:pt x="301" y="359"/>
                    </a:lnTo>
                    <a:lnTo>
                      <a:pt x="305" y="361"/>
                    </a:lnTo>
                    <a:lnTo>
                      <a:pt x="305" y="359"/>
                    </a:lnTo>
                    <a:lnTo>
                      <a:pt x="305" y="357"/>
                    </a:lnTo>
                    <a:lnTo>
                      <a:pt x="305" y="355"/>
                    </a:lnTo>
                    <a:lnTo>
                      <a:pt x="303" y="355"/>
                    </a:lnTo>
                    <a:close/>
                    <a:moveTo>
                      <a:pt x="332" y="338"/>
                    </a:moveTo>
                    <a:lnTo>
                      <a:pt x="332" y="340"/>
                    </a:lnTo>
                    <a:lnTo>
                      <a:pt x="326" y="341"/>
                    </a:lnTo>
                    <a:lnTo>
                      <a:pt x="324" y="347"/>
                    </a:lnTo>
                    <a:lnTo>
                      <a:pt x="324" y="349"/>
                    </a:lnTo>
                    <a:lnTo>
                      <a:pt x="324" y="353"/>
                    </a:lnTo>
                    <a:lnTo>
                      <a:pt x="320" y="353"/>
                    </a:lnTo>
                    <a:lnTo>
                      <a:pt x="316" y="355"/>
                    </a:lnTo>
                    <a:lnTo>
                      <a:pt x="316" y="357"/>
                    </a:lnTo>
                    <a:lnTo>
                      <a:pt x="316" y="361"/>
                    </a:lnTo>
                    <a:lnTo>
                      <a:pt x="320" y="361"/>
                    </a:lnTo>
                    <a:lnTo>
                      <a:pt x="326" y="363"/>
                    </a:lnTo>
                    <a:lnTo>
                      <a:pt x="326" y="361"/>
                    </a:lnTo>
                    <a:lnTo>
                      <a:pt x="330" y="359"/>
                    </a:lnTo>
                    <a:lnTo>
                      <a:pt x="330" y="363"/>
                    </a:lnTo>
                    <a:lnTo>
                      <a:pt x="330" y="366"/>
                    </a:lnTo>
                    <a:lnTo>
                      <a:pt x="336" y="370"/>
                    </a:lnTo>
                    <a:lnTo>
                      <a:pt x="341" y="372"/>
                    </a:lnTo>
                    <a:lnTo>
                      <a:pt x="343" y="368"/>
                    </a:lnTo>
                    <a:lnTo>
                      <a:pt x="343" y="366"/>
                    </a:lnTo>
                    <a:lnTo>
                      <a:pt x="347" y="366"/>
                    </a:lnTo>
                    <a:lnTo>
                      <a:pt x="349" y="368"/>
                    </a:lnTo>
                    <a:lnTo>
                      <a:pt x="364" y="364"/>
                    </a:lnTo>
                    <a:lnTo>
                      <a:pt x="362" y="363"/>
                    </a:lnTo>
                    <a:lnTo>
                      <a:pt x="359" y="363"/>
                    </a:lnTo>
                    <a:lnTo>
                      <a:pt x="359" y="355"/>
                    </a:lnTo>
                    <a:lnTo>
                      <a:pt x="359" y="349"/>
                    </a:lnTo>
                    <a:lnTo>
                      <a:pt x="355" y="345"/>
                    </a:lnTo>
                    <a:lnTo>
                      <a:pt x="347" y="341"/>
                    </a:lnTo>
                    <a:lnTo>
                      <a:pt x="338" y="338"/>
                    </a:lnTo>
                    <a:lnTo>
                      <a:pt x="332" y="338"/>
                    </a:lnTo>
                    <a:close/>
                    <a:moveTo>
                      <a:pt x="470" y="332"/>
                    </a:moveTo>
                    <a:lnTo>
                      <a:pt x="470" y="336"/>
                    </a:lnTo>
                    <a:lnTo>
                      <a:pt x="472" y="340"/>
                    </a:lnTo>
                    <a:lnTo>
                      <a:pt x="476" y="341"/>
                    </a:lnTo>
                    <a:lnTo>
                      <a:pt x="481" y="343"/>
                    </a:lnTo>
                    <a:lnTo>
                      <a:pt x="481" y="341"/>
                    </a:lnTo>
                    <a:lnTo>
                      <a:pt x="474" y="338"/>
                    </a:lnTo>
                    <a:lnTo>
                      <a:pt x="470" y="332"/>
                    </a:lnTo>
                    <a:close/>
                    <a:moveTo>
                      <a:pt x="299" y="317"/>
                    </a:moveTo>
                    <a:lnTo>
                      <a:pt x="297" y="318"/>
                    </a:lnTo>
                    <a:lnTo>
                      <a:pt x="295" y="320"/>
                    </a:lnTo>
                    <a:lnTo>
                      <a:pt x="295" y="324"/>
                    </a:lnTo>
                    <a:lnTo>
                      <a:pt x="299" y="324"/>
                    </a:lnTo>
                    <a:lnTo>
                      <a:pt x="299" y="322"/>
                    </a:lnTo>
                    <a:lnTo>
                      <a:pt x="301" y="320"/>
                    </a:lnTo>
                    <a:lnTo>
                      <a:pt x="301" y="317"/>
                    </a:lnTo>
                    <a:lnTo>
                      <a:pt x="299" y="317"/>
                    </a:lnTo>
                    <a:close/>
                    <a:moveTo>
                      <a:pt x="345" y="251"/>
                    </a:moveTo>
                    <a:lnTo>
                      <a:pt x="345" y="255"/>
                    </a:lnTo>
                    <a:lnTo>
                      <a:pt x="349" y="255"/>
                    </a:lnTo>
                    <a:lnTo>
                      <a:pt x="347" y="253"/>
                    </a:lnTo>
                    <a:lnTo>
                      <a:pt x="345" y="251"/>
                    </a:lnTo>
                    <a:close/>
                    <a:moveTo>
                      <a:pt x="126" y="247"/>
                    </a:moveTo>
                    <a:lnTo>
                      <a:pt x="119" y="255"/>
                    </a:lnTo>
                    <a:lnTo>
                      <a:pt x="113" y="261"/>
                    </a:lnTo>
                    <a:lnTo>
                      <a:pt x="105" y="261"/>
                    </a:lnTo>
                    <a:lnTo>
                      <a:pt x="100" y="261"/>
                    </a:lnTo>
                    <a:lnTo>
                      <a:pt x="94" y="263"/>
                    </a:lnTo>
                    <a:lnTo>
                      <a:pt x="92" y="267"/>
                    </a:lnTo>
                    <a:lnTo>
                      <a:pt x="88" y="267"/>
                    </a:lnTo>
                    <a:lnTo>
                      <a:pt x="86" y="267"/>
                    </a:lnTo>
                    <a:lnTo>
                      <a:pt x="82" y="274"/>
                    </a:lnTo>
                    <a:lnTo>
                      <a:pt x="84" y="280"/>
                    </a:lnTo>
                    <a:lnTo>
                      <a:pt x="82" y="280"/>
                    </a:lnTo>
                    <a:lnTo>
                      <a:pt x="75" y="286"/>
                    </a:lnTo>
                    <a:lnTo>
                      <a:pt x="69" y="293"/>
                    </a:lnTo>
                    <a:lnTo>
                      <a:pt x="65" y="293"/>
                    </a:lnTo>
                    <a:lnTo>
                      <a:pt x="67" y="297"/>
                    </a:lnTo>
                    <a:lnTo>
                      <a:pt x="73" y="299"/>
                    </a:lnTo>
                    <a:lnTo>
                      <a:pt x="80" y="299"/>
                    </a:lnTo>
                    <a:lnTo>
                      <a:pt x="80" y="297"/>
                    </a:lnTo>
                    <a:lnTo>
                      <a:pt x="84" y="295"/>
                    </a:lnTo>
                    <a:lnTo>
                      <a:pt x="84" y="297"/>
                    </a:lnTo>
                    <a:lnTo>
                      <a:pt x="88" y="301"/>
                    </a:lnTo>
                    <a:lnTo>
                      <a:pt x="80" y="303"/>
                    </a:lnTo>
                    <a:lnTo>
                      <a:pt x="80" y="305"/>
                    </a:lnTo>
                    <a:lnTo>
                      <a:pt x="86" y="305"/>
                    </a:lnTo>
                    <a:lnTo>
                      <a:pt x="92" y="305"/>
                    </a:lnTo>
                    <a:lnTo>
                      <a:pt x="92" y="301"/>
                    </a:lnTo>
                    <a:lnTo>
                      <a:pt x="92" y="299"/>
                    </a:lnTo>
                    <a:lnTo>
                      <a:pt x="105" y="299"/>
                    </a:lnTo>
                    <a:lnTo>
                      <a:pt x="123" y="297"/>
                    </a:lnTo>
                    <a:lnTo>
                      <a:pt x="125" y="301"/>
                    </a:lnTo>
                    <a:lnTo>
                      <a:pt x="111" y="301"/>
                    </a:lnTo>
                    <a:lnTo>
                      <a:pt x="100" y="305"/>
                    </a:lnTo>
                    <a:lnTo>
                      <a:pt x="98" y="309"/>
                    </a:lnTo>
                    <a:lnTo>
                      <a:pt x="90" y="311"/>
                    </a:lnTo>
                    <a:lnTo>
                      <a:pt x="84" y="311"/>
                    </a:lnTo>
                    <a:lnTo>
                      <a:pt x="84" y="313"/>
                    </a:lnTo>
                    <a:lnTo>
                      <a:pt x="84" y="317"/>
                    </a:lnTo>
                    <a:lnTo>
                      <a:pt x="86" y="317"/>
                    </a:lnTo>
                    <a:lnTo>
                      <a:pt x="88" y="318"/>
                    </a:lnTo>
                    <a:lnTo>
                      <a:pt x="105" y="318"/>
                    </a:lnTo>
                    <a:lnTo>
                      <a:pt x="126" y="318"/>
                    </a:lnTo>
                    <a:lnTo>
                      <a:pt x="130" y="317"/>
                    </a:lnTo>
                    <a:lnTo>
                      <a:pt x="136" y="315"/>
                    </a:lnTo>
                    <a:lnTo>
                      <a:pt x="138" y="317"/>
                    </a:lnTo>
                    <a:lnTo>
                      <a:pt x="142" y="318"/>
                    </a:lnTo>
                    <a:lnTo>
                      <a:pt x="148" y="313"/>
                    </a:lnTo>
                    <a:lnTo>
                      <a:pt x="149" y="315"/>
                    </a:lnTo>
                    <a:lnTo>
                      <a:pt x="153" y="318"/>
                    </a:lnTo>
                    <a:lnTo>
                      <a:pt x="159" y="318"/>
                    </a:lnTo>
                    <a:lnTo>
                      <a:pt x="167" y="317"/>
                    </a:lnTo>
                    <a:lnTo>
                      <a:pt x="161" y="322"/>
                    </a:lnTo>
                    <a:lnTo>
                      <a:pt x="157" y="328"/>
                    </a:lnTo>
                    <a:lnTo>
                      <a:pt x="142" y="328"/>
                    </a:lnTo>
                    <a:lnTo>
                      <a:pt x="126" y="326"/>
                    </a:lnTo>
                    <a:lnTo>
                      <a:pt x="121" y="328"/>
                    </a:lnTo>
                    <a:lnTo>
                      <a:pt x="117" y="332"/>
                    </a:lnTo>
                    <a:lnTo>
                      <a:pt x="107" y="332"/>
                    </a:lnTo>
                    <a:lnTo>
                      <a:pt x="98" y="332"/>
                    </a:lnTo>
                    <a:lnTo>
                      <a:pt x="98" y="338"/>
                    </a:lnTo>
                    <a:lnTo>
                      <a:pt x="98" y="345"/>
                    </a:lnTo>
                    <a:lnTo>
                      <a:pt x="101" y="345"/>
                    </a:lnTo>
                    <a:lnTo>
                      <a:pt x="105" y="347"/>
                    </a:lnTo>
                    <a:lnTo>
                      <a:pt x="105" y="351"/>
                    </a:lnTo>
                    <a:lnTo>
                      <a:pt x="119" y="353"/>
                    </a:lnTo>
                    <a:lnTo>
                      <a:pt x="134" y="357"/>
                    </a:lnTo>
                    <a:lnTo>
                      <a:pt x="134" y="363"/>
                    </a:lnTo>
                    <a:lnTo>
                      <a:pt x="134" y="368"/>
                    </a:lnTo>
                    <a:lnTo>
                      <a:pt x="138" y="366"/>
                    </a:lnTo>
                    <a:lnTo>
                      <a:pt x="142" y="366"/>
                    </a:lnTo>
                    <a:lnTo>
                      <a:pt x="142" y="370"/>
                    </a:lnTo>
                    <a:lnTo>
                      <a:pt x="167" y="368"/>
                    </a:lnTo>
                    <a:lnTo>
                      <a:pt x="190" y="364"/>
                    </a:lnTo>
                    <a:lnTo>
                      <a:pt x="192" y="361"/>
                    </a:lnTo>
                    <a:lnTo>
                      <a:pt x="199" y="357"/>
                    </a:lnTo>
                    <a:lnTo>
                      <a:pt x="207" y="355"/>
                    </a:lnTo>
                    <a:lnTo>
                      <a:pt x="211" y="355"/>
                    </a:lnTo>
                    <a:lnTo>
                      <a:pt x="215" y="355"/>
                    </a:lnTo>
                    <a:lnTo>
                      <a:pt x="222" y="347"/>
                    </a:lnTo>
                    <a:lnTo>
                      <a:pt x="232" y="340"/>
                    </a:lnTo>
                    <a:lnTo>
                      <a:pt x="234" y="340"/>
                    </a:lnTo>
                    <a:lnTo>
                      <a:pt x="238" y="340"/>
                    </a:lnTo>
                    <a:lnTo>
                      <a:pt x="236" y="345"/>
                    </a:lnTo>
                    <a:lnTo>
                      <a:pt x="234" y="349"/>
                    </a:lnTo>
                    <a:lnTo>
                      <a:pt x="240" y="351"/>
                    </a:lnTo>
                    <a:lnTo>
                      <a:pt x="247" y="353"/>
                    </a:lnTo>
                    <a:lnTo>
                      <a:pt x="247" y="355"/>
                    </a:lnTo>
                    <a:lnTo>
                      <a:pt x="247" y="359"/>
                    </a:lnTo>
                    <a:lnTo>
                      <a:pt x="251" y="357"/>
                    </a:lnTo>
                    <a:lnTo>
                      <a:pt x="255" y="355"/>
                    </a:lnTo>
                    <a:lnTo>
                      <a:pt x="257" y="359"/>
                    </a:lnTo>
                    <a:lnTo>
                      <a:pt x="261" y="359"/>
                    </a:lnTo>
                    <a:lnTo>
                      <a:pt x="267" y="359"/>
                    </a:lnTo>
                    <a:lnTo>
                      <a:pt x="267" y="361"/>
                    </a:lnTo>
                    <a:lnTo>
                      <a:pt x="270" y="359"/>
                    </a:lnTo>
                    <a:lnTo>
                      <a:pt x="272" y="357"/>
                    </a:lnTo>
                    <a:lnTo>
                      <a:pt x="278" y="357"/>
                    </a:lnTo>
                    <a:lnTo>
                      <a:pt x="286" y="357"/>
                    </a:lnTo>
                    <a:lnTo>
                      <a:pt x="288" y="353"/>
                    </a:lnTo>
                    <a:lnTo>
                      <a:pt x="290" y="351"/>
                    </a:lnTo>
                    <a:lnTo>
                      <a:pt x="284" y="347"/>
                    </a:lnTo>
                    <a:lnTo>
                      <a:pt x="280" y="345"/>
                    </a:lnTo>
                    <a:lnTo>
                      <a:pt x="278" y="347"/>
                    </a:lnTo>
                    <a:lnTo>
                      <a:pt x="278" y="349"/>
                    </a:lnTo>
                    <a:lnTo>
                      <a:pt x="272" y="349"/>
                    </a:lnTo>
                    <a:lnTo>
                      <a:pt x="270" y="349"/>
                    </a:lnTo>
                    <a:lnTo>
                      <a:pt x="268" y="345"/>
                    </a:lnTo>
                    <a:lnTo>
                      <a:pt x="268" y="343"/>
                    </a:lnTo>
                    <a:lnTo>
                      <a:pt x="265" y="341"/>
                    </a:lnTo>
                    <a:lnTo>
                      <a:pt x="265" y="341"/>
                    </a:lnTo>
                    <a:lnTo>
                      <a:pt x="267" y="341"/>
                    </a:lnTo>
                    <a:lnTo>
                      <a:pt x="270" y="341"/>
                    </a:lnTo>
                    <a:lnTo>
                      <a:pt x="278" y="341"/>
                    </a:lnTo>
                    <a:lnTo>
                      <a:pt x="286" y="343"/>
                    </a:lnTo>
                    <a:lnTo>
                      <a:pt x="286" y="343"/>
                    </a:lnTo>
                    <a:lnTo>
                      <a:pt x="282" y="341"/>
                    </a:lnTo>
                    <a:lnTo>
                      <a:pt x="282" y="338"/>
                    </a:lnTo>
                    <a:lnTo>
                      <a:pt x="286" y="336"/>
                    </a:lnTo>
                    <a:lnTo>
                      <a:pt x="290" y="336"/>
                    </a:lnTo>
                    <a:lnTo>
                      <a:pt x="290" y="340"/>
                    </a:lnTo>
                    <a:lnTo>
                      <a:pt x="291" y="340"/>
                    </a:lnTo>
                    <a:lnTo>
                      <a:pt x="295" y="340"/>
                    </a:lnTo>
                    <a:lnTo>
                      <a:pt x="295" y="341"/>
                    </a:lnTo>
                    <a:lnTo>
                      <a:pt x="295" y="345"/>
                    </a:lnTo>
                    <a:lnTo>
                      <a:pt x="299" y="345"/>
                    </a:lnTo>
                    <a:lnTo>
                      <a:pt x="301" y="343"/>
                    </a:lnTo>
                    <a:lnTo>
                      <a:pt x="301" y="340"/>
                    </a:lnTo>
                    <a:lnTo>
                      <a:pt x="299" y="340"/>
                    </a:lnTo>
                    <a:lnTo>
                      <a:pt x="301" y="334"/>
                    </a:lnTo>
                    <a:lnTo>
                      <a:pt x="299" y="328"/>
                    </a:lnTo>
                    <a:lnTo>
                      <a:pt x="290" y="326"/>
                    </a:lnTo>
                    <a:lnTo>
                      <a:pt x="282" y="326"/>
                    </a:lnTo>
                    <a:lnTo>
                      <a:pt x="280" y="326"/>
                    </a:lnTo>
                    <a:lnTo>
                      <a:pt x="276" y="326"/>
                    </a:lnTo>
                    <a:lnTo>
                      <a:pt x="274" y="324"/>
                    </a:lnTo>
                    <a:lnTo>
                      <a:pt x="272" y="320"/>
                    </a:lnTo>
                    <a:lnTo>
                      <a:pt x="272" y="317"/>
                    </a:lnTo>
                    <a:lnTo>
                      <a:pt x="272" y="315"/>
                    </a:lnTo>
                    <a:lnTo>
                      <a:pt x="268" y="315"/>
                    </a:lnTo>
                    <a:lnTo>
                      <a:pt x="270" y="320"/>
                    </a:lnTo>
                    <a:lnTo>
                      <a:pt x="270" y="322"/>
                    </a:lnTo>
                    <a:lnTo>
                      <a:pt x="268" y="322"/>
                    </a:lnTo>
                    <a:lnTo>
                      <a:pt x="268" y="320"/>
                    </a:lnTo>
                    <a:lnTo>
                      <a:pt x="263" y="318"/>
                    </a:lnTo>
                    <a:lnTo>
                      <a:pt x="259" y="318"/>
                    </a:lnTo>
                    <a:lnTo>
                      <a:pt x="259" y="315"/>
                    </a:lnTo>
                    <a:lnTo>
                      <a:pt x="253" y="307"/>
                    </a:lnTo>
                    <a:lnTo>
                      <a:pt x="251" y="299"/>
                    </a:lnTo>
                    <a:lnTo>
                      <a:pt x="247" y="297"/>
                    </a:lnTo>
                    <a:lnTo>
                      <a:pt x="245" y="297"/>
                    </a:lnTo>
                    <a:lnTo>
                      <a:pt x="242" y="290"/>
                    </a:lnTo>
                    <a:lnTo>
                      <a:pt x="240" y="282"/>
                    </a:lnTo>
                    <a:lnTo>
                      <a:pt x="240" y="280"/>
                    </a:lnTo>
                    <a:lnTo>
                      <a:pt x="236" y="280"/>
                    </a:lnTo>
                    <a:lnTo>
                      <a:pt x="232" y="280"/>
                    </a:lnTo>
                    <a:lnTo>
                      <a:pt x="232" y="278"/>
                    </a:lnTo>
                    <a:lnTo>
                      <a:pt x="236" y="276"/>
                    </a:lnTo>
                    <a:lnTo>
                      <a:pt x="236" y="272"/>
                    </a:lnTo>
                    <a:lnTo>
                      <a:pt x="236" y="269"/>
                    </a:lnTo>
                    <a:lnTo>
                      <a:pt x="226" y="259"/>
                    </a:lnTo>
                    <a:lnTo>
                      <a:pt x="219" y="249"/>
                    </a:lnTo>
                    <a:lnTo>
                      <a:pt x="213" y="253"/>
                    </a:lnTo>
                    <a:lnTo>
                      <a:pt x="213" y="265"/>
                    </a:lnTo>
                    <a:lnTo>
                      <a:pt x="215" y="270"/>
                    </a:lnTo>
                    <a:lnTo>
                      <a:pt x="220" y="274"/>
                    </a:lnTo>
                    <a:lnTo>
                      <a:pt x="232" y="276"/>
                    </a:lnTo>
                    <a:lnTo>
                      <a:pt x="230" y="278"/>
                    </a:lnTo>
                    <a:lnTo>
                      <a:pt x="230" y="280"/>
                    </a:lnTo>
                    <a:lnTo>
                      <a:pt x="226" y="278"/>
                    </a:lnTo>
                    <a:lnTo>
                      <a:pt x="224" y="278"/>
                    </a:lnTo>
                    <a:lnTo>
                      <a:pt x="222" y="280"/>
                    </a:lnTo>
                    <a:lnTo>
                      <a:pt x="219" y="282"/>
                    </a:lnTo>
                    <a:lnTo>
                      <a:pt x="217" y="280"/>
                    </a:lnTo>
                    <a:lnTo>
                      <a:pt x="215" y="278"/>
                    </a:lnTo>
                    <a:lnTo>
                      <a:pt x="213" y="280"/>
                    </a:lnTo>
                    <a:lnTo>
                      <a:pt x="213" y="284"/>
                    </a:lnTo>
                    <a:lnTo>
                      <a:pt x="209" y="288"/>
                    </a:lnTo>
                    <a:lnTo>
                      <a:pt x="209" y="292"/>
                    </a:lnTo>
                    <a:lnTo>
                      <a:pt x="205" y="292"/>
                    </a:lnTo>
                    <a:lnTo>
                      <a:pt x="201" y="293"/>
                    </a:lnTo>
                    <a:lnTo>
                      <a:pt x="201" y="290"/>
                    </a:lnTo>
                    <a:lnTo>
                      <a:pt x="201" y="288"/>
                    </a:lnTo>
                    <a:lnTo>
                      <a:pt x="203" y="282"/>
                    </a:lnTo>
                    <a:lnTo>
                      <a:pt x="205" y="278"/>
                    </a:lnTo>
                    <a:lnTo>
                      <a:pt x="207" y="272"/>
                    </a:lnTo>
                    <a:lnTo>
                      <a:pt x="201" y="270"/>
                    </a:lnTo>
                    <a:lnTo>
                      <a:pt x="199" y="265"/>
                    </a:lnTo>
                    <a:lnTo>
                      <a:pt x="197" y="261"/>
                    </a:lnTo>
                    <a:lnTo>
                      <a:pt x="196" y="261"/>
                    </a:lnTo>
                    <a:lnTo>
                      <a:pt x="194" y="263"/>
                    </a:lnTo>
                    <a:lnTo>
                      <a:pt x="190" y="261"/>
                    </a:lnTo>
                    <a:lnTo>
                      <a:pt x="188" y="259"/>
                    </a:lnTo>
                    <a:lnTo>
                      <a:pt x="184" y="265"/>
                    </a:lnTo>
                    <a:lnTo>
                      <a:pt x="182" y="272"/>
                    </a:lnTo>
                    <a:lnTo>
                      <a:pt x="178" y="272"/>
                    </a:lnTo>
                    <a:lnTo>
                      <a:pt x="176" y="272"/>
                    </a:lnTo>
                    <a:lnTo>
                      <a:pt x="171" y="263"/>
                    </a:lnTo>
                    <a:lnTo>
                      <a:pt x="163" y="257"/>
                    </a:lnTo>
                    <a:lnTo>
                      <a:pt x="159" y="257"/>
                    </a:lnTo>
                    <a:lnTo>
                      <a:pt x="155" y="257"/>
                    </a:lnTo>
                    <a:lnTo>
                      <a:pt x="155" y="269"/>
                    </a:lnTo>
                    <a:lnTo>
                      <a:pt x="157" y="280"/>
                    </a:lnTo>
                    <a:lnTo>
                      <a:pt x="151" y="282"/>
                    </a:lnTo>
                    <a:lnTo>
                      <a:pt x="144" y="276"/>
                    </a:lnTo>
                    <a:lnTo>
                      <a:pt x="136" y="272"/>
                    </a:lnTo>
                    <a:lnTo>
                      <a:pt x="136" y="261"/>
                    </a:lnTo>
                    <a:lnTo>
                      <a:pt x="136" y="249"/>
                    </a:lnTo>
                    <a:lnTo>
                      <a:pt x="130" y="247"/>
                    </a:lnTo>
                    <a:lnTo>
                      <a:pt x="126" y="247"/>
                    </a:lnTo>
                    <a:close/>
                    <a:moveTo>
                      <a:pt x="324" y="240"/>
                    </a:moveTo>
                    <a:lnTo>
                      <a:pt x="326" y="240"/>
                    </a:lnTo>
                    <a:lnTo>
                      <a:pt x="326" y="240"/>
                    </a:lnTo>
                    <a:lnTo>
                      <a:pt x="324" y="242"/>
                    </a:lnTo>
                    <a:lnTo>
                      <a:pt x="324" y="244"/>
                    </a:lnTo>
                    <a:lnTo>
                      <a:pt x="320" y="244"/>
                    </a:lnTo>
                    <a:lnTo>
                      <a:pt x="320" y="242"/>
                    </a:lnTo>
                    <a:lnTo>
                      <a:pt x="322" y="240"/>
                    </a:lnTo>
                    <a:lnTo>
                      <a:pt x="324" y="240"/>
                    </a:lnTo>
                    <a:close/>
                    <a:moveTo>
                      <a:pt x="328" y="230"/>
                    </a:moveTo>
                    <a:lnTo>
                      <a:pt x="328" y="234"/>
                    </a:lnTo>
                    <a:lnTo>
                      <a:pt x="318" y="236"/>
                    </a:lnTo>
                    <a:lnTo>
                      <a:pt x="311" y="240"/>
                    </a:lnTo>
                    <a:lnTo>
                      <a:pt x="313" y="242"/>
                    </a:lnTo>
                    <a:lnTo>
                      <a:pt x="315" y="244"/>
                    </a:lnTo>
                    <a:lnTo>
                      <a:pt x="303" y="242"/>
                    </a:lnTo>
                    <a:lnTo>
                      <a:pt x="299" y="242"/>
                    </a:lnTo>
                    <a:lnTo>
                      <a:pt x="295" y="244"/>
                    </a:lnTo>
                    <a:lnTo>
                      <a:pt x="291" y="246"/>
                    </a:lnTo>
                    <a:lnTo>
                      <a:pt x="291" y="249"/>
                    </a:lnTo>
                    <a:lnTo>
                      <a:pt x="290" y="251"/>
                    </a:lnTo>
                    <a:lnTo>
                      <a:pt x="291" y="255"/>
                    </a:lnTo>
                    <a:lnTo>
                      <a:pt x="297" y="257"/>
                    </a:lnTo>
                    <a:lnTo>
                      <a:pt x="305" y="257"/>
                    </a:lnTo>
                    <a:lnTo>
                      <a:pt x="305" y="261"/>
                    </a:lnTo>
                    <a:lnTo>
                      <a:pt x="305" y="265"/>
                    </a:lnTo>
                    <a:lnTo>
                      <a:pt x="303" y="267"/>
                    </a:lnTo>
                    <a:lnTo>
                      <a:pt x="301" y="270"/>
                    </a:lnTo>
                    <a:lnTo>
                      <a:pt x="291" y="269"/>
                    </a:lnTo>
                    <a:lnTo>
                      <a:pt x="282" y="267"/>
                    </a:lnTo>
                    <a:lnTo>
                      <a:pt x="280" y="261"/>
                    </a:lnTo>
                    <a:lnTo>
                      <a:pt x="276" y="263"/>
                    </a:lnTo>
                    <a:lnTo>
                      <a:pt x="272" y="263"/>
                    </a:lnTo>
                    <a:lnTo>
                      <a:pt x="272" y="269"/>
                    </a:lnTo>
                    <a:lnTo>
                      <a:pt x="274" y="272"/>
                    </a:lnTo>
                    <a:lnTo>
                      <a:pt x="276" y="274"/>
                    </a:lnTo>
                    <a:lnTo>
                      <a:pt x="280" y="278"/>
                    </a:lnTo>
                    <a:lnTo>
                      <a:pt x="286" y="282"/>
                    </a:lnTo>
                    <a:lnTo>
                      <a:pt x="288" y="282"/>
                    </a:lnTo>
                    <a:lnTo>
                      <a:pt x="290" y="280"/>
                    </a:lnTo>
                    <a:lnTo>
                      <a:pt x="295" y="278"/>
                    </a:lnTo>
                    <a:lnTo>
                      <a:pt x="297" y="282"/>
                    </a:lnTo>
                    <a:lnTo>
                      <a:pt x="301" y="288"/>
                    </a:lnTo>
                    <a:lnTo>
                      <a:pt x="305" y="288"/>
                    </a:lnTo>
                    <a:lnTo>
                      <a:pt x="311" y="290"/>
                    </a:lnTo>
                    <a:lnTo>
                      <a:pt x="313" y="297"/>
                    </a:lnTo>
                    <a:lnTo>
                      <a:pt x="316" y="305"/>
                    </a:lnTo>
                    <a:lnTo>
                      <a:pt x="318" y="305"/>
                    </a:lnTo>
                    <a:lnTo>
                      <a:pt x="322" y="307"/>
                    </a:lnTo>
                    <a:lnTo>
                      <a:pt x="328" y="301"/>
                    </a:lnTo>
                    <a:lnTo>
                      <a:pt x="338" y="297"/>
                    </a:lnTo>
                    <a:lnTo>
                      <a:pt x="339" y="293"/>
                    </a:lnTo>
                    <a:lnTo>
                      <a:pt x="345" y="292"/>
                    </a:lnTo>
                    <a:lnTo>
                      <a:pt x="351" y="292"/>
                    </a:lnTo>
                    <a:lnTo>
                      <a:pt x="353" y="288"/>
                    </a:lnTo>
                    <a:lnTo>
                      <a:pt x="355" y="286"/>
                    </a:lnTo>
                    <a:lnTo>
                      <a:pt x="353" y="276"/>
                    </a:lnTo>
                    <a:lnTo>
                      <a:pt x="353" y="270"/>
                    </a:lnTo>
                    <a:lnTo>
                      <a:pt x="355" y="269"/>
                    </a:lnTo>
                    <a:lnTo>
                      <a:pt x="353" y="269"/>
                    </a:lnTo>
                    <a:lnTo>
                      <a:pt x="351" y="267"/>
                    </a:lnTo>
                    <a:lnTo>
                      <a:pt x="349" y="267"/>
                    </a:lnTo>
                    <a:lnTo>
                      <a:pt x="345" y="269"/>
                    </a:lnTo>
                    <a:lnTo>
                      <a:pt x="343" y="272"/>
                    </a:lnTo>
                    <a:lnTo>
                      <a:pt x="339" y="265"/>
                    </a:lnTo>
                    <a:lnTo>
                      <a:pt x="339" y="263"/>
                    </a:lnTo>
                    <a:lnTo>
                      <a:pt x="338" y="261"/>
                    </a:lnTo>
                    <a:lnTo>
                      <a:pt x="332" y="261"/>
                    </a:lnTo>
                    <a:lnTo>
                      <a:pt x="330" y="257"/>
                    </a:lnTo>
                    <a:lnTo>
                      <a:pt x="330" y="253"/>
                    </a:lnTo>
                    <a:lnTo>
                      <a:pt x="339" y="251"/>
                    </a:lnTo>
                    <a:lnTo>
                      <a:pt x="341" y="249"/>
                    </a:lnTo>
                    <a:lnTo>
                      <a:pt x="339" y="246"/>
                    </a:lnTo>
                    <a:lnTo>
                      <a:pt x="336" y="240"/>
                    </a:lnTo>
                    <a:lnTo>
                      <a:pt x="330" y="240"/>
                    </a:lnTo>
                    <a:lnTo>
                      <a:pt x="328" y="238"/>
                    </a:lnTo>
                    <a:lnTo>
                      <a:pt x="330" y="236"/>
                    </a:lnTo>
                    <a:lnTo>
                      <a:pt x="332" y="234"/>
                    </a:lnTo>
                    <a:lnTo>
                      <a:pt x="334" y="232"/>
                    </a:lnTo>
                    <a:lnTo>
                      <a:pt x="334" y="230"/>
                    </a:lnTo>
                    <a:lnTo>
                      <a:pt x="332" y="228"/>
                    </a:lnTo>
                    <a:lnTo>
                      <a:pt x="328" y="230"/>
                    </a:lnTo>
                    <a:close/>
                    <a:moveTo>
                      <a:pt x="42" y="222"/>
                    </a:moveTo>
                    <a:lnTo>
                      <a:pt x="36" y="224"/>
                    </a:lnTo>
                    <a:lnTo>
                      <a:pt x="32" y="228"/>
                    </a:lnTo>
                    <a:lnTo>
                      <a:pt x="17" y="232"/>
                    </a:lnTo>
                    <a:lnTo>
                      <a:pt x="6" y="236"/>
                    </a:lnTo>
                    <a:lnTo>
                      <a:pt x="6" y="251"/>
                    </a:lnTo>
                    <a:lnTo>
                      <a:pt x="9" y="263"/>
                    </a:lnTo>
                    <a:lnTo>
                      <a:pt x="6" y="265"/>
                    </a:lnTo>
                    <a:lnTo>
                      <a:pt x="4" y="265"/>
                    </a:lnTo>
                    <a:lnTo>
                      <a:pt x="4" y="269"/>
                    </a:lnTo>
                    <a:lnTo>
                      <a:pt x="7" y="272"/>
                    </a:lnTo>
                    <a:lnTo>
                      <a:pt x="4" y="278"/>
                    </a:lnTo>
                    <a:lnTo>
                      <a:pt x="0" y="290"/>
                    </a:lnTo>
                    <a:lnTo>
                      <a:pt x="6" y="293"/>
                    </a:lnTo>
                    <a:lnTo>
                      <a:pt x="11" y="297"/>
                    </a:lnTo>
                    <a:lnTo>
                      <a:pt x="13" y="303"/>
                    </a:lnTo>
                    <a:lnTo>
                      <a:pt x="17" y="309"/>
                    </a:lnTo>
                    <a:lnTo>
                      <a:pt x="21" y="309"/>
                    </a:lnTo>
                    <a:lnTo>
                      <a:pt x="27" y="309"/>
                    </a:lnTo>
                    <a:lnTo>
                      <a:pt x="30" y="301"/>
                    </a:lnTo>
                    <a:lnTo>
                      <a:pt x="36" y="295"/>
                    </a:lnTo>
                    <a:lnTo>
                      <a:pt x="38" y="295"/>
                    </a:lnTo>
                    <a:lnTo>
                      <a:pt x="38" y="297"/>
                    </a:lnTo>
                    <a:lnTo>
                      <a:pt x="40" y="297"/>
                    </a:lnTo>
                    <a:lnTo>
                      <a:pt x="40" y="299"/>
                    </a:lnTo>
                    <a:lnTo>
                      <a:pt x="46" y="297"/>
                    </a:lnTo>
                    <a:lnTo>
                      <a:pt x="52" y="297"/>
                    </a:lnTo>
                    <a:lnTo>
                      <a:pt x="54" y="297"/>
                    </a:lnTo>
                    <a:lnTo>
                      <a:pt x="57" y="297"/>
                    </a:lnTo>
                    <a:lnTo>
                      <a:pt x="61" y="290"/>
                    </a:lnTo>
                    <a:lnTo>
                      <a:pt x="63" y="280"/>
                    </a:lnTo>
                    <a:lnTo>
                      <a:pt x="69" y="272"/>
                    </a:lnTo>
                    <a:lnTo>
                      <a:pt x="82" y="263"/>
                    </a:lnTo>
                    <a:lnTo>
                      <a:pt x="98" y="255"/>
                    </a:lnTo>
                    <a:lnTo>
                      <a:pt x="109" y="251"/>
                    </a:lnTo>
                    <a:lnTo>
                      <a:pt x="111" y="253"/>
                    </a:lnTo>
                    <a:lnTo>
                      <a:pt x="115" y="253"/>
                    </a:lnTo>
                    <a:lnTo>
                      <a:pt x="115" y="251"/>
                    </a:lnTo>
                    <a:lnTo>
                      <a:pt x="119" y="249"/>
                    </a:lnTo>
                    <a:lnTo>
                      <a:pt x="119" y="246"/>
                    </a:lnTo>
                    <a:lnTo>
                      <a:pt x="115" y="244"/>
                    </a:lnTo>
                    <a:lnTo>
                      <a:pt x="111" y="244"/>
                    </a:lnTo>
                    <a:lnTo>
                      <a:pt x="107" y="240"/>
                    </a:lnTo>
                    <a:lnTo>
                      <a:pt x="105" y="236"/>
                    </a:lnTo>
                    <a:lnTo>
                      <a:pt x="84" y="234"/>
                    </a:lnTo>
                    <a:lnTo>
                      <a:pt x="71" y="236"/>
                    </a:lnTo>
                    <a:lnTo>
                      <a:pt x="67" y="232"/>
                    </a:lnTo>
                    <a:lnTo>
                      <a:pt x="55" y="228"/>
                    </a:lnTo>
                    <a:lnTo>
                      <a:pt x="46" y="226"/>
                    </a:lnTo>
                    <a:lnTo>
                      <a:pt x="44" y="224"/>
                    </a:lnTo>
                    <a:lnTo>
                      <a:pt x="44" y="222"/>
                    </a:lnTo>
                    <a:lnTo>
                      <a:pt x="42" y="222"/>
                    </a:lnTo>
                    <a:close/>
                    <a:moveTo>
                      <a:pt x="338" y="221"/>
                    </a:moveTo>
                    <a:lnTo>
                      <a:pt x="336" y="221"/>
                    </a:lnTo>
                    <a:lnTo>
                      <a:pt x="336" y="222"/>
                    </a:lnTo>
                    <a:lnTo>
                      <a:pt x="336" y="222"/>
                    </a:lnTo>
                    <a:lnTo>
                      <a:pt x="339" y="224"/>
                    </a:lnTo>
                    <a:lnTo>
                      <a:pt x="339" y="221"/>
                    </a:lnTo>
                    <a:lnTo>
                      <a:pt x="338" y="221"/>
                    </a:lnTo>
                    <a:close/>
                    <a:moveTo>
                      <a:pt x="257" y="203"/>
                    </a:moveTo>
                    <a:lnTo>
                      <a:pt x="257" y="207"/>
                    </a:lnTo>
                    <a:lnTo>
                      <a:pt x="257" y="213"/>
                    </a:lnTo>
                    <a:lnTo>
                      <a:pt x="259" y="213"/>
                    </a:lnTo>
                    <a:lnTo>
                      <a:pt x="259" y="209"/>
                    </a:lnTo>
                    <a:lnTo>
                      <a:pt x="259" y="205"/>
                    </a:lnTo>
                    <a:lnTo>
                      <a:pt x="257" y="203"/>
                    </a:lnTo>
                    <a:close/>
                    <a:moveTo>
                      <a:pt x="364" y="196"/>
                    </a:moveTo>
                    <a:lnTo>
                      <a:pt x="361" y="199"/>
                    </a:lnTo>
                    <a:lnTo>
                      <a:pt x="361" y="205"/>
                    </a:lnTo>
                    <a:lnTo>
                      <a:pt x="357" y="205"/>
                    </a:lnTo>
                    <a:lnTo>
                      <a:pt x="355" y="211"/>
                    </a:lnTo>
                    <a:lnTo>
                      <a:pt x="353" y="217"/>
                    </a:lnTo>
                    <a:lnTo>
                      <a:pt x="357" y="217"/>
                    </a:lnTo>
                    <a:lnTo>
                      <a:pt x="361" y="217"/>
                    </a:lnTo>
                    <a:lnTo>
                      <a:pt x="362" y="221"/>
                    </a:lnTo>
                    <a:lnTo>
                      <a:pt x="368" y="222"/>
                    </a:lnTo>
                    <a:lnTo>
                      <a:pt x="376" y="222"/>
                    </a:lnTo>
                    <a:lnTo>
                      <a:pt x="376" y="224"/>
                    </a:lnTo>
                    <a:lnTo>
                      <a:pt x="380" y="226"/>
                    </a:lnTo>
                    <a:lnTo>
                      <a:pt x="382" y="221"/>
                    </a:lnTo>
                    <a:lnTo>
                      <a:pt x="386" y="217"/>
                    </a:lnTo>
                    <a:lnTo>
                      <a:pt x="386" y="209"/>
                    </a:lnTo>
                    <a:lnTo>
                      <a:pt x="384" y="205"/>
                    </a:lnTo>
                    <a:lnTo>
                      <a:pt x="380" y="199"/>
                    </a:lnTo>
                    <a:lnTo>
                      <a:pt x="378" y="196"/>
                    </a:lnTo>
                    <a:lnTo>
                      <a:pt x="370" y="196"/>
                    </a:lnTo>
                    <a:lnTo>
                      <a:pt x="368" y="198"/>
                    </a:lnTo>
                    <a:lnTo>
                      <a:pt x="366" y="196"/>
                    </a:lnTo>
                    <a:lnTo>
                      <a:pt x="364" y="196"/>
                    </a:lnTo>
                    <a:close/>
                    <a:moveTo>
                      <a:pt x="357" y="194"/>
                    </a:moveTo>
                    <a:lnTo>
                      <a:pt x="355" y="196"/>
                    </a:lnTo>
                    <a:lnTo>
                      <a:pt x="355" y="198"/>
                    </a:lnTo>
                    <a:lnTo>
                      <a:pt x="351" y="198"/>
                    </a:lnTo>
                    <a:lnTo>
                      <a:pt x="349" y="198"/>
                    </a:lnTo>
                    <a:lnTo>
                      <a:pt x="347" y="199"/>
                    </a:lnTo>
                    <a:lnTo>
                      <a:pt x="349" y="201"/>
                    </a:lnTo>
                    <a:lnTo>
                      <a:pt x="349" y="203"/>
                    </a:lnTo>
                    <a:lnTo>
                      <a:pt x="351" y="203"/>
                    </a:lnTo>
                    <a:lnTo>
                      <a:pt x="353" y="201"/>
                    </a:lnTo>
                    <a:lnTo>
                      <a:pt x="357" y="198"/>
                    </a:lnTo>
                    <a:lnTo>
                      <a:pt x="359" y="196"/>
                    </a:lnTo>
                    <a:lnTo>
                      <a:pt x="359" y="194"/>
                    </a:lnTo>
                    <a:lnTo>
                      <a:pt x="359" y="194"/>
                    </a:lnTo>
                    <a:lnTo>
                      <a:pt x="357" y="194"/>
                    </a:lnTo>
                    <a:close/>
                    <a:moveTo>
                      <a:pt x="84" y="184"/>
                    </a:moveTo>
                    <a:lnTo>
                      <a:pt x="82" y="188"/>
                    </a:lnTo>
                    <a:lnTo>
                      <a:pt x="82" y="192"/>
                    </a:lnTo>
                    <a:lnTo>
                      <a:pt x="77" y="194"/>
                    </a:lnTo>
                    <a:lnTo>
                      <a:pt x="73" y="198"/>
                    </a:lnTo>
                    <a:lnTo>
                      <a:pt x="71" y="201"/>
                    </a:lnTo>
                    <a:lnTo>
                      <a:pt x="73" y="205"/>
                    </a:lnTo>
                    <a:lnTo>
                      <a:pt x="77" y="205"/>
                    </a:lnTo>
                    <a:lnTo>
                      <a:pt x="82" y="205"/>
                    </a:lnTo>
                    <a:lnTo>
                      <a:pt x="82" y="201"/>
                    </a:lnTo>
                    <a:lnTo>
                      <a:pt x="86" y="194"/>
                    </a:lnTo>
                    <a:lnTo>
                      <a:pt x="86" y="188"/>
                    </a:lnTo>
                    <a:lnTo>
                      <a:pt x="88" y="186"/>
                    </a:lnTo>
                    <a:lnTo>
                      <a:pt x="86" y="184"/>
                    </a:lnTo>
                    <a:lnTo>
                      <a:pt x="84" y="184"/>
                    </a:lnTo>
                    <a:close/>
                    <a:moveTo>
                      <a:pt x="109" y="174"/>
                    </a:moveTo>
                    <a:lnTo>
                      <a:pt x="109" y="180"/>
                    </a:lnTo>
                    <a:lnTo>
                      <a:pt x="113" y="180"/>
                    </a:lnTo>
                    <a:lnTo>
                      <a:pt x="111" y="176"/>
                    </a:lnTo>
                    <a:lnTo>
                      <a:pt x="109" y="174"/>
                    </a:lnTo>
                    <a:close/>
                    <a:moveTo>
                      <a:pt x="516" y="167"/>
                    </a:moveTo>
                    <a:lnTo>
                      <a:pt x="518" y="169"/>
                    </a:lnTo>
                    <a:lnTo>
                      <a:pt x="520" y="173"/>
                    </a:lnTo>
                    <a:lnTo>
                      <a:pt x="520" y="174"/>
                    </a:lnTo>
                    <a:lnTo>
                      <a:pt x="518" y="174"/>
                    </a:lnTo>
                    <a:lnTo>
                      <a:pt x="514" y="169"/>
                    </a:lnTo>
                    <a:lnTo>
                      <a:pt x="516" y="167"/>
                    </a:lnTo>
                    <a:close/>
                    <a:moveTo>
                      <a:pt x="424" y="165"/>
                    </a:moveTo>
                    <a:lnTo>
                      <a:pt x="422" y="167"/>
                    </a:lnTo>
                    <a:lnTo>
                      <a:pt x="420" y="167"/>
                    </a:lnTo>
                    <a:lnTo>
                      <a:pt x="422" y="171"/>
                    </a:lnTo>
                    <a:lnTo>
                      <a:pt x="426" y="174"/>
                    </a:lnTo>
                    <a:lnTo>
                      <a:pt x="428" y="174"/>
                    </a:lnTo>
                    <a:lnTo>
                      <a:pt x="430" y="171"/>
                    </a:lnTo>
                    <a:lnTo>
                      <a:pt x="430" y="169"/>
                    </a:lnTo>
                    <a:lnTo>
                      <a:pt x="430" y="165"/>
                    </a:lnTo>
                    <a:lnTo>
                      <a:pt x="426" y="165"/>
                    </a:lnTo>
                    <a:lnTo>
                      <a:pt x="424" y="165"/>
                    </a:lnTo>
                    <a:close/>
                    <a:moveTo>
                      <a:pt x="257" y="165"/>
                    </a:moveTo>
                    <a:lnTo>
                      <a:pt x="253" y="169"/>
                    </a:lnTo>
                    <a:lnTo>
                      <a:pt x="253" y="173"/>
                    </a:lnTo>
                    <a:lnTo>
                      <a:pt x="255" y="174"/>
                    </a:lnTo>
                    <a:lnTo>
                      <a:pt x="255" y="176"/>
                    </a:lnTo>
                    <a:lnTo>
                      <a:pt x="255" y="176"/>
                    </a:lnTo>
                    <a:lnTo>
                      <a:pt x="257" y="174"/>
                    </a:lnTo>
                    <a:lnTo>
                      <a:pt x="255" y="176"/>
                    </a:lnTo>
                    <a:lnTo>
                      <a:pt x="253" y="178"/>
                    </a:lnTo>
                    <a:lnTo>
                      <a:pt x="255" y="184"/>
                    </a:lnTo>
                    <a:lnTo>
                      <a:pt x="261" y="182"/>
                    </a:lnTo>
                    <a:lnTo>
                      <a:pt x="265" y="182"/>
                    </a:lnTo>
                    <a:lnTo>
                      <a:pt x="268" y="182"/>
                    </a:lnTo>
                    <a:lnTo>
                      <a:pt x="270" y="184"/>
                    </a:lnTo>
                    <a:lnTo>
                      <a:pt x="265" y="186"/>
                    </a:lnTo>
                    <a:lnTo>
                      <a:pt x="261" y="188"/>
                    </a:lnTo>
                    <a:lnTo>
                      <a:pt x="261" y="190"/>
                    </a:lnTo>
                    <a:lnTo>
                      <a:pt x="265" y="192"/>
                    </a:lnTo>
                    <a:lnTo>
                      <a:pt x="265" y="196"/>
                    </a:lnTo>
                    <a:lnTo>
                      <a:pt x="261" y="196"/>
                    </a:lnTo>
                    <a:lnTo>
                      <a:pt x="259" y="198"/>
                    </a:lnTo>
                    <a:lnTo>
                      <a:pt x="259" y="199"/>
                    </a:lnTo>
                    <a:lnTo>
                      <a:pt x="263" y="201"/>
                    </a:lnTo>
                    <a:lnTo>
                      <a:pt x="272" y="198"/>
                    </a:lnTo>
                    <a:lnTo>
                      <a:pt x="282" y="192"/>
                    </a:lnTo>
                    <a:lnTo>
                      <a:pt x="280" y="188"/>
                    </a:lnTo>
                    <a:lnTo>
                      <a:pt x="282" y="186"/>
                    </a:lnTo>
                    <a:lnTo>
                      <a:pt x="280" y="180"/>
                    </a:lnTo>
                    <a:lnTo>
                      <a:pt x="276" y="180"/>
                    </a:lnTo>
                    <a:lnTo>
                      <a:pt x="274" y="180"/>
                    </a:lnTo>
                    <a:lnTo>
                      <a:pt x="274" y="176"/>
                    </a:lnTo>
                    <a:lnTo>
                      <a:pt x="274" y="173"/>
                    </a:lnTo>
                    <a:lnTo>
                      <a:pt x="270" y="173"/>
                    </a:lnTo>
                    <a:lnTo>
                      <a:pt x="267" y="173"/>
                    </a:lnTo>
                    <a:lnTo>
                      <a:pt x="265" y="173"/>
                    </a:lnTo>
                    <a:lnTo>
                      <a:pt x="265" y="173"/>
                    </a:lnTo>
                    <a:lnTo>
                      <a:pt x="265" y="173"/>
                    </a:lnTo>
                    <a:lnTo>
                      <a:pt x="265" y="171"/>
                    </a:lnTo>
                    <a:lnTo>
                      <a:pt x="267" y="167"/>
                    </a:lnTo>
                    <a:lnTo>
                      <a:pt x="261" y="165"/>
                    </a:lnTo>
                    <a:lnTo>
                      <a:pt x="257" y="165"/>
                    </a:lnTo>
                    <a:close/>
                    <a:moveTo>
                      <a:pt x="309" y="163"/>
                    </a:moveTo>
                    <a:lnTo>
                      <a:pt x="303" y="165"/>
                    </a:lnTo>
                    <a:lnTo>
                      <a:pt x="301" y="167"/>
                    </a:lnTo>
                    <a:lnTo>
                      <a:pt x="303" y="169"/>
                    </a:lnTo>
                    <a:lnTo>
                      <a:pt x="311" y="171"/>
                    </a:lnTo>
                    <a:lnTo>
                      <a:pt x="311" y="174"/>
                    </a:lnTo>
                    <a:lnTo>
                      <a:pt x="305" y="174"/>
                    </a:lnTo>
                    <a:lnTo>
                      <a:pt x="301" y="174"/>
                    </a:lnTo>
                    <a:lnTo>
                      <a:pt x="303" y="178"/>
                    </a:lnTo>
                    <a:lnTo>
                      <a:pt x="307" y="182"/>
                    </a:lnTo>
                    <a:lnTo>
                      <a:pt x="309" y="182"/>
                    </a:lnTo>
                    <a:lnTo>
                      <a:pt x="307" y="184"/>
                    </a:lnTo>
                    <a:lnTo>
                      <a:pt x="305" y="184"/>
                    </a:lnTo>
                    <a:lnTo>
                      <a:pt x="305" y="186"/>
                    </a:lnTo>
                    <a:lnTo>
                      <a:pt x="311" y="190"/>
                    </a:lnTo>
                    <a:lnTo>
                      <a:pt x="309" y="192"/>
                    </a:lnTo>
                    <a:lnTo>
                      <a:pt x="309" y="194"/>
                    </a:lnTo>
                    <a:lnTo>
                      <a:pt x="305" y="194"/>
                    </a:lnTo>
                    <a:lnTo>
                      <a:pt x="303" y="194"/>
                    </a:lnTo>
                    <a:lnTo>
                      <a:pt x="303" y="192"/>
                    </a:lnTo>
                    <a:lnTo>
                      <a:pt x="305" y="188"/>
                    </a:lnTo>
                    <a:lnTo>
                      <a:pt x="299" y="184"/>
                    </a:lnTo>
                    <a:lnTo>
                      <a:pt x="297" y="180"/>
                    </a:lnTo>
                    <a:lnTo>
                      <a:pt x="293" y="178"/>
                    </a:lnTo>
                    <a:lnTo>
                      <a:pt x="291" y="173"/>
                    </a:lnTo>
                    <a:lnTo>
                      <a:pt x="288" y="173"/>
                    </a:lnTo>
                    <a:lnTo>
                      <a:pt x="286" y="173"/>
                    </a:lnTo>
                    <a:lnTo>
                      <a:pt x="284" y="178"/>
                    </a:lnTo>
                    <a:lnTo>
                      <a:pt x="288" y="178"/>
                    </a:lnTo>
                    <a:lnTo>
                      <a:pt x="286" y="182"/>
                    </a:lnTo>
                    <a:lnTo>
                      <a:pt x="286" y="186"/>
                    </a:lnTo>
                    <a:lnTo>
                      <a:pt x="288" y="188"/>
                    </a:lnTo>
                    <a:lnTo>
                      <a:pt x="291" y="190"/>
                    </a:lnTo>
                    <a:lnTo>
                      <a:pt x="291" y="194"/>
                    </a:lnTo>
                    <a:lnTo>
                      <a:pt x="291" y="198"/>
                    </a:lnTo>
                    <a:lnTo>
                      <a:pt x="284" y="198"/>
                    </a:lnTo>
                    <a:lnTo>
                      <a:pt x="278" y="198"/>
                    </a:lnTo>
                    <a:lnTo>
                      <a:pt x="278" y="199"/>
                    </a:lnTo>
                    <a:lnTo>
                      <a:pt x="276" y="201"/>
                    </a:lnTo>
                    <a:lnTo>
                      <a:pt x="276" y="205"/>
                    </a:lnTo>
                    <a:lnTo>
                      <a:pt x="278" y="209"/>
                    </a:lnTo>
                    <a:lnTo>
                      <a:pt x="291" y="203"/>
                    </a:lnTo>
                    <a:lnTo>
                      <a:pt x="307" y="199"/>
                    </a:lnTo>
                    <a:lnTo>
                      <a:pt x="309" y="199"/>
                    </a:lnTo>
                    <a:lnTo>
                      <a:pt x="311" y="201"/>
                    </a:lnTo>
                    <a:lnTo>
                      <a:pt x="305" y="203"/>
                    </a:lnTo>
                    <a:lnTo>
                      <a:pt x="301" y="207"/>
                    </a:lnTo>
                    <a:lnTo>
                      <a:pt x="303" y="217"/>
                    </a:lnTo>
                    <a:lnTo>
                      <a:pt x="309" y="217"/>
                    </a:lnTo>
                    <a:lnTo>
                      <a:pt x="315" y="217"/>
                    </a:lnTo>
                    <a:lnTo>
                      <a:pt x="318" y="215"/>
                    </a:lnTo>
                    <a:lnTo>
                      <a:pt x="326" y="215"/>
                    </a:lnTo>
                    <a:lnTo>
                      <a:pt x="334" y="215"/>
                    </a:lnTo>
                    <a:lnTo>
                      <a:pt x="341" y="215"/>
                    </a:lnTo>
                    <a:lnTo>
                      <a:pt x="341" y="211"/>
                    </a:lnTo>
                    <a:lnTo>
                      <a:pt x="343" y="209"/>
                    </a:lnTo>
                    <a:lnTo>
                      <a:pt x="341" y="205"/>
                    </a:lnTo>
                    <a:lnTo>
                      <a:pt x="339" y="205"/>
                    </a:lnTo>
                    <a:lnTo>
                      <a:pt x="339" y="199"/>
                    </a:lnTo>
                    <a:lnTo>
                      <a:pt x="341" y="196"/>
                    </a:lnTo>
                    <a:lnTo>
                      <a:pt x="338" y="196"/>
                    </a:lnTo>
                    <a:lnTo>
                      <a:pt x="336" y="196"/>
                    </a:lnTo>
                    <a:lnTo>
                      <a:pt x="334" y="184"/>
                    </a:lnTo>
                    <a:lnTo>
                      <a:pt x="334" y="174"/>
                    </a:lnTo>
                    <a:lnTo>
                      <a:pt x="326" y="173"/>
                    </a:lnTo>
                    <a:lnTo>
                      <a:pt x="326" y="171"/>
                    </a:lnTo>
                    <a:lnTo>
                      <a:pt x="324" y="167"/>
                    </a:lnTo>
                    <a:lnTo>
                      <a:pt x="324" y="165"/>
                    </a:lnTo>
                    <a:lnTo>
                      <a:pt x="320" y="165"/>
                    </a:lnTo>
                    <a:lnTo>
                      <a:pt x="320" y="169"/>
                    </a:lnTo>
                    <a:lnTo>
                      <a:pt x="318" y="171"/>
                    </a:lnTo>
                    <a:lnTo>
                      <a:pt x="320" y="173"/>
                    </a:lnTo>
                    <a:lnTo>
                      <a:pt x="322" y="173"/>
                    </a:lnTo>
                    <a:lnTo>
                      <a:pt x="322" y="174"/>
                    </a:lnTo>
                    <a:lnTo>
                      <a:pt x="316" y="174"/>
                    </a:lnTo>
                    <a:lnTo>
                      <a:pt x="315" y="174"/>
                    </a:lnTo>
                    <a:lnTo>
                      <a:pt x="313" y="173"/>
                    </a:lnTo>
                    <a:lnTo>
                      <a:pt x="315" y="173"/>
                    </a:lnTo>
                    <a:lnTo>
                      <a:pt x="311" y="167"/>
                    </a:lnTo>
                    <a:lnTo>
                      <a:pt x="309" y="163"/>
                    </a:lnTo>
                    <a:close/>
                    <a:moveTo>
                      <a:pt x="121" y="163"/>
                    </a:moveTo>
                    <a:lnTo>
                      <a:pt x="119" y="165"/>
                    </a:lnTo>
                    <a:lnTo>
                      <a:pt x="119" y="169"/>
                    </a:lnTo>
                    <a:lnTo>
                      <a:pt x="121" y="169"/>
                    </a:lnTo>
                    <a:lnTo>
                      <a:pt x="125" y="169"/>
                    </a:lnTo>
                    <a:lnTo>
                      <a:pt x="123" y="167"/>
                    </a:lnTo>
                    <a:lnTo>
                      <a:pt x="123" y="165"/>
                    </a:lnTo>
                    <a:lnTo>
                      <a:pt x="123" y="163"/>
                    </a:lnTo>
                    <a:lnTo>
                      <a:pt x="121" y="163"/>
                    </a:lnTo>
                    <a:close/>
                    <a:moveTo>
                      <a:pt x="359" y="161"/>
                    </a:moveTo>
                    <a:lnTo>
                      <a:pt x="355" y="165"/>
                    </a:lnTo>
                    <a:lnTo>
                      <a:pt x="353" y="167"/>
                    </a:lnTo>
                    <a:lnTo>
                      <a:pt x="359" y="174"/>
                    </a:lnTo>
                    <a:lnTo>
                      <a:pt x="364" y="180"/>
                    </a:lnTo>
                    <a:lnTo>
                      <a:pt x="370" y="180"/>
                    </a:lnTo>
                    <a:lnTo>
                      <a:pt x="376" y="180"/>
                    </a:lnTo>
                    <a:lnTo>
                      <a:pt x="380" y="184"/>
                    </a:lnTo>
                    <a:lnTo>
                      <a:pt x="386" y="182"/>
                    </a:lnTo>
                    <a:lnTo>
                      <a:pt x="391" y="180"/>
                    </a:lnTo>
                    <a:lnTo>
                      <a:pt x="393" y="184"/>
                    </a:lnTo>
                    <a:lnTo>
                      <a:pt x="395" y="184"/>
                    </a:lnTo>
                    <a:lnTo>
                      <a:pt x="401" y="186"/>
                    </a:lnTo>
                    <a:lnTo>
                      <a:pt x="407" y="192"/>
                    </a:lnTo>
                    <a:lnTo>
                      <a:pt x="410" y="198"/>
                    </a:lnTo>
                    <a:lnTo>
                      <a:pt x="409" y="205"/>
                    </a:lnTo>
                    <a:lnTo>
                      <a:pt x="407" y="213"/>
                    </a:lnTo>
                    <a:lnTo>
                      <a:pt x="407" y="221"/>
                    </a:lnTo>
                    <a:lnTo>
                      <a:pt x="410" y="230"/>
                    </a:lnTo>
                    <a:lnTo>
                      <a:pt x="412" y="228"/>
                    </a:lnTo>
                    <a:lnTo>
                      <a:pt x="416" y="228"/>
                    </a:lnTo>
                    <a:lnTo>
                      <a:pt x="416" y="224"/>
                    </a:lnTo>
                    <a:lnTo>
                      <a:pt x="420" y="226"/>
                    </a:lnTo>
                    <a:lnTo>
                      <a:pt x="422" y="230"/>
                    </a:lnTo>
                    <a:lnTo>
                      <a:pt x="424" y="228"/>
                    </a:lnTo>
                    <a:lnTo>
                      <a:pt x="428" y="226"/>
                    </a:lnTo>
                    <a:lnTo>
                      <a:pt x="433" y="224"/>
                    </a:lnTo>
                    <a:lnTo>
                      <a:pt x="437" y="222"/>
                    </a:lnTo>
                    <a:lnTo>
                      <a:pt x="439" y="221"/>
                    </a:lnTo>
                    <a:lnTo>
                      <a:pt x="443" y="217"/>
                    </a:lnTo>
                    <a:lnTo>
                      <a:pt x="445" y="222"/>
                    </a:lnTo>
                    <a:lnTo>
                      <a:pt x="447" y="228"/>
                    </a:lnTo>
                    <a:lnTo>
                      <a:pt x="457" y="228"/>
                    </a:lnTo>
                    <a:lnTo>
                      <a:pt x="466" y="228"/>
                    </a:lnTo>
                    <a:lnTo>
                      <a:pt x="468" y="224"/>
                    </a:lnTo>
                    <a:lnTo>
                      <a:pt x="470" y="222"/>
                    </a:lnTo>
                    <a:lnTo>
                      <a:pt x="472" y="224"/>
                    </a:lnTo>
                    <a:lnTo>
                      <a:pt x="474" y="228"/>
                    </a:lnTo>
                    <a:lnTo>
                      <a:pt x="480" y="226"/>
                    </a:lnTo>
                    <a:lnTo>
                      <a:pt x="485" y="224"/>
                    </a:lnTo>
                    <a:lnTo>
                      <a:pt x="485" y="226"/>
                    </a:lnTo>
                    <a:lnTo>
                      <a:pt x="487" y="228"/>
                    </a:lnTo>
                    <a:lnTo>
                      <a:pt x="493" y="226"/>
                    </a:lnTo>
                    <a:lnTo>
                      <a:pt x="501" y="224"/>
                    </a:lnTo>
                    <a:lnTo>
                      <a:pt x="505" y="226"/>
                    </a:lnTo>
                    <a:lnTo>
                      <a:pt x="510" y="226"/>
                    </a:lnTo>
                    <a:lnTo>
                      <a:pt x="514" y="222"/>
                    </a:lnTo>
                    <a:lnTo>
                      <a:pt x="512" y="221"/>
                    </a:lnTo>
                    <a:lnTo>
                      <a:pt x="512" y="221"/>
                    </a:lnTo>
                    <a:lnTo>
                      <a:pt x="514" y="219"/>
                    </a:lnTo>
                    <a:lnTo>
                      <a:pt x="516" y="219"/>
                    </a:lnTo>
                    <a:lnTo>
                      <a:pt x="516" y="222"/>
                    </a:lnTo>
                    <a:lnTo>
                      <a:pt x="520" y="226"/>
                    </a:lnTo>
                    <a:lnTo>
                      <a:pt x="522" y="224"/>
                    </a:lnTo>
                    <a:lnTo>
                      <a:pt x="526" y="222"/>
                    </a:lnTo>
                    <a:lnTo>
                      <a:pt x="526" y="224"/>
                    </a:lnTo>
                    <a:lnTo>
                      <a:pt x="537" y="224"/>
                    </a:lnTo>
                    <a:lnTo>
                      <a:pt x="552" y="224"/>
                    </a:lnTo>
                    <a:lnTo>
                      <a:pt x="552" y="219"/>
                    </a:lnTo>
                    <a:lnTo>
                      <a:pt x="554" y="213"/>
                    </a:lnTo>
                    <a:lnTo>
                      <a:pt x="558" y="211"/>
                    </a:lnTo>
                    <a:lnTo>
                      <a:pt x="562" y="209"/>
                    </a:lnTo>
                    <a:lnTo>
                      <a:pt x="562" y="205"/>
                    </a:lnTo>
                    <a:lnTo>
                      <a:pt x="562" y="203"/>
                    </a:lnTo>
                    <a:lnTo>
                      <a:pt x="554" y="199"/>
                    </a:lnTo>
                    <a:lnTo>
                      <a:pt x="549" y="196"/>
                    </a:lnTo>
                    <a:lnTo>
                      <a:pt x="543" y="196"/>
                    </a:lnTo>
                    <a:lnTo>
                      <a:pt x="537" y="198"/>
                    </a:lnTo>
                    <a:lnTo>
                      <a:pt x="533" y="194"/>
                    </a:lnTo>
                    <a:lnTo>
                      <a:pt x="533" y="192"/>
                    </a:lnTo>
                    <a:lnTo>
                      <a:pt x="526" y="190"/>
                    </a:lnTo>
                    <a:lnTo>
                      <a:pt x="520" y="190"/>
                    </a:lnTo>
                    <a:lnTo>
                      <a:pt x="518" y="194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08" y="190"/>
                    </a:lnTo>
                    <a:lnTo>
                      <a:pt x="505" y="190"/>
                    </a:lnTo>
                    <a:lnTo>
                      <a:pt x="497" y="194"/>
                    </a:lnTo>
                    <a:lnTo>
                      <a:pt x="485" y="196"/>
                    </a:lnTo>
                    <a:lnTo>
                      <a:pt x="478" y="198"/>
                    </a:lnTo>
                    <a:lnTo>
                      <a:pt x="470" y="198"/>
                    </a:lnTo>
                    <a:lnTo>
                      <a:pt x="462" y="196"/>
                    </a:lnTo>
                    <a:lnTo>
                      <a:pt x="462" y="201"/>
                    </a:lnTo>
                    <a:lnTo>
                      <a:pt x="458" y="199"/>
                    </a:lnTo>
                    <a:lnTo>
                      <a:pt x="458" y="198"/>
                    </a:lnTo>
                    <a:lnTo>
                      <a:pt x="455" y="198"/>
                    </a:lnTo>
                    <a:lnTo>
                      <a:pt x="453" y="199"/>
                    </a:lnTo>
                    <a:lnTo>
                      <a:pt x="445" y="198"/>
                    </a:lnTo>
                    <a:lnTo>
                      <a:pt x="439" y="194"/>
                    </a:lnTo>
                    <a:lnTo>
                      <a:pt x="439" y="196"/>
                    </a:lnTo>
                    <a:lnTo>
                      <a:pt x="437" y="198"/>
                    </a:lnTo>
                    <a:lnTo>
                      <a:pt x="437" y="194"/>
                    </a:lnTo>
                    <a:lnTo>
                      <a:pt x="437" y="190"/>
                    </a:lnTo>
                    <a:lnTo>
                      <a:pt x="432" y="190"/>
                    </a:lnTo>
                    <a:lnTo>
                      <a:pt x="426" y="192"/>
                    </a:lnTo>
                    <a:lnTo>
                      <a:pt x="426" y="188"/>
                    </a:lnTo>
                    <a:lnTo>
                      <a:pt x="422" y="186"/>
                    </a:lnTo>
                    <a:lnTo>
                      <a:pt x="420" y="186"/>
                    </a:lnTo>
                    <a:lnTo>
                      <a:pt x="426" y="186"/>
                    </a:lnTo>
                    <a:lnTo>
                      <a:pt x="430" y="188"/>
                    </a:lnTo>
                    <a:lnTo>
                      <a:pt x="432" y="186"/>
                    </a:lnTo>
                    <a:lnTo>
                      <a:pt x="435" y="184"/>
                    </a:lnTo>
                    <a:lnTo>
                      <a:pt x="435" y="180"/>
                    </a:lnTo>
                    <a:lnTo>
                      <a:pt x="432" y="180"/>
                    </a:lnTo>
                    <a:lnTo>
                      <a:pt x="430" y="180"/>
                    </a:lnTo>
                    <a:lnTo>
                      <a:pt x="424" y="178"/>
                    </a:lnTo>
                    <a:lnTo>
                      <a:pt x="418" y="176"/>
                    </a:lnTo>
                    <a:lnTo>
                      <a:pt x="416" y="173"/>
                    </a:lnTo>
                    <a:lnTo>
                      <a:pt x="414" y="169"/>
                    </a:lnTo>
                    <a:lnTo>
                      <a:pt x="405" y="171"/>
                    </a:lnTo>
                    <a:lnTo>
                      <a:pt x="393" y="173"/>
                    </a:lnTo>
                    <a:lnTo>
                      <a:pt x="389" y="169"/>
                    </a:lnTo>
                    <a:lnTo>
                      <a:pt x="387" y="165"/>
                    </a:lnTo>
                    <a:lnTo>
                      <a:pt x="372" y="163"/>
                    </a:lnTo>
                    <a:lnTo>
                      <a:pt x="359" y="161"/>
                    </a:lnTo>
                    <a:close/>
                    <a:moveTo>
                      <a:pt x="186" y="161"/>
                    </a:moveTo>
                    <a:lnTo>
                      <a:pt x="184" y="163"/>
                    </a:lnTo>
                    <a:lnTo>
                      <a:pt x="182" y="163"/>
                    </a:lnTo>
                    <a:lnTo>
                      <a:pt x="182" y="173"/>
                    </a:lnTo>
                    <a:lnTo>
                      <a:pt x="182" y="182"/>
                    </a:lnTo>
                    <a:lnTo>
                      <a:pt x="186" y="184"/>
                    </a:lnTo>
                    <a:lnTo>
                      <a:pt x="190" y="186"/>
                    </a:lnTo>
                    <a:lnTo>
                      <a:pt x="188" y="188"/>
                    </a:lnTo>
                    <a:lnTo>
                      <a:pt x="186" y="192"/>
                    </a:lnTo>
                    <a:lnTo>
                      <a:pt x="186" y="192"/>
                    </a:lnTo>
                    <a:lnTo>
                      <a:pt x="186" y="194"/>
                    </a:lnTo>
                    <a:lnTo>
                      <a:pt x="188" y="194"/>
                    </a:lnTo>
                    <a:lnTo>
                      <a:pt x="192" y="194"/>
                    </a:lnTo>
                    <a:lnTo>
                      <a:pt x="194" y="199"/>
                    </a:lnTo>
                    <a:lnTo>
                      <a:pt x="178" y="199"/>
                    </a:lnTo>
                    <a:lnTo>
                      <a:pt x="165" y="198"/>
                    </a:lnTo>
                    <a:lnTo>
                      <a:pt x="159" y="192"/>
                    </a:lnTo>
                    <a:lnTo>
                      <a:pt x="153" y="188"/>
                    </a:lnTo>
                    <a:lnTo>
                      <a:pt x="148" y="188"/>
                    </a:lnTo>
                    <a:lnTo>
                      <a:pt x="144" y="188"/>
                    </a:lnTo>
                    <a:lnTo>
                      <a:pt x="138" y="184"/>
                    </a:lnTo>
                    <a:lnTo>
                      <a:pt x="134" y="182"/>
                    </a:lnTo>
                    <a:lnTo>
                      <a:pt x="125" y="180"/>
                    </a:lnTo>
                    <a:lnTo>
                      <a:pt x="117" y="180"/>
                    </a:lnTo>
                    <a:lnTo>
                      <a:pt x="115" y="184"/>
                    </a:lnTo>
                    <a:lnTo>
                      <a:pt x="111" y="182"/>
                    </a:lnTo>
                    <a:lnTo>
                      <a:pt x="105" y="182"/>
                    </a:lnTo>
                    <a:lnTo>
                      <a:pt x="105" y="186"/>
                    </a:lnTo>
                    <a:lnTo>
                      <a:pt x="105" y="192"/>
                    </a:lnTo>
                    <a:lnTo>
                      <a:pt x="113" y="190"/>
                    </a:lnTo>
                    <a:lnTo>
                      <a:pt x="111" y="192"/>
                    </a:lnTo>
                    <a:lnTo>
                      <a:pt x="103" y="194"/>
                    </a:lnTo>
                    <a:lnTo>
                      <a:pt x="100" y="196"/>
                    </a:lnTo>
                    <a:lnTo>
                      <a:pt x="100" y="201"/>
                    </a:lnTo>
                    <a:lnTo>
                      <a:pt x="109" y="199"/>
                    </a:lnTo>
                    <a:lnTo>
                      <a:pt x="109" y="201"/>
                    </a:lnTo>
                    <a:lnTo>
                      <a:pt x="103" y="203"/>
                    </a:lnTo>
                    <a:lnTo>
                      <a:pt x="98" y="205"/>
                    </a:lnTo>
                    <a:lnTo>
                      <a:pt x="98" y="211"/>
                    </a:lnTo>
                    <a:lnTo>
                      <a:pt x="105" y="209"/>
                    </a:lnTo>
                    <a:lnTo>
                      <a:pt x="113" y="209"/>
                    </a:lnTo>
                    <a:lnTo>
                      <a:pt x="113" y="211"/>
                    </a:lnTo>
                    <a:lnTo>
                      <a:pt x="117" y="213"/>
                    </a:lnTo>
                    <a:lnTo>
                      <a:pt x="117" y="207"/>
                    </a:lnTo>
                    <a:lnTo>
                      <a:pt x="119" y="207"/>
                    </a:lnTo>
                    <a:lnTo>
                      <a:pt x="121" y="209"/>
                    </a:lnTo>
                    <a:lnTo>
                      <a:pt x="119" y="209"/>
                    </a:lnTo>
                    <a:lnTo>
                      <a:pt x="121" y="215"/>
                    </a:lnTo>
                    <a:lnTo>
                      <a:pt x="123" y="213"/>
                    </a:lnTo>
                    <a:lnTo>
                      <a:pt x="123" y="211"/>
                    </a:lnTo>
                    <a:lnTo>
                      <a:pt x="126" y="211"/>
                    </a:lnTo>
                    <a:lnTo>
                      <a:pt x="125" y="203"/>
                    </a:lnTo>
                    <a:lnTo>
                      <a:pt x="126" y="196"/>
                    </a:lnTo>
                    <a:lnTo>
                      <a:pt x="128" y="194"/>
                    </a:lnTo>
                    <a:lnTo>
                      <a:pt x="130" y="196"/>
                    </a:lnTo>
                    <a:lnTo>
                      <a:pt x="130" y="198"/>
                    </a:lnTo>
                    <a:lnTo>
                      <a:pt x="130" y="199"/>
                    </a:lnTo>
                    <a:lnTo>
                      <a:pt x="130" y="205"/>
                    </a:lnTo>
                    <a:lnTo>
                      <a:pt x="130" y="209"/>
                    </a:lnTo>
                    <a:lnTo>
                      <a:pt x="138" y="207"/>
                    </a:lnTo>
                    <a:lnTo>
                      <a:pt x="149" y="207"/>
                    </a:lnTo>
                    <a:lnTo>
                      <a:pt x="149" y="203"/>
                    </a:lnTo>
                    <a:lnTo>
                      <a:pt x="157" y="205"/>
                    </a:lnTo>
                    <a:lnTo>
                      <a:pt x="169" y="207"/>
                    </a:lnTo>
                    <a:lnTo>
                      <a:pt x="171" y="203"/>
                    </a:lnTo>
                    <a:lnTo>
                      <a:pt x="174" y="201"/>
                    </a:lnTo>
                    <a:lnTo>
                      <a:pt x="172" y="205"/>
                    </a:lnTo>
                    <a:lnTo>
                      <a:pt x="171" y="209"/>
                    </a:lnTo>
                    <a:lnTo>
                      <a:pt x="159" y="213"/>
                    </a:lnTo>
                    <a:lnTo>
                      <a:pt x="146" y="215"/>
                    </a:lnTo>
                    <a:lnTo>
                      <a:pt x="140" y="219"/>
                    </a:lnTo>
                    <a:lnTo>
                      <a:pt x="132" y="222"/>
                    </a:lnTo>
                    <a:lnTo>
                      <a:pt x="132" y="226"/>
                    </a:lnTo>
                    <a:lnTo>
                      <a:pt x="134" y="230"/>
                    </a:lnTo>
                    <a:lnTo>
                      <a:pt x="142" y="230"/>
                    </a:lnTo>
                    <a:lnTo>
                      <a:pt x="153" y="230"/>
                    </a:lnTo>
                    <a:lnTo>
                      <a:pt x="161" y="222"/>
                    </a:lnTo>
                    <a:lnTo>
                      <a:pt x="169" y="215"/>
                    </a:lnTo>
                    <a:lnTo>
                      <a:pt x="172" y="215"/>
                    </a:lnTo>
                    <a:lnTo>
                      <a:pt x="178" y="217"/>
                    </a:lnTo>
                    <a:lnTo>
                      <a:pt x="184" y="213"/>
                    </a:lnTo>
                    <a:lnTo>
                      <a:pt x="192" y="211"/>
                    </a:lnTo>
                    <a:lnTo>
                      <a:pt x="199" y="213"/>
                    </a:lnTo>
                    <a:lnTo>
                      <a:pt x="209" y="215"/>
                    </a:lnTo>
                    <a:lnTo>
                      <a:pt x="209" y="211"/>
                    </a:lnTo>
                    <a:lnTo>
                      <a:pt x="209" y="209"/>
                    </a:lnTo>
                    <a:lnTo>
                      <a:pt x="211" y="209"/>
                    </a:lnTo>
                    <a:lnTo>
                      <a:pt x="213" y="211"/>
                    </a:lnTo>
                    <a:lnTo>
                      <a:pt x="224" y="209"/>
                    </a:lnTo>
                    <a:lnTo>
                      <a:pt x="232" y="207"/>
                    </a:lnTo>
                    <a:lnTo>
                      <a:pt x="234" y="205"/>
                    </a:lnTo>
                    <a:lnTo>
                      <a:pt x="234" y="201"/>
                    </a:lnTo>
                    <a:lnTo>
                      <a:pt x="234" y="196"/>
                    </a:lnTo>
                    <a:lnTo>
                      <a:pt x="234" y="190"/>
                    </a:lnTo>
                    <a:lnTo>
                      <a:pt x="230" y="184"/>
                    </a:lnTo>
                    <a:lnTo>
                      <a:pt x="228" y="182"/>
                    </a:lnTo>
                    <a:lnTo>
                      <a:pt x="226" y="182"/>
                    </a:lnTo>
                    <a:lnTo>
                      <a:pt x="222" y="180"/>
                    </a:lnTo>
                    <a:lnTo>
                      <a:pt x="222" y="186"/>
                    </a:lnTo>
                    <a:lnTo>
                      <a:pt x="222" y="194"/>
                    </a:lnTo>
                    <a:lnTo>
                      <a:pt x="222" y="196"/>
                    </a:lnTo>
                    <a:lnTo>
                      <a:pt x="219" y="196"/>
                    </a:lnTo>
                    <a:lnTo>
                      <a:pt x="219" y="194"/>
                    </a:lnTo>
                    <a:lnTo>
                      <a:pt x="219" y="190"/>
                    </a:lnTo>
                    <a:lnTo>
                      <a:pt x="219" y="188"/>
                    </a:lnTo>
                    <a:lnTo>
                      <a:pt x="215" y="188"/>
                    </a:lnTo>
                    <a:lnTo>
                      <a:pt x="213" y="190"/>
                    </a:lnTo>
                    <a:lnTo>
                      <a:pt x="211" y="184"/>
                    </a:lnTo>
                    <a:lnTo>
                      <a:pt x="213" y="180"/>
                    </a:lnTo>
                    <a:lnTo>
                      <a:pt x="205" y="180"/>
                    </a:lnTo>
                    <a:lnTo>
                      <a:pt x="199" y="178"/>
                    </a:lnTo>
                    <a:lnTo>
                      <a:pt x="196" y="174"/>
                    </a:lnTo>
                    <a:lnTo>
                      <a:pt x="190" y="171"/>
                    </a:lnTo>
                    <a:lnTo>
                      <a:pt x="192" y="169"/>
                    </a:lnTo>
                    <a:lnTo>
                      <a:pt x="192" y="165"/>
                    </a:lnTo>
                    <a:lnTo>
                      <a:pt x="188" y="163"/>
                    </a:lnTo>
                    <a:lnTo>
                      <a:pt x="186" y="161"/>
                    </a:lnTo>
                    <a:close/>
                    <a:moveTo>
                      <a:pt x="382" y="144"/>
                    </a:moveTo>
                    <a:lnTo>
                      <a:pt x="374" y="146"/>
                    </a:lnTo>
                    <a:lnTo>
                      <a:pt x="368" y="150"/>
                    </a:lnTo>
                    <a:lnTo>
                      <a:pt x="366" y="150"/>
                    </a:lnTo>
                    <a:lnTo>
                      <a:pt x="364" y="150"/>
                    </a:lnTo>
                    <a:lnTo>
                      <a:pt x="361" y="148"/>
                    </a:lnTo>
                    <a:lnTo>
                      <a:pt x="359" y="148"/>
                    </a:lnTo>
                    <a:lnTo>
                      <a:pt x="357" y="153"/>
                    </a:lnTo>
                    <a:lnTo>
                      <a:pt x="361" y="151"/>
                    </a:lnTo>
                    <a:lnTo>
                      <a:pt x="364" y="151"/>
                    </a:lnTo>
                    <a:lnTo>
                      <a:pt x="372" y="153"/>
                    </a:lnTo>
                    <a:lnTo>
                      <a:pt x="382" y="157"/>
                    </a:lnTo>
                    <a:lnTo>
                      <a:pt x="387" y="155"/>
                    </a:lnTo>
                    <a:lnTo>
                      <a:pt x="393" y="155"/>
                    </a:lnTo>
                    <a:lnTo>
                      <a:pt x="397" y="151"/>
                    </a:lnTo>
                    <a:lnTo>
                      <a:pt x="397" y="150"/>
                    </a:lnTo>
                    <a:lnTo>
                      <a:pt x="397" y="146"/>
                    </a:lnTo>
                    <a:lnTo>
                      <a:pt x="393" y="144"/>
                    </a:lnTo>
                    <a:lnTo>
                      <a:pt x="387" y="144"/>
                    </a:lnTo>
                    <a:lnTo>
                      <a:pt x="382" y="144"/>
                    </a:lnTo>
                    <a:close/>
                    <a:moveTo>
                      <a:pt x="426" y="140"/>
                    </a:moveTo>
                    <a:lnTo>
                      <a:pt x="422" y="144"/>
                    </a:lnTo>
                    <a:lnTo>
                      <a:pt x="420" y="148"/>
                    </a:lnTo>
                    <a:lnTo>
                      <a:pt x="420" y="150"/>
                    </a:lnTo>
                    <a:lnTo>
                      <a:pt x="422" y="153"/>
                    </a:lnTo>
                    <a:lnTo>
                      <a:pt x="428" y="153"/>
                    </a:lnTo>
                    <a:lnTo>
                      <a:pt x="430" y="153"/>
                    </a:lnTo>
                    <a:lnTo>
                      <a:pt x="432" y="148"/>
                    </a:lnTo>
                    <a:lnTo>
                      <a:pt x="433" y="144"/>
                    </a:lnTo>
                    <a:lnTo>
                      <a:pt x="430" y="142"/>
                    </a:lnTo>
                    <a:lnTo>
                      <a:pt x="426" y="140"/>
                    </a:lnTo>
                    <a:close/>
                    <a:moveTo>
                      <a:pt x="288" y="140"/>
                    </a:moveTo>
                    <a:lnTo>
                      <a:pt x="286" y="142"/>
                    </a:lnTo>
                    <a:lnTo>
                      <a:pt x="284" y="146"/>
                    </a:lnTo>
                    <a:lnTo>
                      <a:pt x="286" y="146"/>
                    </a:lnTo>
                    <a:lnTo>
                      <a:pt x="288" y="148"/>
                    </a:lnTo>
                    <a:lnTo>
                      <a:pt x="291" y="150"/>
                    </a:lnTo>
                    <a:lnTo>
                      <a:pt x="291" y="148"/>
                    </a:lnTo>
                    <a:lnTo>
                      <a:pt x="293" y="148"/>
                    </a:lnTo>
                    <a:lnTo>
                      <a:pt x="293" y="148"/>
                    </a:lnTo>
                    <a:lnTo>
                      <a:pt x="293" y="144"/>
                    </a:lnTo>
                    <a:lnTo>
                      <a:pt x="295" y="144"/>
                    </a:lnTo>
                    <a:lnTo>
                      <a:pt x="291" y="142"/>
                    </a:lnTo>
                    <a:lnTo>
                      <a:pt x="288" y="140"/>
                    </a:lnTo>
                    <a:close/>
                    <a:moveTo>
                      <a:pt x="244" y="140"/>
                    </a:moveTo>
                    <a:lnTo>
                      <a:pt x="245" y="148"/>
                    </a:lnTo>
                    <a:lnTo>
                      <a:pt x="247" y="155"/>
                    </a:lnTo>
                    <a:lnTo>
                      <a:pt x="251" y="155"/>
                    </a:lnTo>
                    <a:lnTo>
                      <a:pt x="251" y="151"/>
                    </a:lnTo>
                    <a:lnTo>
                      <a:pt x="251" y="148"/>
                    </a:lnTo>
                    <a:lnTo>
                      <a:pt x="249" y="144"/>
                    </a:lnTo>
                    <a:lnTo>
                      <a:pt x="247" y="140"/>
                    </a:lnTo>
                    <a:lnTo>
                      <a:pt x="244" y="140"/>
                    </a:lnTo>
                    <a:close/>
                    <a:moveTo>
                      <a:pt x="96" y="138"/>
                    </a:moveTo>
                    <a:lnTo>
                      <a:pt x="92" y="142"/>
                    </a:lnTo>
                    <a:lnTo>
                      <a:pt x="92" y="144"/>
                    </a:lnTo>
                    <a:lnTo>
                      <a:pt x="88" y="148"/>
                    </a:lnTo>
                    <a:lnTo>
                      <a:pt x="82" y="150"/>
                    </a:lnTo>
                    <a:lnTo>
                      <a:pt x="77" y="146"/>
                    </a:lnTo>
                    <a:lnTo>
                      <a:pt x="65" y="146"/>
                    </a:lnTo>
                    <a:lnTo>
                      <a:pt x="55" y="150"/>
                    </a:lnTo>
                    <a:lnTo>
                      <a:pt x="48" y="155"/>
                    </a:lnTo>
                    <a:lnTo>
                      <a:pt x="40" y="163"/>
                    </a:lnTo>
                    <a:lnTo>
                      <a:pt x="36" y="161"/>
                    </a:lnTo>
                    <a:lnTo>
                      <a:pt x="34" y="161"/>
                    </a:lnTo>
                    <a:lnTo>
                      <a:pt x="30" y="165"/>
                    </a:lnTo>
                    <a:lnTo>
                      <a:pt x="29" y="169"/>
                    </a:lnTo>
                    <a:lnTo>
                      <a:pt x="27" y="169"/>
                    </a:lnTo>
                    <a:lnTo>
                      <a:pt x="27" y="171"/>
                    </a:lnTo>
                    <a:lnTo>
                      <a:pt x="27" y="174"/>
                    </a:lnTo>
                    <a:lnTo>
                      <a:pt x="21" y="174"/>
                    </a:lnTo>
                    <a:lnTo>
                      <a:pt x="17" y="174"/>
                    </a:lnTo>
                    <a:lnTo>
                      <a:pt x="11" y="176"/>
                    </a:lnTo>
                    <a:lnTo>
                      <a:pt x="7" y="180"/>
                    </a:lnTo>
                    <a:lnTo>
                      <a:pt x="15" y="186"/>
                    </a:lnTo>
                    <a:lnTo>
                      <a:pt x="21" y="196"/>
                    </a:lnTo>
                    <a:lnTo>
                      <a:pt x="25" y="192"/>
                    </a:lnTo>
                    <a:lnTo>
                      <a:pt x="32" y="190"/>
                    </a:lnTo>
                    <a:lnTo>
                      <a:pt x="32" y="192"/>
                    </a:lnTo>
                    <a:lnTo>
                      <a:pt x="36" y="194"/>
                    </a:lnTo>
                    <a:lnTo>
                      <a:pt x="38" y="192"/>
                    </a:lnTo>
                    <a:lnTo>
                      <a:pt x="40" y="190"/>
                    </a:lnTo>
                    <a:lnTo>
                      <a:pt x="42" y="190"/>
                    </a:lnTo>
                    <a:lnTo>
                      <a:pt x="44" y="192"/>
                    </a:lnTo>
                    <a:lnTo>
                      <a:pt x="44" y="188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8" y="192"/>
                    </a:lnTo>
                    <a:lnTo>
                      <a:pt x="50" y="192"/>
                    </a:lnTo>
                    <a:lnTo>
                      <a:pt x="54" y="194"/>
                    </a:lnTo>
                    <a:lnTo>
                      <a:pt x="55" y="190"/>
                    </a:lnTo>
                    <a:lnTo>
                      <a:pt x="59" y="188"/>
                    </a:lnTo>
                    <a:lnTo>
                      <a:pt x="59" y="182"/>
                    </a:lnTo>
                    <a:lnTo>
                      <a:pt x="59" y="180"/>
                    </a:lnTo>
                    <a:lnTo>
                      <a:pt x="59" y="182"/>
                    </a:lnTo>
                    <a:lnTo>
                      <a:pt x="65" y="184"/>
                    </a:lnTo>
                    <a:lnTo>
                      <a:pt x="65" y="180"/>
                    </a:lnTo>
                    <a:lnTo>
                      <a:pt x="69" y="180"/>
                    </a:lnTo>
                    <a:lnTo>
                      <a:pt x="69" y="174"/>
                    </a:lnTo>
                    <a:lnTo>
                      <a:pt x="69" y="169"/>
                    </a:lnTo>
                    <a:lnTo>
                      <a:pt x="71" y="169"/>
                    </a:lnTo>
                    <a:lnTo>
                      <a:pt x="75" y="171"/>
                    </a:lnTo>
                    <a:lnTo>
                      <a:pt x="75" y="167"/>
                    </a:lnTo>
                    <a:lnTo>
                      <a:pt x="77" y="163"/>
                    </a:lnTo>
                    <a:lnTo>
                      <a:pt x="78" y="163"/>
                    </a:lnTo>
                    <a:lnTo>
                      <a:pt x="82" y="163"/>
                    </a:lnTo>
                    <a:lnTo>
                      <a:pt x="78" y="169"/>
                    </a:lnTo>
                    <a:lnTo>
                      <a:pt x="77" y="176"/>
                    </a:lnTo>
                    <a:lnTo>
                      <a:pt x="80" y="176"/>
                    </a:lnTo>
                    <a:lnTo>
                      <a:pt x="84" y="178"/>
                    </a:lnTo>
                    <a:lnTo>
                      <a:pt x="88" y="174"/>
                    </a:lnTo>
                    <a:lnTo>
                      <a:pt x="94" y="169"/>
                    </a:lnTo>
                    <a:lnTo>
                      <a:pt x="96" y="165"/>
                    </a:lnTo>
                    <a:lnTo>
                      <a:pt x="98" y="163"/>
                    </a:lnTo>
                    <a:lnTo>
                      <a:pt x="98" y="161"/>
                    </a:lnTo>
                    <a:lnTo>
                      <a:pt x="96" y="159"/>
                    </a:lnTo>
                    <a:lnTo>
                      <a:pt x="100" y="159"/>
                    </a:lnTo>
                    <a:lnTo>
                      <a:pt x="107" y="161"/>
                    </a:lnTo>
                    <a:lnTo>
                      <a:pt x="105" y="159"/>
                    </a:lnTo>
                    <a:lnTo>
                      <a:pt x="105" y="155"/>
                    </a:lnTo>
                    <a:lnTo>
                      <a:pt x="109" y="155"/>
                    </a:lnTo>
                    <a:lnTo>
                      <a:pt x="109" y="151"/>
                    </a:lnTo>
                    <a:lnTo>
                      <a:pt x="111" y="150"/>
                    </a:lnTo>
                    <a:lnTo>
                      <a:pt x="109" y="144"/>
                    </a:lnTo>
                    <a:lnTo>
                      <a:pt x="105" y="142"/>
                    </a:lnTo>
                    <a:lnTo>
                      <a:pt x="100" y="140"/>
                    </a:lnTo>
                    <a:lnTo>
                      <a:pt x="96" y="138"/>
                    </a:lnTo>
                    <a:close/>
                    <a:moveTo>
                      <a:pt x="524" y="136"/>
                    </a:moveTo>
                    <a:lnTo>
                      <a:pt x="524" y="138"/>
                    </a:lnTo>
                    <a:lnTo>
                      <a:pt x="522" y="140"/>
                    </a:lnTo>
                    <a:lnTo>
                      <a:pt x="522" y="136"/>
                    </a:lnTo>
                    <a:lnTo>
                      <a:pt x="524" y="136"/>
                    </a:lnTo>
                    <a:close/>
                    <a:moveTo>
                      <a:pt x="174" y="134"/>
                    </a:moveTo>
                    <a:lnTo>
                      <a:pt x="172" y="138"/>
                    </a:lnTo>
                    <a:lnTo>
                      <a:pt x="169" y="136"/>
                    </a:lnTo>
                    <a:lnTo>
                      <a:pt x="165" y="136"/>
                    </a:lnTo>
                    <a:lnTo>
                      <a:pt x="155" y="140"/>
                    </a:lnTo>
                    <a:lnTo>
                      <a:pt x="148" y="146"/>
                    </a:lnTo>
                    <a:lnTo>
                      <a:pt x="144" y="144"/>
                    </a:lnTo>
                    <a:lnTo>
                      <a:pt x="142" y="144"/>
                    </a:lnTo>
                    <a:lnTo>
                      <a:pt x="140" y="151"/>
                    </a:lnTo>
                    <a:lnTo>
                      <a:pt x="142" y="161"/>
                    </a:lnTo>
                    <a:lnTo>
                      <a:pt x="151" y="165"/>
                    </a:lnTo>
                    <a:lnTo>
                      <a:pt x="163" y="163"/>
                    </a:lnTo>
                    <a:lnTo>
                      <a:pt x="174" y="161"/>
                    </a:lnTo>
                    <a:lnTo>
                      <a:pt x="176" y="155"/>
                    </a:lnTo>
                    <a:lnTo>
                      <a:pt x="180" y="151"/>
                    </a:lnTo>
                    <a:lnTo>
                      <a:pt x="176" y="150"/>
                    </a:lnTo>
                    <a:lnTo>
                      <a:pt x="174" y="146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4" y="144"/>
                    </a:lnTo>
                    <a:lnTo>
                      <a:pt x="186" y="142"/>
                    </a:lnTo>
                    <a:lnTo>
                      <a:pt x="186" y="140"/>
                    </a:lnTo>
                    <a:lnTo>
                      <a:pt x="184" y="138"/>
                    </a:lnTo>
                    <a:lnTo>
                      <a:pt x="180" y="136"/>
                    </a:lnTo>
                    <a:lnTo>
                      <a:pt x="174" y="134"/>
                    </a:lnTo>
                    <a:close/>
                    <a:moveTo>
                      <a:pt x="123" y="130"/>
                    </a:moveTo>
                    <a:lnTo>
                      <a:pt x="119" y="132"/>
                    </a:lnTo>
                    <a:lnTo>
                      <a:pt x="115" y="134"/>
                    </a:lnTo>
                    <a:lnTo>
                      <a:pt x="115" y="138"/>
                    </a:lnTo>
                    <a:lnTo>
                      <a:pt x="115" y="142"/>
                    </a:lnTo>
                    <a:lnTo>
                      <a:pt x="117" y="144"/>
                    </a:lnTo>
                    <a:lnTo>
                      <a:pt x="119" y="146"/>
                    </a:lnTo>
                    <a:lnTo>
                      <a:pt x="123" y="146"/>
                    </a:lnTo>
                    <a:lnTo>
                      <a:pt x="126" y="146"/>
                    </a:lnTo>
                    <a:lnTo>
                      <a:pt x="128" y="142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3" y="130"/>
                    </a:lnTo>
                    <a:close/>
                    <a:moveTo>
                      <a:pt x="140" y="123"/>
                    </a:moveTo>
                    <a:lnTo>
                      <a:pt x="138" y="127"/>
                    </a:lnTo>
                    <a:lnTo>
                      <a:pt x="136" y="130"/>
                    </a:lnTo>
                    <a:lnTo>
                      <a:pt x="144" y="128"/>
                    </a:lnTo>
                    <a:lnTo>
                      <a:pt x="151" y="128"/>
                    </a:lnTo>
                    <a:lnTo>
                      <a:pt x="153" y="130"/>
                    </a:lnTo>
                    <a:lnTo>
                      <a:pt x="157" y="132"/>
                    </a:lnTo>
                    <a:lnTo>
                      <a:pt x="157" y="134"/>
                    </a:lnTo>
                    <a:lnTo>
                      <a:pt x="165" y="128"/>
                    </a:lnTo>
                    <a:lnTo>
                      <a:pt x="163" y="127"/>
                    </a:lnTo>
                    <a:lnTo>
                      <a:pt x="163" y="123"/>
                    </a:lnTo>
                    <a:lnTo>
                      <a:pt x="153" y="123"/>
                    </a:lnTo>
                    <a:lnTo>
                      <a:pt x="140" y="123"/>
                    </a:lnTo>
                    <a:close/>
                    <a:moveTo>
                      <a:pt x="182" y="117"/>
                    </a:moveTo>
                    <a:lnTo>
                      <a:pt x="176" y="119"/>
                    </a:lnTo>
                    <a:lnTo>
                      <a:pt x="172" y="123"/>
                    </a:lnTo>
                    <a:lnTo>
                      <a:pt x="169" y="123"/>
                    </a:lnTo>
                    <a:lnTo>
                      <a:pt x="167" y="123"/>
                    </a:lnTo>
                    <a:lnTo>
                      <a:pt x="167" y="125"/>
                    </a:lnTo>
                    <a:lnTo>
                      <a:pt x="167" y="127"/>
                    </a:lnTo>
                    <a:lnTo>
                      <a:pt x="169" y="128"/>
                    </a:lnTo>
                    <a:lnTo>
                      <a:pt x="176" y="130"/>
                    </a:lnTo>
                    <a:lnTo>
                      <a:pt x="180" y="132"/>
                    </a:lnTo>
                    <a:lnTo>
                      <a:pt x="186" y="132"/>
                    </a:lnTo>
                    <a:lnTo>
                      <a:pt x="188" y="130"/>
                    </a:lnTo>
                    <a:lnTo>
                      <a:pt x="192" y="128"/>
                    </a:lnTo>
                    <a:lnTo>
                      <a:pt x="192" y="127"/>
                    </a:lnTo>
                    <a:lnTo>
                      <a:pt x="192" y="123"/>
                    </a:lnTo>
                    <a:lnTo>
                      <a:pt x="192" y="121"/>
                    </a:lnTo>
                    <a:lnTo>
                      <a:pt x="190" y="119"/>
                    </a:lnTo>
                    <a:lnTo>
                      <a:pt x="186" y="117"/>
                    </a:lnTo>
                    <a:lnTo>
                      <a:pt x="182" y="117"/>
                    </a:lnTo>
                    <a:close/>
                    <a:moveTo>
                      <a:pt x="483" y="115"/>
                    </a:moveTo>
                    <a:lnTo>
                      <a:pt x="483" y="117"/>
                    </a:lnTo>
                    <a:lnTo>
                      <a:pt x="481" y="119"/>
                    </a:lnTo>
                    <a:lnTo>
                      <a:pt x="481" y="115"/>
                    </a:lnTo>
                    <a:lnTo>
                      <a:pt x="483" y="115"/>
                    </a:lnTo>
                    <a:close/>
                    <a:moveTo>
                      <a:pt x="330" y="115"/>
                    </a:moveTo>
                    <a:lnTo>
                      <a:pt x="330" y="130"/>
                    </a:lnTo>
                    <a:lnTo>
                      <a:pt x="338" y="132"/>
                    </a:lnTo>
                    <a:lnTo>
                      <a:pt x="343" y="134"/>
                    </a:lnTo>
                    <a:lnTo>
                      <a:pt x="341" y="136"/>
                    </a:lnTo>
                    <a:lnTo>
                      <a:pt x="339" y="136"/>
                    </a:lnTo>
                    <a:lnTo>
                      <a:pt x="343" y="144"/>
                    </a:lnTo>
                    <a:lnTo>
                      <a:pt x="347" y="148"/>
                    </a:lnTo>
                    <a:lnTo>
                      <a:pt x="351" y="148"/>
                    </a:lnTo>
                    <a:lnTo>
                      <a:pt x="361" y="146"/>
                    </a:lnTo>
                    <a:lnTo>
                      <a:pt x="364" y="144"/>
                    </a:lnTo>
                    <a:lnTo>
                      <a:pt x="372" y="144"/>
                    </a:lnTo>
                    <a:lnTo>
                      <a:pt x="368" y="130"/>
                    </a:lnTo>
                    <a:lnTo>
                      <a:pt x="362" y="128"/>
                    </a:lnTo>
                    <a:lnTo>
                      <a:pt x="357" y="128"/>
                    </a:lnTo>
                    <a:lnTo>
                      <a:pt x="353" y="125"/>
                    </a:lnTo>
                    <a:lnTo>
                      <a:pt x="351" y="123"/>
                    </a:lnTo>
                    <a:lnTo>
                      <a:pt x="339" y="119"/>
                    </a:lnTo>
                    <a:lnTo>
                      <a:pt x="330" y="115"/>
                    </a:lnTo>
                    <a:close/>
                    <a:moveTo>
                      <a:pt x="236" y="105"/>
                    </a:moveTo>
                    <a:lnTo>
                      <a:pt x="232" y="109"/>
                    </a:lnTo>
                    <a:lnTo>
                      <a:pt x="232" y="117"/>
                    </a:lnTo>
                    <a:lnTo>
                      <a:pt x="234" y="115"/>
                    </a:lnTo>
                    <a:lnTo>
                      <a:pt x="238" y="115"/>
                    </a:lnTo>
                    <a:lnTo>
                      <a:pt x="238" y="117"/>
                    </a:lnTo>
                    <a:lnTo>
                      <a:pt x="238" y="121"/>
                    </a:lnTo>
                    <a:lnTo>
                      <a:pt x="240" y="119"/>
                    </a:lnTo>
                    <a:lnTo>
                      <a:pt x="244" y="119"/>
                    </a:lnTo>
                    <a:lnTo>
                      <a:pt x="242" y="123"/>
                    </a:lnTo>
                    <a:lnTo>
                      <a:pt x="242" y="125"/>
                    </a:lnTo>
                    <a:lnTo>
                      <a:pt x="245" y="125"/>
                    </a:lnTo>
                    <a:lnTo>
                      <a:pt x="249" y="123"/>
                    </a:lnTo>
                    <a:lnTo>
                      <a:pt x="249" y="125"/>
                    </a:lnTo>
                    <a:lnTo>
                      <a:pt x="247" y="127"/>
                    </a:lnTo>
                    <a:lnTo>
                      <a:pt x="247" y="128"/>
                    </a:lnTo>
                    <a:lnTo>
                      <a:pt x="251" y="130"/>
                    </a:lnTo>
                    <a:lnTo>
                      <a:pt x="244" y="132"/>
                    </a:lnTo>
                    <a:lnTo>
                      <a:pt x="245" y="134"/>
                    </a:lnTo>
                    <a:lnTo>
                      <a:pt x="257" y="130"/>
                    </a:lnTo>
                    <a:lnTo>
                      <a:pt x="268" y="128"/>
                    </a:lnTo>
                    <a:lnTo>
                      <a:pt x="274" y="128"/>
                    </a:lnTo>
                    <a:lnTo>
                      <a:pt x="280" y="128"/>
                    </a:lnTo>
                    <a:lnTo>
                      <a:pt x="286" y="130"/>
                    </a:lnTo>
                    <a:lnTo>
                      <a:pt x="291" y="134"/>
                    </a:lnTo>
                    <a:lnTo>
                      <a:pt x="293" y="136"/>
                    </a:lnTo>
                    <a:lnTo>
                      <a:pt x="295" y="140"/>
                    </a:lnTo>
                    <a:lnTo>
                      <a:pt x="299" y="140"/>
                    </a:lnTo>
                    <a:lnTo>
                      <a:pt x="303" y="142"/>
                    </a:lnTo>
                    <a:lnTo>
                      <a:pt x="305" y="146"/>
                    </a:lnTo>
                    <a:lnTo>
                      <a:pt x="309" y="150"/>
                    </a:lnTo>
                    <a:lnTo>
                      <a:pt x="313" y="150"/>
                    </a:lnTo>
                    <a:lnTo>
                      <a:pt x="316" y="150"/>
                    </a:lnTo>
                    <a:lnTo>
                      <a:pt x="318" y="144"/>
                    </a:lnTo>
                    <a:lnTo>
                      <a:pt x="320" y="138"/>
                    </a:lnTo>
                    <a:lnTo>
                      <a:pt x="316" y="136"/>
                    </a:lnTo>
                    <a:lnTo>
                      <a:pt x="311" y="127"/>
                    </a:lnTo>
                    <a:lnTo>
                      <a:pt x="307" y="127"/>
                    </a:lnTo>
                    <a:lnTo>
                      <a:pt x="305" y="128"/>
                    </a:lnTo>
                    <a:lnTo>
                      <a:pt x="297" y="127"/>
                    </a:lnTo>
                    <a:lnTo>
                      <a:pt x="293" y="121"/>
                    </a:lnTo>
                    <a:lnTo>
                      <a:pt x="290" y="117"/>
                    </a:lnTo>
                    <a:lnTo>
                      <a:pt x="288" y="117"/>
                    </a:lnTo>
                    <a:lnTo>
                      <a:pt x="286" y="119"/>
                    </a:lnTo>
                    <a:lnTo>
                      <a:pt x="282" y="115"/>
                    </a:lnTo>
                    <a:lnTo>
                      <a:pt x="276" y="113"/>
                    </a:lnTo>
                    <a:lnTo>
                      <a:pt x="274" y="115"/>
                    </a:lnTo>
                    <a:lnTo>
                      <a:pt x="270" y="117"/>
                    </a:lnTo>
                    <a:lnTo>
                      <a:pt x="270" y="113"/>
                    </a:lnTo>
                    <a:lnTo>
                      <a:pt x="265" y="111"/>
                    </a:lnTo>
                    <a:lnTo>
                      <a:pt x="259" y="109"/>
                    </a:lnTo>
                    <a:lnTo>
                      <a:pt x="259" y="111"/>
                    </a:lnTo>
                    <a:lnTo>
                      <a:pt x="259" y="115"/>
                    </a:lnTo>
                    <a:lnTo>
                      <a:pt x="255" y="115"/>
                    </a:lnTo>
                    <a:lnTo>
                      <a:pt x="253" y="117"/>
                    </a:lnTo>
                    <a:lnTo>
                      <a:pt x="251" y="113"/>
                    </a:lnTo>
                    <a:lnTo>
                      <a:pt x="251" y="109"/>
                    </a:lnTo>
                    <a:lnTo>
                      <a:pt x="242" y="107"/>
                    </a:lnTo>
                    <a:lnTo>
                      <a:pt x="236" y="105"/>
                    </a:lnTo>
                    <a:close/>
                    <a:moveTo>
                      <a:pt x="497" y="96"/>
                    </a:moveTo>
                    <a:lnTo>
                      <a:pt x="499" y="102"/>
                    </a:lnTo>
                    <a:lnTo>
                      <a:pt x="501" y="103"/>
                    </a:lnTo>
                    <a:lnTo>
                      <a:pt x="505" y="105"/>
                    </a:lnTo>
                    <a:lnTo>
                      <a:pt x="510" y="107"/>
                    </a:lnTo>
                    <a:lnTo>
                      <a:pt x="510" y="109"/>
                    </a:lnTo>
                    <a:lnTo>
                      <a:pt x="512" y="111"/>
                    </a:lnTo>
                    <a:lnTo>
                      <a:pt x="505" y="111"/>
                    </a:lnTo>
                    <a:lnTo>
                      <a:pt x="501" y="113"/>
                    </a:lnTo>
                    <a:lnTo>
                      <a:pt x="503" y="113"/>
                    </a:lnTo>
                    <a:lnTo>
                      <a:pt x="505" y="113"/>
                    </a:lnTo>
                    <a:lnTo>
                      <a:pt x="516" y="115"/>
                    </a:lnTo>
                    <a:lnTo>
                      <a:pt x="528" y="115"/>
                    </a:lnTo>
                    <a:lnTo>
                      <a:pt x="528" y="117"/>
                    </a:lnTo>
                    <a:lnTo>
                      <a:pt x="528" y="121"/>
                    </a:lnTo>
                    <a:lnTo>
                      <a:pt x="506" y="119"/>
                    </a:lnTo>
                    <a:lnTo>
                      <a:pt x="485" y="117"/>
                    </a:lnTo>
                    <a:lnTo>
                      <a:pt x="485" y="113"/>
                    </a:lnTo>
                    <a:lnTo>
                      <a:pt x="491" y="111"/>
                    </a:lnTo>
                    <a:lnTo>
                      <a:pt x="499" y="109"/>
                    </a:lnTo>
                    <a:lnTo>
                      <a:pt x="499" y="105"/>
                    </a:lnTo>
                    <a:lnTo>
                      <a:pt x="499" y="103"/>
                    </a:lnTo>
                    <a:lnTo>
                      <a:pt x="497" y="102"/>
                    </a:lnTo>
                    <a:lnTo>
                      <a:pt x="495" y="100"/>
                    </a:lnTo>
                    <a:lnTo>
                      <a:pt x="495" y="96"/>
                    </a:lnTo>
                    <a:lnTo>
                      <a:pt x="497" y="96"/>
                    </a:lnTo>
                    <a:close/>
                    <a:moveTo>
                      <a:pt x="558" y="73"/>
                    </a:moveTo>
                    <a:lnTo>
                      <a:pt x="545" y="75"/>
                    </a:lnTo>
                    <a:lnTo>
                      <a:pt x="531" y="79"/>
                    </a:lnTo>
                    <a:lnTo>
                      <a:pt x="533" y="80"/>
                    </a:lnTo>
                    <a:lnTo>
                      <a:pt x="535" y="80"/>
                    </a:lnTo>
                    <a:lnTo>
                      <a:pt x="535" y="86"/>
                    </a:lnTo>
                    <a:lnTo>
                      <a:pt x="535" y="90"/>
                    </a:lnTo>
                    <a:lnTo>
                      <a:pt x="537" y="92"/>
                    </a:lnTo>
                    <a:lnTo>
                      <a:pt x="545" y="94"/>
                    </a:lnTo>
                    <a:lnTo>
                      <a:pt x="549" y="92"/>
                    </a:lnTo>
                    <a:lnTo>
                      <a:pt x="551" y="92"/>
                    </a:lnTo>
                    <a:lnTo>
                      <a:pt x="552" y="90"/>
                    </a:lnTo>
                    <a:lnTo>
                      <a:pt x="554" y="90"/>
                    </a:lnTo>
                    <a:lnTo>
                      <a:pt x="554" y="92"/>
                    </a:lnTo>
                    <a:lnTo>
                      <a:pt x="554" y="92"/>
                    </a:lnTo>
                    <a:lnTo>
                      <a:pt x="552" y="96"/>
                    </a:lnTo>
                    <a:lnTo>
                      <a:pt x="551" y="98"/>
                    </a:lnTo>
                    <a:lnTo>
                      <a:pt x="543" y="98"/>
                    </a:lnTo>
                    <a:lnTo>
                      <a:pt x="537" y="96"/>
                    </a:lnTo>
                    <a:lnTo>
                      <a:pt x="535" y="92"/>
                    </a:lnTo>
                    <a:lnTo>
                      <a:pt x="531" y="90"/>
                    </a:lnTo>
                    <a:lnTo>
                      <a:pt x="529" y="82"/>
                    </a:lnTo>
                    <a:lnTo>
                      <a:pt x="524" y="77"/>
                    </a:lnTo>
                    <a:lnTo>
                      <a:pt x="505" y="75"/>
                    </a:lnTo>
                    <a:lnTo>
                      <a:pt x="487" y="75"/>
                    </a:lnTo>
                    <a:lnTo>
                      <a:pt x="485" y="77"/>
                    </a:lnTo>
                    <a:lnTo>
                      <a:pt x="483" y="79"/>
                    </a:lnTo>
                    <a:lnTo>
                      <a:pt x="483" y="82"/>
                    </a:lnTo>
                    <a:lnTo>
                      <a:pt x="485" y="84"/>
                    </a:lnTo>
                    <a:lnTo>
                      <a:pt x="480" y="88"/>
                    </a:lnTo>
                    <a:lnTo>
                      <a:pt x="474" y="94"/>
                    </a:lnTo>
                    <a:lnTo>
                      <a:pt x="474" y="88"/>
                    </a:lnTo>
                    <a:lnTo>
                      <a:pt x="476" y="84"/>
                    </a:lnTo>
                    <a:lnTo>
                      <a:pt x="472" y="82"/>
                    </a:lnTo>
                    <a:lnTo>
                      <a:pt x="470" y="80"/>
                    </a:lnTo>
                    <a:lnTo>
                      <a:pt x="470" y="77"/>
                    </a:lnTo>
                    <a:lnTo>
                      <a:pt x="470" y="75"/>
                    </a:lnTo>
                    <a:lnTo>
                      <a:pt x="468" y="75"/>
                    </a:lnTo>
                    <a:lnTo>
                      <a:pt x="468" y="79"/>
                    </a:lnTo>
                    <a:lnTo>
                      <a:pt x="460" y="77"/>
                    </a:lnTo>
                    <a:lnTo>
                      <a:pt x="457" y="75"/>
                    </a:lnTo>
                    <a:lnTo>
                      <a:pt x="457" y="79"/>
                    </a:lnTo>
                    <a:lnTo>
                      <a:pt x="441" y="79"/>
                    </a:lnTo>
                    <a:lnTo>
                      <a:pt x="428" y="79"/>
                    </a:lnTo>
                    <a:lnTo>
                      <a:pt x="424" y="75"/>
                    </a:lnTo>
                    <a:lnTo>
                      <a:pt x="420" y="75"/>
                    </a:lnTo>
                    <a:lnTo>
                      <a:pt x="418" y="75"/>
                    </a:lnTo>
                    <a:lnTo>
                      <a:pt x="414" y="63"/>
                    </a:lnTo>
                    <a:lnTo>
                      <a:pt x="410" y="56"/>
                    </a:lnTo>
                    <a:lnTo>
                      <a:pt x="387" y="50"/>
                    </a:lnTo>
                    <a:lnTo>
                      <a:pt x="361" y="48"/>
                    </a:lnTo>
                    <a:lnTo>
                      <a:pt x="361" y="52"/>
                    </a:lnTo>
                    <a:lnTo>
                      <a:pt x="372" y="52"/>
                    </a:lnTo>
                    <a:lnTo>
                      <a:pt x="382" y="54"/>
                    </a:lnTo>
                    <a:lnTo>
                      <a:pt x="380" y="63"/>
                    </a:lnTo>
                    <a:lnTo>
                      <a:pt x="370" y="59"/>
                    </a:lnTo>
                    <a:lnTo>
                      <a:pt x="361" y="57"/>
                    </a:lnTo>
                    <a:lnTo>
                      <a:pt x="361" y="61"/>
                    </a:lnTo>
                    <a:lnTo>
                      <a:pt x="361" y="65"/>
                    </a:lnTo>
                    <a:lnTo>
                      <a:pt x="368" y="65"/>
                    </a:lnTo>
                    <a:lnTo>
                      <a:pt x="376" y="65"/>
                    </a:lnTo>
                    <a:lnTo>
                      <a:pt x="380" y="69"/>
                    </a:lnTo>
                    <a:lnTo>
                      <a:pt x="384" y="67"/>
                    </a:lnTo>
                    <a:lnTo>
                      <a:pt x="387" y="67"/>
                    </a:lnTo>
                    <a:lnTo>
                      <a:pt x="389" y="67"/>
                    </a:lnTo>
                    <a:lnTo>
                      <a:pt x="393" y="73"/>
                    </a:lnTo>
                    <a:lnTo>
                      <a:pt x="382" y="73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74" y="82"/>
                    </a:lnTo>
                    <a:lnTo>
                      <a:pt x="370" y="82"/>
                    </a:lnTo>
                    <a:lnTo>
                      <a:pt x="366" y="82"/>
                    </a:lnTo>
                    <a:lnTo>
                      <a:pt x="372" y="84"/>
                    </a:lnTo>
                    <a:lnTo>
                      <a:pt x="384" y="86"/>
                    </a:lnTo>
                    <a:lnTo>
                      <a:pt x="384" y="82"/>
                    </a:lnTo>
                    <a:lnTo>
                      <a:pt x="386" y="84"/>
                    </a:lnTo>
                    <a:lnTo>
                      <a:pt x="386" y="88"/>
                    </a:lnTo>
                    <a:lnTo>
                      <a:pt x="391" y="86"/>
                    </a:lnTo>
                    <a:lnTo>
                      <a:pt x="395" y="86"/>
                    </a:lnTo>
                    <a:lnTo>
                      <a:pt x="395" y="88"/>
                    </a:lnTo>
                    <a:lnTo>
                      <a:pt x="397" y="90"/>
                    </a:lnTo>
                    <a:lnTo>
                      <a:pt x="384" y="90"/>
                    </a:lnTo>
                    <a:lnTo>
                      <a:pt x="378" y="90"/>
                    </a:lnTo>
                    <a:lnTo>
                      <a:pt x="372" y="88"/>
                    </a:lnTo>
                    <a:lnTo>
                      <a:pt x="374" y="94"/>
                    </a:lnTo>
                    <a:lnTo>
                      <a:pt x="374" y="100"/>
                    </a:lnTo>
                    <a:lnTo>
                      <a:pt x="378" y="102"/>
                    </a:lnTo>
                    <a:lnTo>
                      <a:pt x="384" y="105"/>
                    </a:lnTo>
                    <a:lnTo>
                      <a:pt x="387" y="105"/>
                    </a:lnTo>
                    <a:lnTo>
                      <a:pt x="393" y="105"/>
                    </a:lnTo>
                    <a:lnTo>
                      <a:pt x="395" y="105"/>
                    </a:lnTo>
                    <a:lnTo>
                      <a:pt x="391" y="107"/>
                    </a:lnTo>
                    <a:lnTo>
                      <a:pt x="386" y="107"/>
                    </a:lnTo>
                    <a:lnTo>
                      <a:pt x="384" y="109"/>
                    </a:lnTo>
                    <a:lnTo>
                      <a:pt x="384" y="111"/>
                    </a:lnTo>
                    <a:lnTo>
                      <a:pt x="393" y="115"/>
                    </a:lnTo>
                    <a:lnTo>
                      <a:pt x="399" y="111"/>
                    </a:lnTo>
                    <a:lnTo>
                      <a:pt x="403" y="109"/>
                    </a:lnTo>
                    <a:lnTo>
                      <a:pt x="409" y="109"/>
                    </a:lnTo>
                    <a:lnTo>
                      <a:pt x="416" y="109"/>
                    </a:lnTo>
                    <a:lnTo>
                      <a:pt x="416" y="113"/>
                    </a:lnTo>
                    <a:lnTo>
                      <a:pt x="405" y="115"/>
                    </a:lnTo>
                    <a:lnTo>
                      <a:pt x="397" y="117"/>
                    </a:lnTo>
                    <a:lnTo>
                      <a:pt x="399" y="123"/>
                    </a:lnTo>
                    <a:lnTo>
                      <a:pt x="403" y="130"/>
                    </a:lnTo>
                    <a:lnTo>
                      <a:pt x="407" y="130"/>
                    </a:lnTo>
                    <a:lnTo>
                      <a:pt x="405" y="132"/>
                    </a:lnTo>
                    <a:lnTo>
                      <a:pt x="403" y="134"/>
                    </a:lnTo>
                    <a:lnTo>
                      <a:pt x="403" y="136"/>
                    </a:lnTo>
                    <a:lnTo>
                      <a:pt x="405" y="138"/>
                    </a:lnTo>
                    <a:lnTo>
                      <a:pt x="412" y="138"/>
                    </a:lnTo>
                    <a:lnTo>
                      <a:pt x="422" y="138"/>
                    </a:lnTo>
                    <a:lnTo>
                      <a:pt x="424" y="132"/>
                    </a:lnTo>
                    <a:lnTo>
                      <a:pt x="428" y="134"/>
                    </a:lnTo>
                    <a:lnTo>
                      <a:pt x="432" y="138"/>
                    </a:lnTo>
                    <a:lnTo>
                      <a:pt x="435" y="136"/>
                    </a:lnTo>
                    <a:lnTo>
                      <a:pt x="439" y="136"/>
                    </a:lnTo>
                    <a:lnTo>
                      <a:pt x="439" y="132"/>
                    </a:lnTo>
                    <a:lnTo>
                      <a:pt x="443" y="128"/>
                    </a:lnTo>
                    <a:lnTo>
                      <a:pt x="449" y="127"/>
                    </a:lnTo>
                    <a:lnTo>
                      <a:pt x="455" y="127"/>
                    </a:lnTo>
                    <a:lnTo>
                      <a:pt x="453" y="121"/>
                    </a:lnTo>
                    <a:lnTo>
                      <a:pt x="455" y="117"/>
                    </a:lnTo>
                    <a:lnTo>
                      <a:pt x="457" y="119"/>
                    </a:lnTo>
                    <a:lnTo>
                      <a:pt x="457" y="123"/>
                    </a:lnTo>
                    <a:lnTo>
                      <a:pt x="460" y="123"/>
                    </a:lnTo>
                    <a:lnTo>
                      <a:pt x="464" y="119"/>
                    </a:lnTo>
                    <a:lnTo>
                      <a:pt x="468" y="117"/>
                    </a:lnTo>
                    <a:lnTo>
                      <a:pt x="470" y="115"/>
                    </a:lnTo>
                    <a:lnTo>
                      <a:pt x="478" y="115"/>
                    </a:lnTo>
                    <a:lnTo>
                      <a:pt x="478" y="119"/>
                    </a:lnTo>
                    <a:lnTo>
                      <a:pt x="476" y="123"/>
                    </a:lnTo>
                    <a:lnTo>
                      <a:pt x="468" y="123"/>
                    </a:lnTo>
                    <a:lnTo>
                      <a:pt x="462" y="125"/>
                    </a:lnTo>
                    <a:lnTo>
                      <a:pt x="462" y="127"/>
                    </a:lnTo>
                    <a:lnTo>
                      <a:pt x="462" y="130"/>
                    </a:lnTo>
                    <a:lnTo>
                      <a:pt x="460" y="132"/>
                    </a:lnTo>
                    <a:lnTo>
                      <a:pt x="460" y="138"/>
                    </a:lnTo>
                    <a:lnTo>
                      <a:pt x="472" y="136"/>
                    </a:lnTo>
                    <a:lnTo>
                      <a:pt x="481" y="136"/>
                    </a:lnTo>
                    <a:lnTo>
                      <a:pt x="487" y="134"/>
                    </a:lnTo>
                    <a:lnTo>
                      <a:pt x="491" y="132"/>
                    </a:lnTo>
                    <a:lnTo>
                      <a:pt x="495" y="130"/>
                    </a:lnTo>
                    <a:lnTo>
                      <a:pt x="501" y="127"/>
                    </a:lnTo>
                    <a:lnTo>
                      <a:pt x="499" y="134"/>
                    </a:lnTo>
                    <a:lnTo>
                      <a:pt x="499" y="140"/>
                    </a:lnTo>
                    <a:lnTo>
                      <a:pt x="499" y="144"/>
                    </a:lnTo>
                    <a:lnTo>
                      <a:pt x="501" y="144"/>
                    </a:lnTo>
                    <a:lnTo>
                      <a:pt x="508" y="146"/>
                    </a:lnTo>
                    <a:lnTo>
                      <a:pt x="520" y="146"/>
                    </a:lnTo>
                    <a:lnTo>
                      <a:pt x="518" y="150"/>
                    </a:lnTo>
                    <a:lnTo>
                      <a:pt x="518" y="153"/>
                    </a:lnTo>
                    <a:lnTo>
                      <a:pt x="514" y="155"/>
                    </a:lnTo>
                    <a:lnTo>
                      <a:pt x="514" y="157"/>
                    </a:lnTo>
                    <a:lnTo>
                      <a:pt x="505" y="157"/>
                    </a:lnTo>
                    <a:lnTo>
                      <a:pt x="495" y="155"/>
                    </a:lnTo>
                    <a:lnTo>
                      <a:pt x="493" y="151"/>
                    </a:lnTo>
                    <a:lnTo>
                      <a:pt x="493" y="148"/>
                    </a:lnTo>
                    <a:lnTo>
                      <a:pt x="489" y="148"/>
                    </a:lnTo>
                    <a:lnTo>
                      <a:pt x="485" y="148"/>
                    </a:lnTo>
                    <a:lnTo>
                      <a:pt x="483" y="144"/>
                    </a:lnTo>
                    <a:lnTo>
                      <a:pt x="481" y="142"/>
                    </a:lnTo>
                    <a:lnTo>
                      <a:pt x="468" y="142"/>
                    </a:lnTo>
                    <a:lnTo>
                      <a:pt x="457" y="144"/>
                    </a:lnTo>
                    <a:lnTo>
                      <a:pt x="458" y="151"/>
                    </a:lnTo>
                    <a:lnTo>
                      <a:pt x="462" y="151"/>
                    </a:lnTo>
                    <a:lnTo>
                      <a:pt x="464" y="151"/>
                    </a:lnTo>
                    <a:lnTo>
                      <a:pt x="466" y="157"/>
                    </a:lnTo>
                    <a:lnTo>
                      <a:pt x="458" y="159"/>
                    </a:lnTo>
                    <a:lnTo>
                      <a:pt x="449" y="163"/>
                    </a:lnTo>
                    <a:lnTo>
                      <a:pt x="439" y="167"/>
                    </a:lnTo>
                    <a:lnTo>
                      <a:pt x="437" y="169"/>
                    </a:lnTo>
                    <a:lnTo>
                      <a:pt x="437" y="174"/>
                    </a:lnTo>
                    <a:lnTo>
                      <a:pt x="439" y="182"/>
                    </a:lnTo>
                    <a:lnTo>
                      <a:pt x="441" y="180"/>
                    </a:lnTo>
                    <a:lnTo>
                      <a:pt x="443" y="178"/>
                    </a:lnTo>
                    <a:lnTo>
                      <a:pt x="451" y="180"/>
                    </a:lnTo>
                    <a:lnTo>
                      <a:pt x="460" y="182"/>
                    </a:lnTo>
                    <a:lnTo>
                      <a:pt x="458" y="180"/>
                    </a:lnTo>
                    <a:lnTo>
                      <a:pt x="458" y="178"/>
                    </a:lnTo>
                    <a:lnTo>
                      <a:pt x="460" y="176"/>
                    </a:lnTo>
                    <a:lnTo>
                      <a:pt x="464" y="176"/>
                    </a:lnTo>
                    <a:lnTo>
                      <a:pt x="466" y="178"/>
                    </a:lnTo>
                    <a:lnTo>
                      <a:pt x="470" y="182"/>
                    </a:lnTo>
                    <a:lnTo>
                      <a:pt x="470" y="178"/>
                    </a:lnTo>
                    <a:lnTo>
                      <a:pt x="472" y="176"/>
                    </a:lnTo>
                    <a:lnTo>
                      <a:pt x="472" y="180"/>
                    </a:lnTo>
                    <a:lnTo>
                      <a:pt x="481" y="182"/>
                    </a:lnTo>
                    <a:lnTo>
                      <a:pt x="493" y="186"/>
                    </a:lnTo>
                    <a:lnTo>
                      <a:pt x="495" y="182"/>
                    </a:lnTo>
                    <a:lnTo>
                      <a:pt x="499" y="180"/>
                    </a:lnTo>
                    <a:lnTo>
                      <a:pt x="497" y="176"/>
                    </a:lnTo>
                    <a:lnTo>
                      <a:pt x="495" y="173"/>
                    </a:lnTo>
                    <a:lnTo>
                      <a:pt x="499" y="173"/>
                    </a:lnTo>
                    <a:lnTo>
                      <a:pt x="503" y="174"/>
                    </a:lnTo>
                    <a:lnTo>
                      <a:pt x="505" y="171"/>
                    </a:lnTo>
                    <a:lnTo>
                      <a:pt x="508" y="167"/>
                    </a:lnTo>
                    <a:lnTo>
                      <a:pt x="508" y="178"/>
                    </a:lnTo>
                    <a:lnTo>
                      <a:pt x="518" y="176"/>
                    </a:lnTo>
                    <a:lnTo>
                      <a:pt x="531" y="176"/>
                    </a:lnTo>
                    <a:lnTo>
                      <a:pt x="531" y="171"/>
                    </a:lnTo>
                    <a:lnTo>
                      <a:pt x="535" y="169"/>
                    </a:lnTo>
                    <a:lnTo>
                      <a:pt x="537" y="176"/>
                    </a:lnTo>
                    <a:lnTo>
                      <a:pt x="539" y="174"/>
                    </a:lnTo>
                    <a:lnTo>
                      <a:pt x="541" y="173"/>
                    </a:lnTo>
                    <a:lnTo>
                      <a:pt x="543" y="173"/>
                    </a:lnTo>
                    <a:lnTo>
                      <a:pt x="549" y="174"/>
                    </a:lnTo>
                    <a:lnTo>
                      <a:pt x="549" y="180"/>
                    </a:lnTo>
                    <a:lnTo>
                      <a:pt x="549" y="188"/>
                    </a:lnTo>
                    <a:lnTo>
                      <a:pt x="556" y="180"/>
                    </a:lnTo>
                    <a:lnTo>
                      <a:pt x="566" y="174"/>
                    </a:lnTo>
                    <a:lnTo>
                      <a:pt x="568" y="176"/>
                    </a:lnTo>
                    <a:lnTo>
                      <a:pt x="574" y="178"/>
                    </a:lnTo>
                    <a:lnTo>
                      <a:pt x="577" y="174"/>
                    </a:lnTo>
                    <a:lnTo>
                      <a:pt x="583" y="169"/>
                    </a:lnTo>
                    <a:lnTo>
                      <a:pt x="585" y="169"/>
                    </a:lnTo>
                    <a:lnTo>
                      <a:pt x="585" y="167"/>
                    </a:lnTo>
                    <a:lnTo>
                      <a:pt x="583" y="165"/>
                    </a:lnTo>
                    <a:lnTo>
                      <a:pt x="583" y="165"/>
                    </a:lnTo>
                    <a:lnTo>
                      <a:pt x="579" y="165"/>
                    </a:lnTo>
                    <a:lnTo>
                      <a:pt x="576" y="165"/>
                    </a:lnTo>
                    <a:lnTo>
                      <a:pt x="572" y="161"/>
                    </a:lnTo>
                    <a:lnTo>
                      <a:pt x="570" y="157"/>
                    </a:lnTo>
                    <a:lnTo>
                      <a:pt x="562" y="155"/>
                    </a:lnTo>
                    <a:lnTo>
                      <a:pt x="556" y="153"/>
                    </a:lnTo>
                    <a:lnTo>
                      <a:pt x="572" y="153"/>
                    </a:lnTo>
                    <a:lnTo>
                      <a:pt x="585" y="151"/>
                    </a:lnTo>
                    <a:lnTo>
                      <a:pt x="583" y="146"/>
                    </a:lnTo>
                    <a:lnTo>
                      <a:pt x="583" y="140"/>
                    </a:lnTo>
                    <a:lnTo>
                      <a:pt x="597" y="142"/>
                    </a:lnTo>
                    <a:lnTo>
                      <a:pt x="610" y="140"/>
                    </a:lnTo>
                    <a:lnTo>
                      <a:pt x="612" y="136"/>
                    </a:lnTo>
                    <a:lnTo>
                      <a:pt x="608" y="134"/>
                    </a:lnTo>
                    <a:lnTo>
                      <a:pt x="608" y="132"/>
                    </a:lnTo>
                    <a:lnTo>
                      <a:pt x="614" y="132"/>
                    </a:lnTo>
                    <a:lnTo>
                      <a:pt x="620" y="132"/>
                    </a:lnTo>
                    <a:lnTo>
                      <a:pt x="618" y="130"/>
                    </a:lnTo>
                    <a:lnTo>
                      <a:pt x="618" y="130"/>
                    </a:lnTo>
                    <a:lnTo>
                      <a:pt x="616" y="128"/>
                    </a:lnTo>
                    <a:lnTo>
                      <a:pt x="614" y="127"/>
                    </a:lnTo>
                    <a:lnTo>
                      <a:pt x="620" y="127"/>
                    </a:lnTo>
                    <a:lnTo>
                      <a:pt x="627" y="127"/>
                    </a:lnTo>
                    <a:lnTo>
                      <a:pt x="627" y="125"/>
                    </a:lnTo>
                    <a:lnTo>
                      <a:pt x="631" y="123"/>
                    </a:lnTo>
                    <a:lnTo>
                      <a:pt x="629" y="121"/>
                    </a:lnTo>
                    <a:lnTo>
                      <a:pt x="629" y="117"/>
                    </a:lnTo>
                    <a:lnTo>
                      <a:pt x="623" y="117"/>
                    </a:lnTo>
                    <a:lnTo>
                      <a:pt x="620" y="119"/>
                    </a:lnTo>
                    <a:lnTo>
                      <a:pt x="620" y="115"/>
                    </a:lnTo>
                    <a:lnTo>
                      <a:pt x="614" y="113"/>
                    </a:lnTo>
                    <a:lnTo>
                      <a:pt x="612" y="113"/>
                    </a:lnTo>
                    <a:lnTo>
                      <a:pt x="599" y="115"/>
                    </a:lnTo>
                    <a:lnTo>
                      <a:pt x="587" y="121"/>
                    </a:lnTo>
                    <a:lnTo>
                      <a:pt x="587" y="117"/>
                    </a:lnTo>
                    <a:lnTo>
                      <a:pt x="589" y="117"/>
                    </a:lnTo>
                    <a:lnTo>
                      <a:pt x="591" y="117"/>
                    </a:lnTo>
                    <a:lnTo>
                      <a:pt x="591" y="115"/>
                    </a:lnTo>
                    <a:lnTo>
                      <a:pt x="591" y="113"/>
                    </a:lnTo>
                    <a:lnTo>
                      <a:pt x="587" y="111"/>
                    </a:lnTo>
                    <a:lnTo>
                      <a:pt x="585" y="109"/>
                    </a:lnTo>
                    <a:lnTo>
                      <a:pt x="591" y="109"/>
                    </a:lnTo>
                    <a:lnTo>
                      <a:pt x="602" y="111"/>
                    </a:lnTo>
                    <a:lnTo>
                      <a:pt x="608" y="111"/>
                    </a:lnTo>
                    <a:lnTo>
                      <a:pt x="612" y="111"/>
                    </a:lnTo>
                    <a:lnTo>
                      <a:pt x="612" y="109"/>
                    </a:lnTo>
                    <a:lnTo>
                      <a:pt x="610" y="107"/>
                    </a:lnTo>
                    <a:lnTo>
                      <a:pt x="606" y="105"/>
                    </a:lnTo>
                    <a:lnTo>
                      <a:pt x="602" y="105"/>
                    </a:lnTo>
                    <a:lnTo>
                      <a:pt x="606" y="105"/>
                    </a:lnTo>
                    <a:lnTo>
                      <a:pt x="620" y="105"/>
                    </a:lnTo>
                    <a:lnTo>
                      <a:pt x="618" y="102"/>
                    </a:lnTo>
                    <a:lnTo>
                      <a:pt x="606" y="100"/>
                    </a:lnTo>
                    <a:lnTo>
                      <a:pt x="597" y="100"/>
                    </a:lnTo>
                    <a:lnTo>
                      <a:pt x="597" y="96"/>
                    </a:lnTo>
                    <a:lnTo>
                      <a:pt x="600" y="96"/>
                    </a:lnTo>
                    <a:lnTo>
                      <a:pt x="606" y="98"/>
                    </a:lnTo>
                    <a:lnTo>
                      <a:pt x="606" y="96"/>
                    </a:lnTo>
                    <a:lnTo>
                      <a:pt x="610" y="94"/>
                    </a:lnTo>
                    <a:lnTo>
                      <a:pt x="614" y="98"/>
                    </a:lnTo>
                    <a:lnTo>
                      <a:pt x="620" y="102"/>
                    </a:lnTo>
                    <a:lnTo>
                      <a:pt x="622" y="100"/>
                    </a:lnTo>
                    <a:lnTo>
                      <a:pt x="622" y="98"/>
                    </a:lnTo>
                    <a:lnTo>
                      <a:pt x="631" y="98"/>
                    </a:lnTo>
                    <a:lnTo>
                      <a:pt x="641" y="98"/>
                    </a:lnTo>
                    <a:lnTo>
                      <a:pt x="647" y="98"/>
                    </a:lnTo>
                    <a:lnTo>
                      <a:pt x="656" y="98"/>
                    </a:lnTo>
                    <a:lnTo>
                      <a:pt x="656" y="94"/>
                    </a:lnTo>
                    <a:lnTo>
                      <a:pt x="654" y="92"/>
                    </a:lnTo>
                    <a:lnTo>
                      <a:pt x="660" y="90"/>
                    </a:lnTo>
                    <a:lnTo>
                      <a:pt x="668" y="88"/>
                    </a:lnTo>
                    <a:lnTo>
                      <a:pt x="670" y="86"/>
                    </a:lnTo>
                    <a:lnTo>
                      <a:pt x="670" y="86"/>
                    </a:lnTo>
                    <a:lnTo>
                      <a:pt x="668" y="84"/>
                    </a:lnTo>
                    <a:lnTo>
                      <a:pt x="664" y="82"/>
                    </a:lnTo>
                    <a:lnTo>
                      <a:pt x="666" y="82"/>
                    </a:lnTo>
                    <a:lnTo>
                      <a:pt x="666" y="80"/>
                    </a:lnTo>
                    <a:lnTo>
                      <a:pt x="673" y="82"/>
                    </a:lnTo>
                    <a:lnTo>
                      <a:pt x="677" y="82"/>
                    </a:lnTo>
                    <a:lnTo>
                      <a:pt x="681" y="80"/>
                    </a:lnTo>
                    <a:lnTo>
                      <a:pt x="687" y="77"/>
                    </a:lnTo>
                    <a:lnTo>
                      <a:pt x="685" y="75"/>
                    </a:lnTo>
                    <a:lnTo>
                      <a:pt x="687" y="71"/>
                    </a:lnTo>
                    <a:lnTo>
                      <a:pt x="689" y="73"/>
                    </a:lnTo>
                    <a:lnTo>
                      <a:pt x="693" y="77"/>
                    </a:lnTo>
                    <a:lnTo>
                      <a:pt x="702" y="69"/>
                    </a:lnTo>
                    <a:lnTo>
                      <a:pt x="714" y="61"/>
                    </a:lnTo>
                    <a:lnTo>
                      <a:pt x="733" y="59"/>
                    </a:lnTo>
                    <a:lnTo>
                      <a:pt x="752" y="56"/>
                    </a:lnTo>
                    <a:lnTo>
                      <a:pt x="754" y="52"/>
                    </a:lnTo>
                    <a:lnTo>
                      <a:pt x="756" y="50"/>
                    </a:lnTo>
                    <a:lnTo>
                      <a:pt x="756" y="46"/>
                    </a:lnTo>
                    <a:lnTo>
                      <a:pt x="752" y="44"/>
                    </a:lnTo>
                    <a:lnTo>
                      <a:pt x="762" y="40"/>
                    </a:lnTo>
                    <a:lnTo>
                      <a:pt x="773" y="36"/>
                    </a:lnTo>
                    <a:lnTo>
                      <a:pt x="775" y="34"/>
                    </a:lnTo>
                    <a:lnTo>
                      <a:pt x="779" y="34"/>
                    </a:lnTo>
                    <a:lnTo>
                      <a:pt x="779" y="31"/>
                    </a:lnTo>
                    <a:lnTo>
                      <a:pt x="785" y="29"/>
                    </a:lnTo>
                    <a:lnTo>
                      <a:pt x="790" y="29"/>
                    </a:lnTo>
                    <a:lnTo>
                      <a:pt x="790" y="27"/>
                    </a:lnTo>
                    <a:lnTo>
                      <a:pt x="794" y="25"/>
                    </a:lnTo>
                    <a:lnTo>
                      <a:pt x="792" y="23"/>
                    </a:lnTo>
                    <a:lnTo>
                      <a:pt x="792" y="21"/>
                    </a:lnTo>
                    <a:lnTo>
                      <a:pt x="785" y="21"/>
                    </a:lnTo>
                    <a:lnTo>
                      <a:pt x="781" y="21"/>
                    </a:lnTo>
                    <a:lnTo>
                      <a:pt x="777" y="19"/>
                    </a:lnTo>
                    <a:lnTo>
                      <a:pt x="775" y="17"/>
                    </a:lnTo>
                    <a:lnTo>
                      <a:pt x="773" y="19"/>
                    </a:lnTo>
                    <a:lnTo>
                      <a:pt x="769" y="19"/>
                    </a:lnTo>
                    <a:lnTo>
                      <a:pt x="767" y="15"/>
                    </a:lnTo>
                    <a:lnTo>
                      <a:pt x="767" y="13"/>
                    </a:lnTo>
                    <a:lnTo>
                      <a:pt x="752" y="8"/>
                    </a:lnTo>
                    <a:lnTo>
                      <a:pt x="737" y="8"/>
                    </a:lnTo>
                    <a:lnTo>
                      <a:pt x="735" y="8"/>
                    </a:lnTo>
                    <a:lnTo>
                      <a:pt x="731" y="8"/>
                    </a:lnTo>
                    <a:lnTo>
                      <a:pt x="729" y="6"/>
                    </a:lnTo>
                    <a:lnTo>
                      <a:pt x="727" y="6"/>
                    </a:lnTo>
                    <a:lnTo>
                      <a:pt x="725" y="8"/>
                    </a:lnTo>
                    <a:lnTo>
                      <a:pt x="725" y="11"/>
                    </a:lnTo>
                    <a:lnTo>
                      <a:pt x="716" y="15"/>
                    </a:lnTo>
                    <a:lnTo>
                      <a:pt x="708" y="21"/>
                    </a:lnTo>
                    <a:lnTo>
                      <a:pt x="706" y="19"/>
                    </a:lnTo>
                    <a:lnTo>
                      <a:pt x="704" y="19"/>
                    </a:lnTo>
                    <a:lnTo>
                      <a:pt x="710" y="15"/>
                    </a:lnTo>
                    <a:lnTo>
                      <a:pt x="718" y="11"/>
                    </a:lnTo>
                    <a:lnTo>
                      <a:pt x="718" y="8"/>
                    </a:lnTo>
                    <a:lnTo>
                      <a:pt x="716" y="4"/>
                    </a:lnTo>
                    <a:lnTo>
                      <a:pt x="704" y="4"/>
                    </a:lnTo>
                    <a:lnTo>
                      <a:pt x="695" y="6"/>
                    </a:lnTo>
                    <a:lnTo>
                      <a:pt x="681" y="2"/>
                    </a:lnTo>
                    <a:lnTo>
                      <a:pt x="670" y="0"/>
                    </a:lnTo>
                    <a:lnTo>
                      <a:pt x="666" y="2"/>
                    </a:lnTo>
                    <a:lnTo>
                      <a:pt x="662" y="6"/>
                    </a:lnTo>
                    <a:lnTo>
                      <a:pt x="662" y="8"/>
                    </a:lnTo>
                    <a:lnTo>
                      <a:pt x="664" y="9"/>
                    </a:lnTo>
                    <a:lnTo>
                      <a:pt x="660" y="9"/>
                    </a:lnTo>
                    <a:lnTo>
                      <a:pt x="658" y="8"/>
                    </a:lnTo>
                    <a:lnTo>
                      <a:pt x="654" y="8"/>
                    </a:lnTo>
                    <a:lnTo>
                      <a:pt x="647" y="11"/>
                    </a:lnTo>
                    <a:lnTo>
                      <a:pt x="643" y="15"/>
                    </a:lnTo>
                    <a:lnTo>
                      <a:pt x="637" y="13"/>
                    </a:lnTo>
                    <a:lnTo>
                      <a:pt x="635" y="9"/>
                    </a:lnTo>
                    <a:lnTo>
                      <a:pt x="602" y="9"/>
                    </a:lnTo>
                    <a:lnTo>
                      <a:pt x="600" y="11"/>
                    </a:lnTo>
                    <a:lnTo>
                      <a:pt x="599" y="11"/>
                    </a:lnTo>
                    <a:lnTo>
                      <a:pt x="599" y="9"/>
                    </a:lnTo>
                    <a:lnTo>
                      <a:pt x="597" y="9"/>
                    </a:lnTo>
                    <a:lnTo>
                      <a:pt x="593" y="11"/>
                    </a:lnTo>
                    <a:lnTo>
                      <a:pt x="591" y="13"/>
                    </a:lnTo>
                    <a:lnTo>
                      <a:pt x="591" y="15"/>
                    </a:lnTo>
                    <a:lnTo>
                      <a:pt x="593" y="15"/>
                    </a:lnTo>
                    <a:lnTo>
                      <a:pt x="593" y="19"/>
                    </a:lnTo>
                    <a:lnTo>
                      <a:pt x="597" y="19"/>
                    </a:lnTo>
                    <a:lnTo>
                      <a:pt x="600" y="19"/>
                    </a:lnTo>
                    <a:lnTo>
                      <a:pt x="600" y="21"/>
                    </a:lnTo>
                    <a:lnTo>
                      <a:pt x="602" y="23"/>
                    </a:lnTo>
                    <a:lnTo>
                      <a:pt x="597" y="21"/>
                    </a:lnTo>
                    <a:lnTo>
                      <a:pt x="591" y="21"/>
                    </a:lnTo>
                    <a:lnTo>
                      <a:pt x="591" y="17"/>
                    </a:lnTo>
                    <a:lnTo>
                      <a:pt x="583" y="17"/>
                    </a:lnTo>
                    <a:lnTo>
                      <a:pt x="574" y="19"/>
                    </a:lnTo>
                    <a:lnTo>
                      <a:pt x="574" y="15"/>
                    </a:lnTo>
                    <a:lnTo>
                      <a:pt x="572" y="15"/>
                    </a:lnTo>
                    <a:lnTo>
                      <a:pt x="568" y="25"/>
                    </a:lnTo>
                    <a:lnTo>
                      <a:pt x="564" y="25"/>
                    </a:lnTo>
                    <a:lnTo>
                      <a:pt x="560" y="25"/>
                    </a:lnTo>
                    <a:lnTo>
                      <a:pt x="558" y="23"/>
                    </a:lnTo>
                    <a:lnTo>
                      <a:pt x="554" y="21"/>
                    </a:lnTo>
                    <a:lnTo>
                      <a:pt x="554" y="23"/>
                    </a:lnTo>
                    <a:lnTo>
                      <a:pt x="554" y="27"/>
                    </a:lnTo>
                    <a:lnTo>
                      <a:pt x="543" y="23"/>
                    </a:lnTo>
                    <a:lnTo>
                      <a:pt x="533" y="21"/>
                    </a:lnTo>
                    <a:lnTo>
                      <a:pt x="533" y="27"/>
                    </a:lnTo>
                    <a:lnTo>
                      <a:pt x="535" y="34"/>
                    </a:lnTo>
                    <a:lnTo>
                      <a:pt x="531" y="32"/>
                    </a:lnTo>
                    <a:lnTo>
                      <a:pt x="529" y="32"/>
                    </a:lnTo>
                    <a:lnTo>
                      <a:pt x="529" y="34"/>
                    </a:lnTo>
                    <a:lnTo>
                      <a:pt x="529" y="38"/>
                    </a:lnTo>
                    <a:lnTo>
                      <a:pt x="524" y="32"/>
                    </a:lnTo>
                    <a:lnTo>
                      <a:pt x="520" y="27"/>
                    </a:lnTo>
                    <a:lnTo>
                      <a:pt x="512" y="25"/>
                    </a:lnTo>
                    <a:lnTo>
                      <a:pt x="505" y="25"/>
                    </a:lnTo>
                    <a:lnTo>
                      <a:pt x="497" y="21"/>
                    </a:lnTo>
                    <a:lnTo>
                      <a:pt x="493" y="17"/>
                    </a:lnTo>
                    <a:lnTo>
                      <a:pt x="489" y="17"/>
                    </a:lnTo>
                    <a:lnTo>
                      <a:pt x="483" y="17"/>
                    </a:lnTo>
                    <a:lnTo>
                      <a:pt x="483" y="21"/>
                    </a:lnTo>
                    <a:lnTo>
                      <a:pt x="485" y="23"/>
                    </a:lnTo>
                    <a:lnTo>
                      <a:pt x="487" y="27"/>
                    </a:lnTo>
                    <a:lnTo>
                      <a:pt x="466" y="27"/>
                    </a:lnTo>
                    <a:lnTo>
                      <a:pt x="466" y="31"/>
                    </a:lnTo>
                    <a:lnTo>
                      <a:pt x="468" y="34"/>
                    </a:lnTo>
                    <a:lnTo>
                      <a:pt x="470" y="32"/>
                    </a:lnTo>
                    <a:lnTo>
                      <a:pt x="474" y="32"/>
                    </a:lnTo>
                    <a:lnTo>
                      <a:pt x="478" y="36"/>
                    </a:lnTo>
                    <a:lnTo>
                      <a:pt x="487" y="36"/>
                    </a:lnTo>
                    <a:lnTo>
                      <a:pt x="501" y="34"/>
                    </a:lnTo>
                    <a:lnTo>
                      <a:pt x="497" y="40"/>
                    </a:lnTo>
                    <a:lnTo>
                      <a:pt x="495" y="46"/>
                    </a:lnTo>
                    <a:lnTo>
                      <a:pt x="493" y="38"/>
                    </a:lnTo>
                    <a:lnTo>
                      <a:pt x="487" y="40"/>
                    </a:lnTo>
                    <a:lnTo>
                      <a:pt x="483" y="42"/>
                    </a:lnTo>
                    <a:lnTo>
                      <a:pt x="478" y="38"/>
                    </a:lnTo>
                    <a:lnTo>
                      <a:pt x="472" y="36"/>
                    </a:lnTo>
                    <a:lnTo>
                      <a:pt x="470" y="38"/>
                    </a:lnTo>
                    <a:lnTo>
                      <a:pt x="470" y="44"/>
                    </a:lnTo>
                    <a:lnTo>
                      <a:pt x="466" y="38"/>
                    </a:lnTo>
                    <a:lnTo>
                      <a:pt x="460" y="34"/>
                    </a:lnTo>
                    <a:lnTo>
                      <a:pt x="458" y="32"/>
                    </a:lnTo>
                    <a:lnTo>
                      <a:pt x="457" y="32"/>
                    </a:lnTo>
                    <a:lnTo>
                      <a:pt x="453" y="32"/>
                    </a:lnTo>
                    <a:lnTo>
                      <a:pt x="449" y="34"/>
                    </a:lnTo>
                    <a:lnTo>
                      <a:pt x="443" y="40"/>
                    </a:lnTo>
                    <a:lnTo>
                      <a:pt x="439" y="46"/>
                    </a:lnTo>
                    <a:lnTo>
                      <a:pt x="432" y="44"/>
                    </a:lnTo>
                    <a:lnTo>
                      <a:pt x="418" y="42"/>
                    </a:lnTo>
                    <a:lnTo>
                      <a:pt x="416" y="42"/>
                    </a:lnTo>
                    <a:lnTo>
                      <a:pt x="412" y="44"/>
                    </a:lnTo>
                    <a:lnTo>
                      <a:pt x="412" y="48"/>
                    </a:lnTo>
                    <a:lnTo>
                      <a:pt x="420" y="46"/>
                    </a:lnTo>
                    <a:lnTo>
                      <a:pt x="430" y="46"/>
                    </a:lnTo>
                    <a:lnTo>
                      <a:pt x="420" y="48"/>
                    </a:lnTo>
                    <a:lnTo>
                      <a:pt x="418" y="50"/>
                    </a:lnTo>
                    <a:lnTo>
                      <a:pt x="418" y="52"/>
                    </a:lnTo>
                    <a:lnTo>
                      <a:pt x="422" y="52"/>
                    </a:lnTo>
                    <a:lnTo>
                      <a:pt x="435" y="50"/>
                    </a:lnTo>
                    <a:lnTo>
                      <a:pt x="447" y="50"/>
                    </a:lnTo>
                    <a:lnTo>
                      <a:pt x="435" y="52"/>
                    </a:lnTo>
                    <a:lnTo>
                      <a:pt x="422" y="56"/>
                    </a:lnTo>
                    <a:lnTo>
                      <a:pt x="420" y="61"/>
                    </a:lnTo>
                    <a:lnTo>
                      <a:pt x="435" y="56"/>
                    </a:lnTo>
                    <a:lnTo>
                      <a:pt x="455" y="54"/>
                    </a:lnTo>
                    <a:lnTo>
                      <a:pt x="451" y="57"/>
                    </a:lnTo>
                    <a:lnTo>
                      <a:pt x="441" y="57"/>
                    </a:lnTo>
                    <a:lnTo>
                      <a:pt x="433" y="59"/>
                    </a:lnTo>
                    <a:lnTo>
                      <a:pt x="428" y="63"/>
                    </a:lnTo>
                    <a:lnTo>
                      <a:pt x="426" y="67"/>
                    </a:lnTo>
                    <a:lnTo>
                      <a:pt x="443" y="65"/>
                    </a:lnTo>
                    <a:lnTo>
                      <a:pt x="464" y="65"/>
                    </a:lnTo>
                    <a:lnTo>
                      <a:pt x="466" y="67"/>
                    </a:lnTo>
                    <a:lnTo>
                      <a:pt x="472" y="69"/>
                    </a:lnTo>
                    <a:lnTo>
                      <a:pt x="474" y="65"/>
                    </a:lnTo>
                    <a:lnTo>
                      <a:pt x="480" y="63"/>
                    </a:lnTo>
                    <a:lnTo>
                      <a:pt x="480" y="67"/>
                    </a:lnTo>
                    <a:lnTo>
                      <a:pt x="480" y="71"/>
                    </a:lnTo>
                    <a:lnTo>
                      <a:pt x="489" y="71"/>
                    </a:lnTo>
                    <a:lnTo>
                      <a:pt x="497" y="73"/>
                    </a:lnTo>
                    <a:lnTo>
                      <a:pt x="499" y="73"/>
                    </a:lnTo>
                    <a:lnTo>
                      <a:pt x="501" y="67"/>
                    </a:lnTo>
                    <a:lnTo>
                      <a:pt x="505" y="67"/>
                    </a:lnTo>
                    <a:lnTo>
                      <a:pt x="505" y="63"/>
                    </a:lnTo>
                    <a:lnTo>
                      <a:pt x="505" y="61"/>
                    </a:lnTo>
                    <a:lnTo>
                      <a:pt x="506" y="65"/>
                    </a:lnTo>
                    <a:lnTo>
                      <a:pt x="508" y="67"/>
                    </a:lnTo>
                    <a:lnTo>
                      <a:pt x="520" y="67"/>
                    </a:lnTo>
                    <a:lnTo>
                      <a:pt x="531" y="63"/>
                    </a:lnTo>
                    <a:lnTo>
                      <a:pt x="549" y="61"/>
                    </a:lnTo>
                    <a:lnTo>
                      <a:pt x="568" y="61"/>
                    </a:lnTo>
                    <a:lnTo>
                      <a:pt x="581" y="57"/>
                    </a:lnTo>
                    <a:lnTo>
                      <a:pt x="599" y="54"/>
                    </a:lnTo>
                    <a:lnTo>
                      <a:pt x="595" y="56"/>
                    </a:lnTo>
                    <a:lnTo>
                      <a:pt x="591" y="56"/>
                    </a:lnTo>
                    <a:lnTo>
                      <a:pt x="591" y="59"/>
                    </a:lnTo>
                    <a:lnTo>
                      <a:pt x="597" y="59"/>
                    </a:lnTo>
                    <a:lnTo>
                      <a:pt x="604" y="59"/>
                    </a:lnTo>
                    <a:lnTo>
                      <a:pt x="589" y="61"/>
                    </a:lnTo>
                    <a:lnTo>
                      <a:pt x="574" y="65"/>
                    </a:lnTo>
                    <a:lnTo>
                      <a:pt x="572" y="67"/>
                    </a:lnTo>
                    <a:lnTo>
                      <a:pt x="572" y="69"/>
                    </a:lnTo>
                    <a:lnTo>
                      <a:pt x="577" y="69"/>
                    </a:lnTo>
                    <a:lnTo>
                      <a:pt x="585" y="69"/>
                    </a:lnTo>
                    <a:lnTo>
                      <a:pt x="587" y="67"/>
                    </a:lnTo>
                    <a:lnTo>
                      <a:pt x="593" y="67"/>
                    </a:lnTo>
                    <a:lnTo>
                      <a:pt x="589" y="69"/>
                    </a:lnTo>
                    <a:lnTo>
                      <a:pt x="585" y="73"/>
                    </a:lnTo>
                    <a:lnTo>
                      <a:pt x="570" y="73"/>
                    </a:lnTo>
                    <a:lnTo>
                      <a:pt x="558" y="73"/>
                    </a:lnTo>
                    <a:close/>
                    <a:moveTo>
                      <a:pt x="777" y="422"/>
                    </a:moveTo>
                    <a:lnTo>
                      <a:pt x="779" y="422"/>
                    </a:lnTo>
                    <a:lnTo>
                      <a:pt x="783" y="422"/>
                    </a:lnTo>
                    <a:lnTo>
                      <a:pt x="781" y="418"/>
                    </a:lnTo>
                    <a:lnTo>
                      <a:pt x="781" y="416"/>
                    </a:lnTo>
                    <a:lnTo>
                      <a:pt x="785" y="418"/>
                    </a:lnTo>
                    <a:lnTo>
                      <a:pt x="790" y="420"/>
                    </a:lnTo>
                    <a:lnTo>
                      <a:pt x="792" y="412"/>
                    </a:lnTo>
                    <a:lnTo>
                      <a:pt x="794" y="407"/>
                    </a:lnTo>
                    <a:lnTo>
                      <a:pt x="790" y="403"/>
                    </a:lnTo>
                    <a:lnTo>
                      <a:pt x="787" y="401"/>
                    </a:lnTo>
                    <a:lnTo>
                      <a:pt x="789" y="401"/>
                    </a:lnTo>
                    <a:lnTo>
                      <a:pt x="789" y="399"/>
                    </a:lnTo>
                    <a:lnTo>
                      <a:pt x="785" y="399"/>
                    </a:lnTo>
                    <a:lnTo>
                      <a:pt x="785" y="399"/>
                    </a:lnTo>
                    <a:lnTo>
                      <a:pt x="783" y="397"/>
                    </a:lnTo>
                    <a:lnTo>
                      <a:pt x="783" y="403"/>
                    </a:lnTo>
                    <a:lnTo>
                      <a:pt x="777" y="403"/>
                    </a:lnTo>
                    <a:lnTo>
                      <a:pt x="773" y="403"/>
                    </a:lnTo>
                    <a:lnTo>
                      <a:pt x="773" y="405"/>
                    </a:lnTo>
                    <a:lnTo>
                      <a:pt x="769" y="409"/>
                    </a:lnTo>
                    <a:lnTo>
                      <a:pt x="771" y="403"/>
                    </a:lnTo>
                    <a:lnTo>
                      <a:pt x="773" y="399"/>
                    </a:lnTo>
                    <a:lnTo>
                      <a:pt x="769" y="399"/>
                    </a:lnTo>
                    <a:lnTo>
                      <a:pt x="767" y="399"/>
                    </a:lnTo>
                    <a:lnTo>
                      <a:pt x="767" y="401"/>
                    </a:lnTo>
                    <a:lnTo>
                      <a:pt x="767" y="405"/>
                    </a:lnTo>
                    <a:lnTo>
                      <a:pt x="764" y="403"/>
                    </a:lnTo>
                    <a:lnTo>
                      <a:pt x="764" y="401"/>
                    </a:lnTo>
                    <a:lnTo>
                      <a:pt x="758" y="401"/>
                    </a:lnTo>
                    <a:lnTo>
                      <a:pt x="752" y="401"/>
                    </a:lnTo>
                    <a:lnTo>
                      <a:pt x="754" y="395"/>
                    </a:lnTo>
                    <a:lnTo>
                      <a:pt x="754" y="389"/>
                    </a:lnTo>
                    <a:lnTo>
                      <a:pt x="750" y="389"/>
                    </a:lnTo>
                    <a:lnTo>
                      <a:pt x="748" y="388"/>
                    </a:lnTo>
                    <a:lnTo>
                      <a:pt x="748" y="389"/>
                    </a:lnTo>
                    <a:lnTo>
                      <a:pt x="748" y="393"/>
                    </a:lnTo>
                    <a:lnTo>
                      <a:pt x="744" y="393"/>
                    </a:lnTo>
                    <a:lnTo>
                      <a:pt x="744" y="389"/>
                    </a:lnTo>
                    <a:lnTo>
                      <a:pt x="746" y="384"/>
                    </a:lnTo>
                    <a:lnTo>
                      <a:pt x="742" y="384"/>
                    </a:lnTo>
                    <a:lnTo>
                      <a:pt x="741" y="384"/>
                    </a:lnTo>
                    <a:lnTo>
                      <a:pt x="741" y="386"/>
                    </a:lnTo>
                    <a:lnTo>
                      <a:pt x="741" y="389"/>
                    </a:lnTo>
                    <a:lnTo>
                      <a:pt x="739" y="389"/>
                    </a:lnTo>
                    <a:lnTo>
                      <a:pt x="739" y="388"/>
                    </a:lnTo>
                    <a:lnTo>
                      <a:pt x="737" y="386"/>
                    </a:lnTo>
                    <a:lnTo>
                      <a:pt x="735" y="386"/>
                    </a:lnTo>
                    <a:lnTo>
                      <a:pt x="735" y="389"/>
                    </a:lnTo>
                    <a:lnTo>
                      <a:pt x="729" y="391"/>
                    </a:lnTo>
                    <a:lnTo>
                      <a:pt x="725" y="393"/>
                    </a:lnTo>
                    <a:lnTo>
                      <a:pt x="725" y="389"/>
                    </a:lnTo>
                    <a:lnTo>
                      <a:pt x="727" y="384"/>
                    </a:lnTo>
                    <a:lnTo>
                      <a:pt x="723" y="384"/>
                    </a:lnTo>
                    <a:lnTo>
                      <a:pt x="721" y="384"/>
                    </a:lnTo>
                    <a:lnTo>
                      <a:pt x="719" y="380"/>
                    </a:lnTo>
                    <a:lnTo>
                      <a:pt x="719" y="376"/>
                    </a:lnTo>
                    <a:lnTo>
                      <a:pt x="712" y="374"/>
                    </a:lnTo>
                    <a:lnTo>
                      <a:pt x="702" y="372"/>
                    </a:lnTo>
                    <a:lnTo>
                      <a:pt x="700" y="368"/>
                    </a:lnTo>
                    <a:lnTo>
                      <a:pt x="698" y="366"/>
                    </a:lnTo>
                    <a:lnTo>
                      <a:pt x="704" y="364"/>
                    </a:lnTo>
                    <a:lnTo>
                      <a:pt x="708" y="364"/>
                    </a:lnTo>
                    <a:lnTo>
                      <a:pt x="708" y="361"/>
                    </a:lnTo>
                    <a:lnTo>
                      <a:pt x="710" y="359"/>
                    </a:lnTo>
                    <a:lnTo>
                      <a:pt x="706" y="355"/>
                    </a:lnTo>
                    <a:lnTo>
                      <a:pt x="704" y="353"/>
                    </a:lnTo>
                    <a:lnTo>
                      <a:pt x="704" y="353"/>
                    </a:lnTo>
                    <a:lnTo>
                      <a:pt x="704" y="351"/>
                    </a:lnTo>
                    <a:lnTo>
                      <a:pt x="710" y="351"/>
                    </a:lnTo>
                    <a:lnTo>
                      <a:pt x="719" y="353"/>
                    </a:lnTo>
                    <a:lnTo>
                      <a:pt x="714" y="349"/>
                    </a:lnTo>
                    <a:lnTo>
                      <a:pt x="708" y="345"/>
                    </a:lnTo>
                    <a:lnTo>
                      <a:pt x="704" y="345"/>
                    </a:lnTo>
                    <a:lnTo>
                      <a:pt x="702" y="347"/>
                    </a:lnTo>
                    <a:lnTo>
                      <a:pt x="700" y="343"/>
                    </a:lnTo>
                    <a:lnTo>
                      <a:pt x="698" y="341"/>
                    </a:lnTo>
                    <a:lnTo>
                      <a:pt x="702" y="341"/>
                    </a:lnTo>
                    <a:lnTo>
                      <a:pt x="706" y="340"/>
                    </a:lnTo>
                    <a:lnTo>
                      <a:pt x="708" y="338"/>
                    </a:lnTo>
                    <a:lnTo>
                      <a:pt x="712" y="338"/>
                    </a:lnTo>
                    <a:lnTo>
                      <a:pt x="712" y="332"/>
                    </a:lnTo>
                    <a:lnTo>
                      <a:pt x="710" y="330"/>
                    </a:lnTo>
                    <a:lnTo>
                      <a:pt x="710" y="326"/>
                    </a:lnTo>
                    <a:lnTo>
                      <a:pt x="706" y="326"/>
                    </a:lnTo>
                    <a:lnTo>
                      <a:pt x="704" y="324"/>
                    </a:lnTo>
                    <a:lnTo>
                      <a:pt x="702" y="328"/>
                    </a:lnTo>
                    <a:lnTo>
                      <a:pt x="702" y="332"/>
                    </a:lnTo>
                    <a:lnTo>
                      <a:pt x="698" y="332"/>
                    </a:lnTo>
                    <a:lnTo>
                      <a:pt x="696" y="334"/>
                    </a:lnTo>
                    <a:lnTo>
                      <a:pt x="696" y="330"/>
                    </a:lnTo>
                    <a:lnTo>
                      <a:pt x="696" y="328"/>
                    </a:lnTo>
                    <a:lnTo>
                      <a:pt x="693" y="328"/>
                    </a:lnTo>
                    <a:lnTo>
                      <a:pt x="693" y="326"/>
                    </a:lnTo>
                    <a:lnTo>
                      <a:pt x="695" y="324"/>
                    </a:lnTo>
                    <a:lnTo>
                      <a:pt x="696" y="322"/>
                    </a:lnTo>
                    <a:lnTo>
                      <a:pt x="698" y="324"/>
                    </a:lnTo>
                    <a:lnTo>
                      <a:pt x="700" y="324"/>
                    </a:lnTo>
                    <a:lnTo>
                      <a:pt x="700" y="320"/>
                    </a:lnTo>
                    <a:lnTo>
                      <a:pt x="696" y="320"/>
                    </a:lnTo>
                    <a:lnTo>
                      <a:pt x="695" y="320"/>
                    </a:lnTo>
                    <a:lnTo>
                      <a:pt x="693" y="317"/>
                    </a:lnTo>
                    <a:lnTo>
                      <a:pt x="687" y="315"/>
                    </a:lnTo>
                    <a:lnTo>
                      <a:pt x="685" y="317"/>
                    </a:lnTo>
                    <a:lnTo>
                      <a:pt x="681" y="318"/>
                    </a:lnTo>
                    <a:lnTo>
                      <a:pt x="681" y="317"/>
                    </a:lnTo>
                    <a:lnTo>
                      <a:pt x="683" y="315"/>
                    </a:lnTo>
                    <a:lnTo>
                      <a:pt x="677" y="313"/>
                    </a:lnTo>
                    <a:lnTo>
                      <a:pt x="675" y="311"/>
                    </a:lnTo>
                    <a:lnTo>
                      <a:pt x="671" y="309"/>
                    </a:lnTo>
                    <a:lnTo>
                      <a:pt x="670" y="307"/>
                    </a:lnTo>
                    <a:lnTo>
                      <a:pt x="670" y="309"/>
                    </a:lnTo>
                    <a:lnTo>
                      <a:pt x="670" y="313"/>
                    </a:lnTo>
                    <a:lnTo>
                      <a:pt x="666" y="313"/>
                    </a:lnTo>
                    <a:lnTo>
                      <a:pt x="662" y="313"/>
                    </a:lnTo>
                    <a:lnTo>
                      <a:pt x="662" y="311"/>
                    </a:lnTo>
                    <a:lnTo>
                      <a:pt x="664" y="309"/>
                    </a:lnTo>
                    <a:lnTo>
                      <a:pt x="666" y="307"/>
                    </a:lnTo>
                    <a:lnTo>
                      <a:pt x="668" y="305"/>
                    </a:lnTo>
                    <a:lnTo>
                      <a:pt x="662" y="303"/>
                    </a:lnTo>
                    <a:lnTo>
                      <a:pt x="660" y="303"/>
                    </a:lnTo>
                    <a:lnTo>
                      <a:pt x="658" y="301"/>
                    </a:lnTo>
                    <a:lnTo>
                      <a:pt x="656" y="299"/>
                    </a:lnTo>
                    <a:lnTo>
                      <a:pt x="652" y="299"/>
                    </a:lnTo>
                    <a:lnTo>
                      <a:pt x="650" y="303"/>
                    </a:lnTo>
                    <a:lnTo>
                      <a:pt x="650" y="307"/>
                    </a:lnTo>
                    <a:lnTo>
                      <a:pt x="647" y="305"/>
                    </a:lnTo>
                    <a:lnTo>
                      <a:pt x="645" y="307"/>
                    </a:lnTo>
                    <a:lnTo>
                      <a:pt x="643" y="303"/>
                    </a:lnTo>
                    <a:lnTo>
                      <a:pt x="643" y="299"/>
                    </a:lnTo>
                    <a:lnTo>
                      <a:pt x="643" y="297"/>
                    </a:lnTo>
                    <a:lnTo>
                      <a:pt x="641" y="299"/>
                    </a:lnTo>
                    <a:lnTo>
                      <a:pt x="637" y="303"/>
                    </a:lnTo>
                    <a:lnTo>
                      <a:pt x="635" y="307"/>
                    </a:lnTo>
                    <a:lnTo>
                      <a:pt x="633" y="303"/>
                    </a:lnTo>
                    <a:lnTo>
                      <a:pt x="631" y="299"/>
                    </a:lnTo>
                    <a:lnTo>
                      <a:pt x="633" y="297"/>
                    </a:lnTo>
                    <a:lnTo>
                      <a:pt x="637" y="295"/>
                    </a:lnTo>
                    <a:lnTo>
                      <a:pt x="637" y="292"/>
                    </a:lnTo>
                    <a:lnTo>
                      <a:pt x="639" y="288"/>
                    </a:lnTo>
                    <a:lnTo>
                      <a:pt x="633" y="286"/>
                    </a:lnTo>
                    <a:lnTo>
                      <a:pt x="629" y="284"/>
                    </a:lnTo>
                    <a:lnTo>
                      <a:pt x="631" y="282"/>
                    </a:lnTo>
                    <a:lnTo>
                      <a:pt x="631" y="280"/>
                    </a:lnTo>
                    <a:lnTo>
                      <a:pt x="631" y="278"/>
                    </a:lnTo>
                    <a:lnTo>
                      <a:pt x="629" y="276"/>
                    </a:lnTo>
                    <a:lnTo>
                      <a:pt x="629" y="272"/>
                    </a:lnTo>
                    <a:lnTo>
                      <a:pt x="618" y="272"/>
                    </a:lnTo>
                    <a:lnTo>
                      <a:pt x="610" y="276"/>
                    </a:lnTo>
                    <a:lnTo>
                      <a:pt x="606" y="272"/>
                    </a:lnTo>
                    <a:lnTo>
                      <a:pt x="591" y="269"/>
                    </a:lnTo>
                    <a:lnTo>
                      <a:pt x="576" y="267"/>
                    </a:lnTo>
                    <a:lnTo>
                      <a:pt x="577" y="263"/>
                    </a:lnTo>
                    <a:lnTo>
                      <a:pt x="587" y="259"/>
                    </a:lnTo>
                    <a:lnTo>
                      <a:pt x="593" y="257"/>
                    </a:lnTo>
                    <a:lnTo>
                      <a:pt x="595" y="255"/>
                    </a:lnTo>
                    <a:lnTo>
                      <a:pt x="593" y="253"/>
                    </a:lnTo>
                    <a:lnTo>
                      <a:pt x="591" y="249"/>
                    </a:lnTo>
                    <a:lnTo>
                      <a:pt x="587" y="244"/>
                    </a:lnTo>
                    <a:lnTo>
                      <a:pt x="583" y="240"/>
                    </a:lnTo>
                    <a:lnTo>
                      <a:pt x="579" y="238"/>
                    </a:lnTo>
                    <a:lnTo>
                      <a:pt x="574" y="240"/>
                    </a:lnTo>
                    <a:lnTo>
                      <a:pt x="570" y="244"/>
                    </a:lnTo>
                    <a:lnTo>
                      <a:pt x="564" y="242"/>
                    </a:lnTo>
                    <a:lnTo>
                      <a:pt x="562" y="240"/>
                    </a:lnTo>
                    <a:lnTo>
                      <a:pt x="554" y="240"/>
                    </a:lnTo>
                    <a:lnTo>
                      <a:pt x="551" y="240"/>
                    </a:lnTo>
                    <a:lnTo>
                      <a:pt x="547" y="244"/>
                    </a:lnTo>
                    <a:lnTo>
                      <a:pt x="543" y="246"/>
                    </a:lnTo>
                    <a:lnTo>
                      <a:pt x="543" y="249"/>
                    </a:lnTo>
                    <a:lnTo>
                      <a:pt x="541" y="247"/>
                    </a:lnTo>
                    <a:lnTo>
                      <a:pt x="541" y="244"/>
                    </a:lnTo>
                    <a:lnTo>
                      <a:pt x="533" y="242"/>
                    </a:lnTo>
                    <a:lnTo>
                      <a:pt x="528" y="242"/>
                    </a:lnTo>
                    <a:lnTo>
                      <a:pt x="522" y="242"/>
                    </a:lnTo>
                    <a:lnTo>
                      <a:pt x="518" y="244"/>
                    </a:lnTo>
                    <a:lnTo>
                      <a:pt x="508" y="247"/>
                    </a:lnTo>
                    <a:lnTo>
                      <a:pt x="499" y="253"/>
                    </a:lnTo>
                    <a:lnTo>
                      <a:pt x="499" y="253"/>
                    </a:lnTo>
                    <a:lnTo>
                      <a:pt x="501" y="255"/>
                    </a:lnTo>
                    <a:lnTo>
                      <a:pt x="501" y="257"/>
                    </a:lnTo>
                    <a:lnTo>
                      <a:pt x="499" y="257"/>
                    </a:lnTo>
                    <a:lnTo>
                      <a:pt x="499" y="259"/>
                    </a:lnTo>
                    <a:lnTo>
                      <a:pt x="501" y="261"/>
                    </a:lnTo>
                    <a:lnTo>
                      <a:pt x="497" y="261"/>
                    </a:lnTo>
                    <a:lnTo>
                      <a:pt x="497" y="259"/>
                    </a:lnTo>
                    <a:lnTo>
                      <a:pt x="493" y="261"/>
                    </a:lnTo>
                    <a:lnTo>
                      <a:pt x="489" y="263"/>
                    </a:lnTo>
                    <a:lnTo>
                      <a:pt x="489" y="267"/>
                    </a:lnTo>
                    <a:lnTo>
                      <a:pt x="489" y="270"/>
                    </a:lnTo>
                    <a:lnTo>
                      <a:pt x="491" y="270"/>
                    </a:lnTo>
                    <a:lnTo>
                      <a:pt x="491" y="274"/>
                    </a:lnTo>
                    <a:lnTo>
                      <a:pt x="497" y="274"/>
                    </a:lnTo>
                    <a:lnTo>
                      <a:pt x="503" y="274"/>
                    </a:lnTo>
                    <a:lnTo>
                      <a:pt x="503" y="278"/>
                    </a:lnTo>
                    <a:lnTo>
                      <a:pt x="503" y="282"/>
                    </a:lnTo>
                    <a:lnTo>
                      <a:pt x="499" y="280"/>
                    </a:lnTo>
                    <a:lnTo>
                      <a:pt x="499" y="278"/>
                    </a:lnTo>
                    <a:lnTo>
                      <a:pt x="493" y="278"/>
                    </a:lnTo>
                    <a:lnTo>
                      <a:pt x="489" y="278"/>
                    </a:lnTo>
                    <a:lnTo>
                      <a:pt x="489" y="280"/>
                    </a:lnTo>
                    <a:lnTo>
                      <a:pt x="487" y="282"/>
                    </a:lnTo>
                    <a:lnTo>
                      <a:pt x="487" y="284"/>
                    </a:lnTo>
                    <a:lnTo>
                      <a:pt x="489" y="286"/>
                    </a:lnTo>
                    <a:lnTo>
                      <a:pt x="493" y="286"/>
                    </a:lnTo>
                    <a:lnTo>
                      <a:pt x="499" y="288"/>
                    </a:lnTo>
                    <a:lnTo>
                      <a:pt x="499" y="292"/>
                    </a:lnTo>
                    <a:lnTo>
                      <a:pt x="495" y="292"/>
                    </a:lnTo>
                    <a:lnTo>
                      <a:pt x="495" y="293"/>
                    </a:lnTo>
                    <a:lnTo>
                      <a:pt x="495" y="295"/>
                    </a:lnTo>
                    <a:lnTo>
                      <a:pt x="495" y="297"/>
                    </a:lnTo>
                    <a:lnTo>
                      <a:pt x="497" y="303"/>
                    </a:lnTo>
                    <a:lnTo>
                      <a:pt x="497" y="305"/>
                    </a:lnTo>
                    <a:lnTo>
                      <a:pt x="493" y="303"/>
                    </a:lnTo>
                    <a:lnTo>
                      <a:pt x="491" y="301"/>
                    </a:lnTo>
                    <a:lnTo>
                      <a:pt x="485" y="301"/>
                    </a:lnTo>
                    <a:lnTo>
                      <a:pt x="480" y="303"/>
                    </a:lnTo>
                    <a:lnTo>
                      <a:pt x="483" y="299"/>
                    </a:lnTo>
                    <a:lnTo>
                      <a:pt x="489" y="297"/>
                    </a:lnTo>
                    <a:lnTo>
                      <a:pt x="487" y="293"/>
                    </a:lnTo>
                    <a:lnTo>
                      <a:pt x="487" y="292"/>
                    </a:lnTo>
                    <a:lnTo>
                      <a:pt x="481" y="290"/>
                    </a:lnTo>
                    <a:lnTo>
                      <a:pt x="480" y="288"/>
                    </a:lnTo>
                    <a:lnTo>
                      <a:pt x="478" y="280"/>
                    </a:lnTo>
                    <a:lnTo>
                      <a:pt x="478" y="269"/>
                    </a:lnTo>
                    <a:lnTo>
                      <a:pt x="481" y="257"/>
                    </a:lnTo>
                    <a:lnTo>
                      <a:pt x="485" y="251"/>
                    </a:lnTo>
                    <a:lnTo>
                      <a:pt x="497" y="247"/>
                    </a:lnTo>
                    <a:lnTo>
                      <a:pt x="510" y="246"/>
                    </a:lnTo>
                    <a:lnTo>
                      <a:pt x="510" y="242"/>
                    </a:lnTo>
                    <a:lnTo>
                      <a:pt x="506" y="240"/>
                    </a:lnTo>
                    <a:lnTo>
                      <a:pt x="505" y="240"/>
                    </a:lnTo>
                    <a:lnTo>
                      <a:pt x="489" y="240"/>
                    </a:lnTo>
                    <a:lnTo>
                      <a:pt x="478" y="242"/>
                    </a:lnTo>
                    <a:lnTo>
                      <a:pt x="462" y="244"/>
                    </a:lnTo>
                    <a:lnTo>
                      <a:pt x="451" y="247"/>
                    </a:lnTo>
                    <a:lnTo>
                      <a:pt x="451" y="251"/>
                    </a:lnTo>
                    <a:lnTo>
                      <a:pt x="451" y="255"/>
                    </a:lnTo>
                    <a:lnTo>
                      <a:pt x="447" y="255"/>
                    </a:lnTo>
                    <a:lnTo>
                      <a:pt x="445" y="257"/>
                    </a:lnTo>
                    <a:lnTo>
                      <a:pt x="445" y="261"/>
                    </a:lnTo>
                    <a:lnTo>
                      <a:pt x="445" y="265"/>
                    </a:lnTo>
                    <a:lnTo>
                      <a:pt x="441" y="267"/>
                    </a:lnTo>
                    <a:lnTo>
                      <a:pt x="439" y="270"/>
                    </a:lnTo>
                    <a:lnTo>
                      <a:pt x="435" y="280"/>
                    </a:lnTo>
                    <a:lnTo>
                      <a:pt x="432" y="292"/>
                    </a:lnTo>
                    <a:lnTo>
                      <a:pt x="435" y="293"/>
                    </a:lnTo>
                    <a:lnTo>
                      <a:pt x="439" y="295"/>
                    </a:lnTo>
                    <a:lnTo>
                      <a:pt x="437" y="297"/>
                    </a:lnTo>
                    <a:lnTo>
                      <a:pt x="437" y="299"/>
                    </a:lnTo>
                    <a:lnTo>
                      <a:pt x="447" y="303"/>
                    </a:lnTo>
                    <a:lnTo>
                      <a:pt x="462" y="305"/>
                    </a:lnTo>
                    <a:lnTo>
                      <a:pt x="462" y="309"/>
                    </a:lnTo>
                    <a:lnTo>
                      <a:pt x="457" y="309"/>
                    </a:lnTo>
                    <a:lnTo>
                      <a:pt x="453" y="307"/>
                    </a:lnTo>
                    <a:lnTo>
                      <a:pt x="455" y="311"/>
                    </a:lnTo>
                    <a:lnTo>
                      <a:pt x="457" y="315"/>
                    </a:lnTo>
                    <a:lnTo>
                      <a:pt x="460" y="317"/>
                    </a:lnTo>
                    <a:lnTo>
                      <a:pt x="466" y="320"/>
                    </a:lnTo>
                    <a:lnTo>
                      <a:pt x="462" y="320"/>
                    </a:lnTo>
                    <a:lnTo>
                      <a:pt x="462" y="322"/>
                    </a:lnTo>
                    <a:lnTo>
                      <a:pt x="464" y="324"/>
                    </a:lnTo>
                    <a:lnTo>
                      <a:pt x="468" y="324"/>
                    </a:lnTo>
                    <a:lnTo>
                      <a:pt x="468" y="322"/>
                    </a:lnTo>
                    <a:lnTo>
                      <a:pt x="470" y="318"/>
                    </a:lnTo>
                    <a:lnTo>
                      <a:pt x="474" y="318"/>
                    </a:lnTo>
                    <a:lnTo>
                      <a:pt x="480" y="324"/>
                    </a:lnTo>
                    <a:lnTo>
                      <a:pt x="485" y="332"/>
                    </a:lnTo>
                    <a:lnTo>
                      <a:pt x="489" y="332"/>
                    </a:lnTo>
                    <a:lnTo>
                      <a:pt x="493" y="332"/>
                    </a:lnTo>
                    <a:lnTo>
                      <a:pt x="493" y="328"/>
                    </a:lnTo>
                    <a:lnTo>
                      <a:pt x="497" y="330"/>
                    </a:lnTo>
                    <a:lnTo>
                      <a:pt x="499" y="332"/>
                    </a:lnTo>
                    <a:lnTo>
                      <a:pt x="512" y="332"/>
                    </a:lnTo>
                    <a:lnTo>
                      <a:pt x="524" y="332"/>
                    </a:lnTo>
                    <a:lnTo>
                      <a:pt x="524" y="334"/>
                    </a:lnTo>
                    <a:lnTo>
                      <a:pt x="526" y="336"/>
                    </a:lnTo>
                    <a:lnTo>
                      <a:pt x="531" y="338"/>
                    </a:lnTo>
                    <a:lnTo>
                      <a:pt x="539" y="338"/>
                    </a:lnTo>
                    <a:lnTo>
                      <a:pt x="535" y="334"/>
                    </a:lnTo>
                    <a:lnTo>
                      <a:pt x="533" y="330"/>
                    </a:lnTo>
                    <a:lnTo>
                      <a:pt x="531" y="326"/>
                    </a:lnTo>
                    <a:lnTo>
                      <a:pt x="533" y="326"/>
                    </a:lnTo>
                    <a:lnTo>
                      <a:pt x="537" y="328"/>
                    </a:lnTo>
                    <a:lnTo>
                      <a:pt x="539" y="330"/>
                    </a:lnTo>
                    <a:lnTo>
                      <a:pt x="547" y="336"/>
                    </a:lnTo>
                    <a:lnTo>
                      <a:pt x="554" y="341"/>
                    </a:lnTo>
                    <a:lnTo>
                      <a:pt x="554" y="338"/>
                    </a:lnTo>
                    <a:lnTo>
                      <a:pt x="554" y="336"/>
                    </a:lnTo>
                    <a:lnTo>
                      <a:pt x="551" y="332"/>
                    </a:lnTo>
                    <a:lnTo>
                      <a:pt x="549" y="330"/>
                    </a:lnTo>
                    <a:lnTo>
                      <a:pt x="547" y="328"/>
                    </a:lnTo>
                    <a:lnTo>
                      <a:pt x="545" y="326"/>
                    </a:lnTo>
                    <a:lnTo>
                      <a:pt x="554" y="326"/>
                    </a:lnTo>
                    <a:lnTo>
                      <a:pt x="558" y="326"/>
                    </a:lnTo>
                    <a:lnTo>
                      <a:pt x="562" y="328"/>
                    </a:lnTo>
                    <a:lnTo>
                      <a:pt x="568" y="334"/>
                    </a:lnTo>
                    <a:lnTo>
                      <a:pt x="572" y="332"/>
                    </a:lnTo>
                    <a:lnTo>
                      <a:pt x="579" y="332"/>
                    </a:lnTo>
                    <a:lnTo>
                      <a:pt x="577" y="326"/>
                    </a:lnTo>
                    <a:lnTo>
                      <a:pt x="577" y="322"/>
                    </a:lnTo>
                    <a:lnTo>
                      <a:pt x="576" y="322"/>
                    </a:lnTo>
                    <a:lnTo>
                      <a:pt x="576" y="324"/>
                    </a:lnTo>
                    <a:lnTo>
                      <a:pt x="572" y="326"/>
                    </a:lnTo>
                    <a:lnTo>
                      <a:pt x="572" y="324"/>
                    </a:lnTo>
                    <a:lnTo>
                      <a:pt x="572" y="322"/>
                    </a:lnTo>
                    <a:lnTo>
                      <a:pt x="572" y="322"/>
                    </a:lnTo>
                    <a:lnTo>
                      <a:pt x="576" y="320"/>
                    </a:lnTo>
                    <a:lnTo>
                      <a:pt x="579" y="318"/>
                    </a:lnTo>
                    <a:lnTo>
                      <a:pt x="581" y="322"/>
                    </a:lnTo>
                    <a:lnTo>
                      <a:pt x="583" y="328"/>
                    </a:lnTo>
                    <a:lnTo>
                      <a:pt x="585" y="326"/>
                    </a:lnTo>
                    <a:lnTo>
                      <a:pt x="585" y="324"/>
                    </a:lnTo>
                    <a:lnTo>
                      <a:pt x="589" y="324"/>
                    </a:lnTo>
                    <a:lnTo>
                      <a:pt x="591" y="332"/>
                    </a:lnTo>
                    <a:lnTo>
                      <a:pt x="593" y="340"/>
                    </a:lnTo>
                    <a:lnTo>
                      <a:pt x="595" y="338"/>
                    </a:lnTo>
                    <a:lnTo>
                      <a:pt x="595" y="334"/>
                    </a:lnTo>
                    <a:lnTo>
                      <a:pt x="599" y="332"/>
                    </a:lnTo>
                    <a:lnTo>
                      <a:pt x="602" y="332"/>
                    </a:lnTo>
                    <a:lnTo>
                      <a:pt x="604" y="334"/>
                    </a:lnTo>
                    <a:lnTo>
                      <a:pt x="608" y="338"/>
                    </a:lnTo>
                    <a:lnTo>
                      <a:pt x="606" y="340"/>
                    </a:lnTo>
                    <a:lnTo>
                      <a:pt x="606" y="343"/>
                    </a:lnTo>
                    <a:lnTo>
                      <a:pt x="612" y="340"/>
                    </a:lnTo>
                    <a:lnTo>
                      <a:pt x="616" y="338"/>
                    </a:lnTo>
                    <a:lnTo>
                      <a:pt x="616" y="340"/>
                    </a:lnTo>
                    <a:lnTo>
                      <a:pt x="614" y="349"/>
                    </a:lnTo>
                    <a:lnTo>
                      <a:pt x="618" y="351"/>
                    </a:lnTo>
                    <a:lnTo>
                      <a:pt x="622" y="353"/>
                    </a:lnTo>
                    <a:lnTo>
                      <a:pt x="616" y="355"/>
                    </a:lnTo>
                    <a:lnTo>
                      <a:pt x="616" y="357"/>
                    </a:lnTo>
                    <a:lnTo>
                      <a:pt x="616" y="361"/>
                    </a:lnTo>
                    <a:lnTo>
                      <a:pt x="614" y="361"/>
                    </a:lnTo>
                    <a:lnTo>
                      <a:pt x="614" y="364"/>
                    </a:lnTo>
                    <a:lnTo>
                      <a:pt x="616" y="364"/>
                    </a:lnTo>
                    <a:lnTo>
                      <a:pt x="620" y="364"/>
                    </a:lnTo>
                    <a:lnTo>
                      <a:pt x="618" y="366"/>
                    </a:lnTo>
                    <a:lnTo>
                      <a:pt x="620" y="370"/>
                    </a:lnTo>
                    <a:lnTo>
                      <a:pt x="623" y="366"/>
                    </a:lnTo>
                    <a:lnTo>
                      <a:pt x="629" y="364"/>
                    </a:lnTo>
                    <a:lnTo>
                      <a:pt x="631" y="363"/>
                    </a:lnTo>
                    <a:lnTo>
                      <a:pt x="637" y="361"/>
                    </a:lnTo>
                    <a:lnTo>
                      <a:pt x="637" y="357"/>
                    </a:lnTo>
                    <a:lnTo>
                      <a:pt x="639" y="357"/>
                    </a:lnTo>
                    <a:lnTo>
                      <a:pt x="641" y="359"/>
                    </a:lnTo>
                    <a:lnTo>
                      <a:pt x="639" y="366"/>
                    </a:lnTo>
                    <a:lnTo>
                      <a:pt x="639" y="370"/>
                    </a:lnTo>
                    <a:lnTo>
                      <a:pt x="639" y="374"/>
                    </a:lnTo>
                    <a:lnTo>
                      <a:pt x="641" y="374"/>
                    </a:lnTo>
                    <a:lnTo>
                      <a:pt x="643" y="372"/>
                    </a:lnTo>
                    <a:lnTo>
                      <a:pt x="645" y="378"/>
                    </a:lnTo>
                    <a:lnTo>
                      <a:pt x="647" y="378"/>
                    </a:lnTo>
                    <a:lnTo>
                      <a:pt x="650" y="378"/>
                    </a:lnTo>
                    <a:lnTo>
                      <a:pt x="648" y="382"/>
                    </a:lnTo>
                    <a:lnTo>
                      <a:pt x="648" y="388"/>
                    </a:lnTo>
                    <a:lnTo>
                      <a:pt x="650" y="391"/>
                    </a:lnTo>
                    <a:lnTo>
                      <a:pt x="654" y="399"/>
                    </a:lnTo>
                    <a:lnTo>
                      <a:pt x="650" y="399"/>
                    </a:lnTo>
                    <a:lnTo>
                      <a:pt x="647" y="399"/>
                    </a:lnTo>
                    <a:lnTo>
                      <a:pt x="647" y="405"/>
                    </a:lnTo>
                    <a:lnTo>
                      <a:pt x="645" y="409"/>
                    </a:lnTo>
                    <a:lnTo>
                      <a:pt x="648" y="411"/>
                    </a:lnTo>
                    <a:lnTo>
                      <a:pt x="652" y="412"/>
                    </a:lnTo>
                    <a:lnTo>
                      <a:pt x="648" y="412"/>
                    </a:lnTo>
                    <a:lnTo>
                      <a:pt x="645" y="412"/>
                    </a:lnTo>
                    <a:lnTo>
                      <a:pt x="637" y="422"/>
                    </a:lnTo>
                    <a:lnTo>
                      <a:pt x="631" y="432"/>
                    </a:lnTo>
                    <a:lnTo>
                      <a:pt x="639" y="441"/>
                    </a:lnTo>
                    <a:lnTo>
                      <a:pt x="647" y="451"/>
                    </a:lnTo>
                    <a:lnTo>
                      <a:pt x="629" y="453"/>
                    </a:lnTo>
                    <a:lnTo>
                      <a:pt x="616" y="457"/>
                    </a:lnTo>
                    <a:lnTo>
                      <a:pt x="602" y="459"/>
                    </a:lnTo>
                    <a:lnTo>
                      <a:pt x="587" y="459"/>
                    </a:lnTo>
                    <a:lnTo>
                      <a:pt x="585" y="468"/>
                    </a:lnTo>
                    <a:lnTo>
                      <a:pt x="583" y="478"/>
                    </a:lnTo>
                    <a:lnTo>
                      <a:pt x="581" y="478"/>
                    </a:lnTo>
                    <a:lnTo>
                      <a:pt x="581" y="480"/>
                    </a:lnTo>
                    <a:lnTo>
                      <a:pt x="585" y="482"/>
                    </a:lnTo>
                    <a:lnTo>
                      <a:pt x="591" y="485"/>
                    </a:lnTo>
                    <a:lnTo>
                      <a:pt x="597" y="487"/>
                    </a:lnTo>
                    <a:lnTo>
                      <a:pt x="604" y="485"/>
                    </a:lnTo>
                    <a:lnTo>
                      <a:pt x="606" y="482"/>
                    </a:lnTo>
                    <a:lnTo>
                      <a:pt x="608" y="480"/>
                    </a:lnTo>
                    <a:lnTo>
                      <a:pt x="612" y="478"/>
                    </a:lnTo>
                    <a:lnTo>
                      <a:pt x="614" y="476"/>
                    </a:lnTo>
                    <a:lnTo>
                      <a:pt x="618" y="478"/>
                    </a:lnTo>
                    <a:lnTo>
                      <a:pt x="623" y="480"/>
                    </a:lnTo>
                    <a:lnTo>
                      <a:pt x="623" y="478"/>
                    </a:lnTo>
                    <a:lnTo>
                      <a:pt x="625" y="476"/>
                    </a:lnTo>
                    <a:lnTo>
                      <a:pt x="622" y="474"/>
                    </a:lnTo>
                    <a:lnTo>
                      <a:pt x="618" y="472"/>
                    </a:lnTo>
                    <a:lnTo>
                      <a:pt x="618" y="470"/>
                    </a:lnTo>
                    <a:lnTo>
                      <a:pt x="622" y="470"/>
                    </a:lnTo>
                    <a:lnTo>
                      <a:pt x="622" y="466"/>
                    </a:lnTo>
                    <a:lnTo>
                      <a:pt x="623" y="466"/>
                    </a:lnTo>
                    <a:lnTo>
                      <a:pt x="623" y="470"/>
                    </a:lnTo>
                    <a:lnTo>
                      <a:pt x="625" y="474"/>
                    </a:lnTo>
                    <a:lnTo>
                      <a:pt x="629" y="472"/>
                    </a:lnTo>
                    <a:lnTo>
                      <a:pt x="633" y="470"/>
                    </a:lnTo>
                    <a:lnTo>
                      <a:pt x="637" y="478"/>
                    </a:lnTo>
                    <a:lnTo>
                      <a:pt x="645" y="476"/>
                    </a:lnTo>
                    <a:lnTo>
                      <a:pt x="645" y="480"/>
                    </a:lnTo>
                    <a:lnTo>
                      <a:pt x="647" y="485"/>
                    </a:lnTo>
                    <a:lnTo>
                      <a:pt x="650" y="485"/>
                    </a:lnTo>
                    <a:lnTo>
                      <a:pt x="650" y="489"/>
                    </a:lnTo>
                    <a:lnTo>
                      <a:pt x="652" y="493"/>
                    </a:lnTo>
                    <a:lnTo>
                      <a:pt x="654" y="491"/>
                    </a:lnTo>
                    <a:lnTo>
                      <a:pt x="656" y="491"/>
                    </a:lnTo>
                    <a:lnTo>
                      <a:pt x="656" y="495"/>
                    </a:lnTo>
                    <a:lnTo>
                      <a:pt x="658" y="497"/>
                    </a:lnTo>
                    <a:lnTo>
                      <a:pt x="658" y="493"/>
                    </a:lnTo>
                    <a:lnTo>
                      <a:pt x="660" y="491"/>
                    </a:lnTo>
                    <a:lnTo>
                      <a:pt x="662" y="491"/>
                    </a:lnTo>
                    <a:lnTo>
                      <a:pt x="666" y="493"/>
                    </a:lnTo>
                    <a:lnTo>
                      <a:pt x="666" y="495"/>
                    </a:lnTo>
                    <a:lnTo>
                      <a:pt x="666" y="499"/>
                    </a:lnTo>
                    <a:lnTo>
                      <a:pt x="662" y="499"/>
                    </a:lnTo>
                    <a:lnTo>
                      <a:pt x="658" y="499"/>
                    </a:lnTo>
                    <a:lnTo>
                      <a:pt x="658" y="503"/>
                    </a:lnTo>
                    <a:lnTo>
                      <a:pt x="662" y="505"/>
                    </a:lnTo>
                    <a:lnTo>
                      <a:pt x="666" y="506"/>
                    </a:lnTo>
                    <a:lnTo>
                      <a:pt x="673" y="505"/>
                    </a:lnTo>
                    <a:lnTo>
                      <a:pt x="683" y="505"/>
                    </a:lnTo>
                    <a:lnTo>
                      <a:pt x="683" y="503"/>
                    </a:lnTo>
                    <a:lnTo>
                      <a:pt x="689" y="503"/>
                    </a:lnTo>
                    <a:lnTo>
                      <a:pt x="700" y="506"/>
                    </a:lnTo>
                    <a:lnTo>
                      <a:pt x="700" y="503"/>
                    </a:lnTo>
                    <a:lnTo>
                      <a:pt x="702" y="503"/>
                    </a:lnTo>
                    <a:lnTo>
                      <a:pt x="706" y="506"/>
                    </a:lnTo>
                    <a:lnTo>
                      <a:pt x="710" y="505"/>
                    </a:lnTo>
                    <a:lnTo>
                      <a:pt x="716" y="505"/>
                    </a:lnTo>
                    <a:lnTo>
                      <a:pt x="718" y="508"/>
                    </a:lnTo>
                    <a:lnTo>
                      <a:pt x="725" y="510"/>
                    </a:lnTo>
                    <a:lnTo>
                      <a:pt x="733" y="510"/>
                    </a:lnTo>
                    <a:lnTo>
                      <a:pt x="731" y="505"/>
                    </a:lnTo>
                    <a:lnTo>
                      <a:pt x="733" y="501"/>
                    </a:lnTo>
                    <a:lnTo>
                      <a:pt x="727" y="501"/>
                    </a:lnTo>
                    <a:lnTo>
                      <a:pt x="723" y="501"/>
                    </a:lnTo>
                    <a:lnTo>
                      <a:pt x="721" y="497"/>
                    </a:lnTo>
                    <a:lnTo>
                      <a:pt x="719" y="493"/>
                    </a:lnTo>
                    <a:lnTo>
                      <a:pt x="714" y="493"/>
                    </a:lnTo>
                    <a:lnTo>
                      <a:pt x="710" y="493"/>
                    </a:lnTo>
                    <a:lnTo>
                      <a:pt x="702" y="489"/>
                    </a:lnTo>
                    <a:lnTo>
                      <a:pt x="695" y="483"/>
                    </a:lnTo>
                    <a:lnTo>
                      <a:pt x="693" y="480"/>
                    </a:lnTo>
                    <a:lnTo>
                      <a:pt x="693" y="476"/>
                    </a:lnTo>
                    <a:lnTo>
                      <a:pt x="698" y="478"/>
                    </a:lnTo>
                    <a:lnTo>
                      <a:pt x="704" y="480"/>
                    </a:lnTo>
                    <a:lnTo>
                      <a:pt x="708" y="480"/>
                    </a:lnTo>
                    <a:lnTo>
                      <a:pt x="708" y="482"/>
                    </a:lnTo>
                    <a:lnTo>
                      <a:pt x="710" y="482"/>
                    </a:lnTo>
                    <a:lnTo>
                      <a:pt x="710" y="480"/>
                    </a:lnTo>
                    <a:lnTo>
                      <a:pt x="710" y="478"/>
                    </a:lnTo>
                    <a:lnTo>
                      <a:pt x="710" y="476"/>
                    </a:lnTo>
                    <a:lnTo>
                      <a:pt x="714" y="476"/>
                    </a:lnTo>
                    <a:lnTo>
                      <a:pt x="716" y="478"/>
                    </a:lnTo>
                    <a:lnTo>
                      <a:pt x="718" y="482"/>
                    </a:lnTo>
                    <a:lnTo>
                      <a:pt x="727" y="482"/>
                    </a:lnTo>
                    <a:lnTo>
                      <a:pt x="737" y="482"/>
                    </a:lnTo>
                    <a:lnTo>
                      <a:pt x="739" y="485"/>
                    </a:lnTo>
                    <a:lnTo>
                      <a:pt x="741" y="489"/>
                    </a:lnTo>
                    <a:lnTo>
                      <a:pt x="742" y="489"/>
                    </a:lnTo>
                    <a:lnTo>
                      <a:pt x="746" y="489"/>
                    </a:lnTo>
                    <a:lnTo>
                      <a:pt x="741" y="483"/>
                    </a:lnTo>
                    <a:lnTo>
                      <a:pt x="735" y="480"/>
                    </a:lnTo>
                    <a:lnTo>
                      <a:pt x="739" y="478"/>
                    </a:lnTo>
                    <a:lnTo>
                      <a:pt x="741" y="476"/>
                    </a:lnTo>
                    <a:lnTo>
                      <a:pt x="741" y="472"/>
                    </a:lnTo>
                    <a:lnTo>
                      <a:pt x="741" y="470"/>
                    </a:lnTo>
                    <a:lnTo>
                      <a:pt x="742" y="470"/>
                    </a:lnTo>
                    <a:lnTo>
                      <a:pt x="746" y="470"/>
                    </a:lnTo>
                    <a:lnTo>
                      <a:pt x="746" y="466"/>
                    </a:lnTo>
                    <a:lnTo>
                      <a:pt x="742" y="462"/>
                    </a:lnTo>
                    <a:lnTo>
                      <a:pt x="742" y="459"/>
                    </a:lnTo>
                    <a:lnTo>
                      <a:pt x="739" y="460"/>
                    </a:lnTo>
                    <a:lnTo>
                      <a:pt x="737" y="462"/>
                    </a:lnTo>
                    <a:lnTo>
                      <a:pt x="718" y="447"/>
                    </a:lnTo>
                    <a:lnTo>
                      <a:pt x="716" y="441"/>
                    </a:lnTo>
                    <a:lnTo>
                      <a:pt x="716" y="437"/>
                    </a:lnTo>
                    <a:lnTo>
                      <a:pt x="712" y="437"/>
                    </a:lnTo>
                    <a:lnTo>
                      <a:pt x="710" y="437"/>
                    </a:lnTo>
                    <a:lnTo>
                      <a:pt x="708" y="435"/>
                    </a:lnTo>
                    <a:lnTo>
                      <a:pt x="706" y="432"/>
                    </a:lnTo>
                    <a:lnTo>
                      <a:pt x="706" y="430"/>
                    </a:lnTo>
                    <a:lnTo>
                      <a:pt x="706" y="428"/>
                    </a:lnTo>
                    <a:lnTo>
                      <a:pt x="708" y="428"/>
                    </a:lnTo>
                    <a:lnTo>
                      <a:pt x="710" y="428"/>
                    </a:lnTo>
                    <a:lnTo>
                      <a:pt x="710" y="430"/>
                    </a:lnTo>
                    <a:lnTo>
                      <a:pt x="714" y="432"/>
                    </a:lnTo>
                    <a:lnTo>
                      <a:pt x="712" y="428"/>
                    </a:lnTo>
                    <a:lnTo>
                      <a:pt x="710" y="422"/>
                    </a:lnTo>
                    <a:lnTo>
                      <a:pt x="710" y="418"/>
                    </a:lnTo>
                    <a:lnTo>
                      <a:pt x="710" y="416"/>
                    </a:lnTo>
                    <a:lnTo>
                      <a:pt x="710" y="416"/>
                    </a:lnTo>
                    <a:lnTo>
                      <a:pt x="712" y="416"/>
                    </a:lnTo>
                    <a:lnTo>
                      <a:pt x="714" y="420"/>
                    </a:lnTo>
                    <a:lnTo>
                      <a:pt x="716" y="424"/>
                    </a:lnTo>
                    <a:lnTo>
                      <a:pt x="716" y="420"/>
                    </a:lnTo>
                    <a:lnTo>
                      <a:pt x="716" y="418"/>
                    </a:lnTo>
                    <a:lnTo>
                      <a:pt x="718" y="416"/>
                    </a:lnTo>
                    <a:lnTo>
                      <a:pt x="721" y="414"/>
                    </a:lnTo>
                    <a:lnTo>
                      <a:pt x="723" y="420"/>
                    </a:lnTo>
                    <a:lnTo>
                      <a:pt x="725" y="426"/>
                    </a:lnTo>
                    <a:lnTo>
                      <a:pt x="729" y="430"/>
                    </a:lnTo>
                    <a:lnTo>
                      <a:pt x="737" y="432"/>
                    </a:lnTo>
                    <a:lnTo>
                      <a:pt x="739" y="430"/>
                    </a:lnTo>
                    <a:lnTo>
                      <a:pt x="742" y="430"/>
                    </a:lnTo>
                    <a:lnTo>
                      <a:pt x="739" y="435"/>
                    </a:lnTo>
                    <a:lnTo>
                      <a:pt x="742" y="437"/>
                    </a:lnTo>
                    <a:lnTo>
                      <a:pt x="748" y="437"/>
                    </a:lnTo>
                    <a:lnTo>
                      <a:pt x="746" y="441"/>
                    </a:lnTo>
                    <a:lnTo>
                      <a:pt x="748" y="443"/>
                    </a:lnTo>
                    <a:lnTo>
                      <a:pt x="750" y="441"/>
                    </a:lnTo>
                    <a:lnTo>
                      <a:pt x="756" y="441"/>
                    </a:lnTo>
                    <a:lnTo>
                      <a:pt x="752" y="443"/>
                    </a:lnTo>
                    <a:lnTo>
                      <a:pt x="750" y="445"/>
                    </a:lnTo>
                    <a:lnTo>
                      <a:pt x="752" y="447"/>
                    </a:lnTo>
                    <a:lnTo>
                      <a:pt x="754" y="447"/>
                    </a:lnTo>
                    <a:lnTo>
                      <a:pt x="760" y="451"/>
                    </a:lnTo>
                    <a:lnTo>
                      <a:pt x="767" y="453"/>
                    </a:lnTo>
                    <a:lnTo>
                      <a:pt x="767" y="443"/>
                    </a:lnTo>
                    <a:lnTo>
                      <a:pt x="766" y="434"/>
                    </a:lnTo>
                    <a:lnTo>
                      <a:pt x="767" y="434"/>
                    </a:lnTo>
                    <a:lnTo>
                      <a:pt x="767" y="437"/>
                    </a:lnTo>
                    <a:lnTo>
                      <a:pt x="771" y="437"/>
                    </a:lnTo>
                    <a:lnTo>
                      <a:pt x="777" y="437"/>
                    </a:lnTo>
                    <a:lnTo>
                      <a:pt x="775" y="434"/>
                    </a:lnTo>
                    <a:lnTo>
                      <a:pt x="775" y="430"/>
                    </a:lnTo>
                    <a:lnTo>
                      <a:pt x="775" y="426"/>
                    </a:lnTo>
                    <a:lnTo>
                      <a:pt x="777" y="422"/>
                    </a:lnTo>
                    <a:close/>
                    <a:moveTo>
                      <a:pt x="313" y="82"/>
                    </a:moveTo>
                    <a:lnTo>
                      <a:pt x="313" y="88"/>
                    </a:lnTo>
                    <a:lnTo>
                      <a:pt x="315" y="94"/>
                    </a:lnTo>
                    <a:lnTo>
                      <a:pt x="320" y="96"/>
                    </a:lnTo>
                    <a:lnTo>
                      <a:pt x="322" y="96"/>
                    </a:lnTo>
                    <a:lnTo>
                      <a:pt x="320" y="90"/>
                    </a:lnTo>
                    <a:lnTo>
                      <a:pt x="318" y="84"/>
                    </a:lnTo>
                    <a:lnTo>
                      <a:pt x="315" y="82"/>
                    </a:lnTo>
                    <a:lnTo>
                      <a:pt x="313" y="8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19" name="Freeform 217"/>
              <p:cNvSpPr>
                <a:spLocks/>
              </p:cNvSpPr>
              <p:nvPr/>
            </p:nvSpPr>
            <p:spPr bwMode="gray">
              <a:xfrm>
                <a:off x="4494115" y="4122739"/>
                <a:ext cx="161907" cy="274638"/>
              </a:xfrm>
              <a:custGeom>
                <a:avLst/>
                <a:gdLst>
                  <a:gd name="T0" fmla="*/ 2 w 102"/>
                  <a:gd name="T1" fmla="*/ 140 h 173"/>
                  <a:gd name="T2" fmla="*/ 4 w 102"/>
                  <a:gd name="T3" fmla="*/ 142 h 173"/>
                  <a:gd name="T4" fmla="*/ 8 w 102"/>
                  <a:gd name="T5" fmla="*/ 148 h 173"/>
                  <a:gd name="T6" fmla="*/ 12 w 102"/>
                  <a:gd name="T7" fmla="*/ 150 h 173"/>
                  <a:gd name="T8" fmla="*/ 13 w 102"/>
                  <a:gd name="T9" fmla="*/ 156 h 173"/>
                  <a:gd name="T10" fmla="*/ 17 w 102"/>
                  <a:gd name="T11" fmla="*/ 167 h 173"/>
                  <a:gd name="T12" fmla="*/ 40 w 102"/>
                  <a:gd name="T13" fmla="*/ 171 h 173"/>
                  <a:gd name="T14" fmla="*/ 48 w 102"/>
                  <a:gd name="T15" fmla="*/ 169 h 173"/>
                  <a:gd name="T16" fmla="*/ 54 w 102"/>
                  <a:gd name="T17" fmla="*/ 167 h 173"/>
                  <a:gd name="T18" fmla="*/ 63 w 102"/>
                  <a:gd name="T19" fmla="*/ 167 h 173"/>
                  <a:gd name="T20" fmla="*/ 79 w 102"/>
                  <a:gd name="T21" fmla="*/ 167 h 173"/>
                  <a:gd name="T22" fmla="*/ 84 w 102"/>
                  <a:gd name="T23" fmla="*/ 171 h 173"/>
                  <a:gd name="T24" fmla="*/ 90 w 102"/>
                  <a:gd name="T25" fmla="*/ 171 h 173"/>
                  <a:gd name="T26" fmla="*/ 100 w 102"/>
                  <a:gd name="T27" fmla="*/ 173 h 173"/>
                  <a:gd name="T28" fmla="*/ 100 w 102"/>
                  <a:gd name="T29" fmla="*/ 171 h 173"/>
                  <a:gd name="T30" fmla="*/ 100 w 102"/>
                  <a:gd name="T31" fmla="*/ 163 h 173"/>
                  <a:gd name="T32" fmla="*/ 98 w 102"/>
                  <a:gd name="T33" fmla="*/ 157 h 173"/>
                  <a:gd name="T34" fmla="*/ 90 w 102"/>
                  <a:gd name="T35" fmla="*/ 146 h 173"/>
                  <a:gd name="T36" fmla="*/ 83 w 102"/>
                  <a:gd name="T37" fmla="*/ 138 h 173"/>
                  <a:gd name="T38" fmla="*/ 77 w 102"/>
                  <a:gd name="T39" fmla="*/ 127 h 173"/>
                  <a:gd name="T40" fmla="*/ 73 w 102"/>
                  <a:gd name="T41" fmla="*/ 117 h 173"/>
                  <a:gd name="T42" fmla="*/ 69 w 102"/>
                  <a:gd name="T43" fmla="*/ 113 h 173"/>
                  <a:gd name="T44" fmla="*/ 79 w 102"/>
                  <a:gd name="T45" fmla="*/ 100 h 173"/>
                  <a:gd name="T46" fmla="*/ 84 w 102"/>
                  <a:gd name="T47" fmla="*/ 86 h 173"/>
                  <a:gd name="T48" fmla="*/ 83 w 102"/>
                  <a:gd name="T49" fmla="*/ 73 h 173"/>
                  <a:gd name="T50" fmla="*/ 73 w 102"/>
                  <a:gd name="T51" fmla="*/ 63 h 173"/>
                  <a:gd name="T52" fmla="*/ 75 w 102"/>
                  <a:gd name="T53" fmla="*/ 56 h 173"/>
                  <a:gd name="T54" fmla="*/ 90 w 102"/>
                  <a:gd name="T55" fmla="*/ 54 h 173"/>
                  <a:gd name="T56" fmla="*/ 88 w 102"/>
                  <a:gd name="T57" fmla="*/ 50 h 173"/>
                  <a:gd name="T58" fmla="*/ 88 w 102"/>
                  <a:gd name="T59" fmla="*/ 40 h 173"/>
                  <a:gd name="T60" fmla="*/ 84 w 102"/>
                  <a:gd name="T61" fmla="*/ 31 h 173"/>
                  <a:gd name="T62" fmla="*/ 86 w 102"/>
                  <a:gd name="T63" fmla="*/ 27 h 173"/>
                  <a:gd name="T64" fmla="*/ 86 w 102"/>
                  <a:gd name="T65" fmla="*/ 21 h 173"/>
                  <a:gd name="T66" fmla="*/ 84 w 102"/>
                  <a:gd name="T67" fmla="*/ 15 h 173"/>
                  <a:gd name="T68" fmla="*/ 83 w 102"/>
                  <a:gd name="T69" fmla="*/ 8 h 173"/>
                  <a:gd name="T70" fmla="*/ 75 w 102"/>
                  <a:gd name="T71" fmla="*/ 0 h 173"/>
                  <a:gd name="T72" fmla="*/ 75 w 102"/>
                  <a:gd name="T73" fmla="*/ 13 h 173"/>
                  <a:gd name="T74" fmla="*/ 77 w 102"/>
                  <a:gd name="T75" fmla="*/ 21 h 173"/>
                  <a:gd name="T76" fmla="*/ 71 w 102"/>
                  <a:gd name="T77" fmla="*/ 27 h 173"/>
                  <a:gd name="T78" fmla="*/ 67 w 102"/>
                  <a:gd name="T79" fmla="*/ 33 h 173"/>
                  <a:gd name="T80" fmla="*/ 63 w 102"/>
                  <a:gd name="T81" fmla="*/ 40 h 173"/>
                  <a:gd name="T82" fmla="*/ 61 w 102"/>
                  <a:gd name="T83" fmla="*/ 48 h 173"/>
                  <a:gd name="T84" fmla="*/ 58 w 102"/>
                  <a:gd name="T85" fmla="*/ 52 h 173"/>
                  <a:gd name="T86" fmla="*/ 59 w 102"/>
                  <a:gd name="T87" fmla="*/ 58 h 173"/>
                  <a:gd name="T88" fmla="*/ 54 w 102"/>
                  <a:gd name="T89" fmla="*/ 63 h 173"/>
                  <a:gd name="T90" fmla="*/ 46 w 102"/>
                  <a:gd name="T91" fmla="*/ 67 h 173"/>
                  <a:gd name="T92" fmla="*/ 44 w 102"/>
                  <a:gd name="T93" fmla="*/ 75 h 173"/>
                  <a:gd name="T94" fmla="*/ 42 w 102"/>
                  <a:gd name="T95" fmla="*/ 81 h 173"/>
                  <a:gd name="T96" fmla="*/ 36 w 102"/>
                  <a:gd name="T97" fmla="*/ 88 h 173"/>
                  <a:gd name="T98" fmla="*/ 33 w 102"/>
                  <a:gd name="T99" fmla="*/ 96 h 173"/>
                  <a:gd name="T100" fmla="*/ 33 w 102"/>
                  <a:gd name="T101" fmla="*/ 104 h 173"/>
                  <a:gd name="T102" fmla="*/ 29 w 102"/>
                  <a:gd name="T103" fmla="*/ 111 h 173"/>
                  <a:gd name="T104" fmla="*/ 23 w 102"/>
                  <a:gd name="T105" fmla="*/ 109 h 173"/>
                  <a:gd name="T106" fmla="*/ 17 w 102"/>
                  <a:gd name="T107" fmla="*/ 104 h 173"/>
                  <a:gd name="T108" fmla="*/ 15 w 102"/>
                  <a:gd name="T109" fmla="*/ 104 h 173"/>
                  <a:gd name="T110" fmla="*/ 8 w 102"/>
                  <a:gd name="T111" fmla="*/ 108 h 173"/>
                  <a:gd name="T112" fmla="*/ 2 w 102"/>
                  <a:gd name="T113" fmla="*/ 115 h 173"/>
                  <a:gd name="T114" fmla="*/ 0 w 102"/>
                  <a:gd name="T115" fmla="*/ 119 h 173"/>
                  <a:gd name="T116" fmla="*/ 0 w 102"/>
                  <a:gd name="T117" fmla="*/ 125 h 173"/>
                  <a:gd name="T118" fmla="*/ 0 w 102"/>
                  <a:gd name="T119" fmla="*/ 132 h 173"/>
                  <a:gd name="T120" fmla="*/ 0 w 102"/>
                  <a:gd name="T121" fmla="*/ 14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2" h="173">
                    <a:moveTo>
                      <a:pt x="2" y="142"/>
                    </a:moveTo>
                    <a:lnTo>
                      <a:pt x="2" y="140"/>
                    </a:lnTo>
                    <a:lnTo>
                      <a:pt x="6" y="138"/>
                    </a:lnTo>
                    <a:lnTo>
                      <a:pt x="4" y="142"/>
                    </a:lnTo>
                    <a:lnTo>
                      <a:pt x="4" y="146"/>
                    </a:lnTo>
                    <a:lnTo>
                      <a:pt x="8" y="148"/>
                    </a:lnTo>
                    <a:lnTo>
                      <a:pt x="12" y="148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3" y="156"/>
                    </a:lnTo>
                    <a:lnTo>
                      <a:pt x="17" y="159"/>
                    </a:lnTo>
                    <a:lnTo>
                      <a:pt x="17" y="167"/>
                    </a:lnTo>
                    <a:lnTo>
                      <a:pt x="15" y="171"/>
                    </a:lnTo>
                    <a:lnTo>
                      <a:pt x="40" y="171"/>
                    </a:lnTo>
                    <a:lnTo>
                      <a:pt x="42" y="169"/>
                    </a:lnTo>
                    <a:lnTo>
                      <a:pt x="48" y="169"/>
                    </a:lnTo>
                    <a:lnTo>
                      <a:pt x="50" y="169"/>
                    </a:lnTo>
                    <a:lnTo>
                      <a:pt x="54" y="167"/>
                    </a:lnTo>
                    <a:lnTo>
                      <a:pt x="59" y="167"/>
                    </a:lnTo>
                    <a:lnTo>
                      <a:pt x="63" y="167"/>
                    </a:lnTo>
                    <a:lnTo>
                      <a:pt x="73" y="167"/>
                    </a:lnTo>
                    <a:lnTo>
                      <a:pt x="79" y="167"/>
                    </a:lnTo>
                    <a:lnTo>
                      <a:pt x="83" y="169"/>
                    </a:lnTo>
                    <a:lnTo>
                      <a:pt x="84" y="171"/>
                    </a:lnTo>
                    <a:lnTo>
                      <a:pt x="86" y="171"/>
                    </a:lnTo>
                    <a:lnTo>
                      <a:pt x="90" y="171"/>
                    </a:lnTo>
                    <a:lnTo>
                      <a:pt x="94" y="171"/>
                    </a:lnTo>
                    <a:lnTo>
                      <a:pt x="100" y="173"/>
                    </a:lnTo>
                    <a:lnTo>
                      <a:pt x="102" y="173"/>
                    </a:lnTo>
                    <a:lnTo>
                      <a:pt x="100" y="171"/>
                    </a:lnTo>
                    <a:lnTo>
                      <a:pt x="98" y="167"/>
                    </a:lnTo>
                    <a:lnTo>
                      <a:pt x="100" y="163"/>
                    </a:lnTo>
                    <a:lnTo>
                      <a:pt x="102" y="159"/>
                    </a:lnTo>
                    <a:lnTo>
                      <a:pt x="98" y="157"/>
                    </a:lnTo>
                    <a:lnTo>
                      <a:pt x="94" y="150"/>
                    </a:lnTo>
                    <a:lnTo>
                      <a:pt x="90" y="146"/>
                    </a:lnTo>
                    <a:lnTo>
                      <a:pt x="86" y="142"/>
                    </a:lnTo>
                    <a:lnTo>
                      <a:pt x="83" y="138"/>
                    </a:lnTo>
                    <a:lnTo>
                      <a:pt x="81" y="132"/>
                    </a:lnTo>
                    <a:lnTo>
                      <a:pt x="77" y="127"/>
                    </a:lnTo>
                    <a:lnTo>
                      <a:pt x="75" y="121"/>
                    </a:lnTo>
                    <a:lnTo>
                      <a:pt x="73" y="117"/>
                    </a:lnTo>
                    <a:lnTo>
                      <a:pt x="71" y="115"/>
                    </a:lnTo>
                    <a:lnTo>
                      <a:pt x="69" y="113"/>
                    </a:lnTo>
                    <a:lnTo>
                      <a:pt x="73" y="109"/>
                    </a:lnTo>
                    <a:lnTo>
                      <a:pt x="79" y="100"/>
                    </a:lnTo>
                    <a:lnTo>
                      <a:pt x="83" y="94"/>
                    </a:lnTo>
                    <a:lnTo>
                      <a:pt x="84" y="86"/>
                    </a:lnTo>
                    <a:lnTo>
                      <a:pt x="84" y="81"/>
                    </a:lnTo>
                    <a:lnTo>
                      <a:pt x="83" y="73"/>
                    </a:lnTo>
                    <a:lnTo>
                      <a:pt x="77" y="67"/>
                    </a:lnTo>
                    <a:lnTo>
                      <a:pt x="73" y="63"/>
                    </a:lnTo>
                    <a:lnTo>
                      <a:pt x="71" y="60"/>
                    </a:lnTo>
                    <a:lnTo>
                      <a:pt x="75" y="56"/>
                    </a:lnTo>
                    <a:lnTo>
                      <a:pt x="83" y="54"/>
                    </a:lnTo>
                    <a:lnTo>
                      <a:pt x="90" y="54"/>
                    </a:lnTo>
                    <a:lnTo>
                      <a:pt x="90" y="54"/>
                    </a:lnTo>
                    <a:lnTo>
                      <a:pt x="88" y="50"/>
                    </a:lnTo>
                    <a:lnTo>
                      <a:pt x="88" y="44"/>
                    </a:lnTo>
                    <a:lnTo>
                      <a:pt x="88" y="40"/>
                    </a:lnTo>
                    <a:lnTo>
                      <a:pt x="86" y="37"/>
                    </a:lnTo>
                    <a:lnTo>
                      <a:pt x="84" y="31"/>
                    </a:lnTo>
                    <a:lnTo>
                      <a:pt x="86" y="27"/>
                    </a:lnTo>
                    <a:lnTo>
                      <a:pt x="86" y="27"/>
                    </a:lnTo>
                    <a:lnTo>
                      <a:pt x="86" y="25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4" y="15"/>
                    </a:lnTo>
                    <a:lnTo>
                      <a:pt x="84" y="12"/>
                    </a:lnTo>
                    <a:lnTo>
                      <a:pt x="83" y="8"/>
                    </a:lnTo>
                    <a:lnTo>
                      <a:pt x="79" y="4"/>
                    </a:lnTo>
                    <a:lnTo>
                      <a:pt x="75" y="0"/>
                    </a:lnTo>
                    <a:lnTo>
                      <a:pt x="73" y="12"/>
                    </a:lnTo>
                    <a:lnTo>
                      <a:pt x="75" y="13"/>
                    </a:lnTo>
                    <a:lnTo>
                      <a:pt x="77" y="15"/>
                    </a:lnTo>
                    <a:lnTo>
                      <a:pt x="77" y="21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69" y="29"/>
                    </a:lnTo>
                    <a:lnTo>
                      <a:pt x="67" y="33"/>
                    </a:lnTo>
                    <a:lnTo>
                      <a:pt x="63" y="37"/>
                    </a:lnTo>
                    <a:lnTo>
                      <a:pt x="63" y="40"/>
                    </a:lnTo>
                    <a:lnTo>
                      <a:pt x="63" y="42"/>
                    </a:lnTo>
                    <a:lnTo>
                      <a:pt x="61" y="48"/>
                    </a:lnTo>
                    <a:lnTo>
                      <a:pt x="59" y="50"/>
                    </a:lnTo>
                    <a:lnTo>
                      <a:pt x="58" y="52"/>
                    </a:lnTo>
                    <a:lnTo>
                      <a:pt x="58" y="54"/>
                    </a:lnTo>
                    <a:lnTo>
                      <a:pt x="59" y="58"/>
                    </a:lnTo>
                    <a:lnTo>
                      <a:pt x="58" y="61"/>
                    </a:lnTo>
                    <a:lnTo>
                      <a:pt x="54" y="63"/>
                    </a:lnTo>
                    <a:lnTo>
                      <a:pt x="50" y="65"/>
                    </a:lnTo>
                    <a:lnTo>
                      <a:pt x="46" y="67"/>
                    </a:lnTo>
                    <a:lnTo>
                      <a:pt x="44" y="71"/>
                    </a:lnTo>
                    <a:lnTo>
                      <a:pt x="44" y="75"/>
                    </a:lnTo>
                    <a:lnTo>
                      <a:pt x="42" y="79"/>
                    </a:lnTo>
                    <a:lnTo>
                      <a:pt x="42" y="81"/>
                    </a:lnTo>
                    <a:lnTo>
                      <a:pt x="40" y="84"/>
                    </a:lnTo>
                    <a:lnTo>
                      <a:pt x="36" y="88"/>
                    </a:lnTo>
                    <a:lnTo>
                      <a:pt x="35" y="90"/>
                    </a:lnTo>
                    <a:lnTo>
                      <a:pt x="33" y="96"/>
                    </a:lnTo>
                    <a:lnTo>
                      <a:pt x="31" y="100"/>
                    </a:lnTo>
                    <a:lnTo>
                      <a:pt x="33" y="104"/>
                    </a:lnTo>
                    <a:lnTo>
                      <a:pt x="31" y="106"/>
                    </a:lnTo>
                    <a:lnTo>
                      <a:pt x="29" y="111"/>
                    </a:lnTo>
                    <a:lnTo>
                      <a:pt x="23" y="113"/>
                    </a:lnTo>
                    <a:lnTo>
                      <a:pt x="23" y="109"/>
                    </a:lnTo>
                    <a:lnTo>
                      <a:pt x="21" y="106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5" y="104"/>
                    </a:lnTo>
                    <a:lnTo>
                      <a:pt x="13" y="106"/>
                    </a:lnTo>
                    <a:lnTo>
                      <a:pt x="8" y="108"/>
                    </a:lnTo>
                    <a:lnTo>
                      <a:pt x="4" y="109"/>
                    </a:lnTo>
                    <a:lnTo>
                      <a:pt x="2" y="115"/>
                    </a:lnTo>
                    <a:lnTo>
                      <a:pt x="0" y="119"/>
                    </a:lnTo>
                    <a:lnTo>
                      <a:pt x="0" y="119"/>
                    </a:lnTo>
                    <a:lnTo>
                      <a:pt x="0" y="123"/>
                    </a:lnTo>
                    <a:lnTo>
                      <a:pt x="0" y="125"/>
                    </a:lnTo>
                    <a:lnTo>
                      <a:pt x="2" y="127"/>
                    </a:lnTo>
                    <a:lnTo>
                      <a:pt x="0" y="132"/>
                    </a:lnTo>
                    <a:lnTo>
                      <a:pt x="0" y="142"/>
                    </a:lnTo>
                    <a:lnTo>
                      <a:pt x="0" y="142"/>
                    </a:lnTo>
                    <a:lnTo>
                      <a:pt x="2" y="14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0" name="Freeform 218"/>
              <p:cNvSpPr>
                <a:spLocks/>
              </p:cNvSpPr>
              <p:nvPr/>
            </p:nvSpPr>
            <p:spPr bwMode="gray">
              <a:xfrm>
                <a:off x="6352871" y="4092576"/>
                <a:ext cx="106351" cy="112713"/>
              </a:xfrm>
              <a:custGeom>
                <a:avLst/>
                <a:gdLst>
                  <a:gd name="T0" fmla="*/ 5 w 67"/>
                  <a:gd name="T1" fmla="*/ 50 h 71"/>
                  <a:gd name="T2" fmla="*/ 9 w 67"/>
                  <a:gd name="T3" fmla="*/ 57 h 71"/>
                  <a:gd name="T4" fmla="*/ 13 w 67"/>
                  <a:gd name="T5" fmla="*/ 65 h 71"/>
                  <a:gd name="T6" fmla="*/ 15 w 67"/>
                  <a:gd name="T7" fmla="*/ 63 h 71"/>
                  <a:gd name="T8" fmla="*/ 19 w 67"/>
                  <a:gd name="T9" fmla="*/ 63 h 71"/>
                  <a:gd name="T10" fmla="*/ 19 w 67"/>
                  <a:gd name="T11" fmla="*/ 65 h 71"/>
                  <a:gd name="T12" fmla="*/ 17 w 67"/>
                  <a:gd name="T13" fmla="*/ 69 h 71"/>
                  <a:gd name="T14" fmla="*/ 21 w 67"/>
                  <a:gd name="T15" fmla="*/ 71 h 71"/>
                  <a:gd name="T16" fmla="*/ 25 w 67"/>
                  <a:gd name="T17" fmla="*/ 71 h 71"/>
                  <a:gd name="T18" fmla="*/ 27 w 67"/>
                  <a:gd name="T19" fmla="*/ 67 h 71"/>
                  <a:gd name="T20" fmla="*/ 30 w 67"/>
                  <a:gd name="T21" fmla="*/ 63 h 71"/>
                  <a:gd name="T22" fmla="*/ 34 w 67"/>
                  <a:gd name="T23" fmla="*/ 61 h 71"/>
                  <a:gd name="T24" fmla="*/ 38 w 67"/>
                  <a:gd name="T25" fmla="*/ 61 h 71"/>
                  <a:gd name="T26" fmla="*/ 48 w 67"/>
                  <a:gd name="T27" fmla="*/ 63 h 71"/>
                  <a:gd name="T28" fmla="*/ 50 w 67"/>
                  <a:gd name="T29" fmla="*/ 57 h 71"/>
                  <a:gd name="T30" fmla="*/ 55 w 67"/>
                  <a:gd name="T31" fmla="*/ 54 h 71"/>
                  <a:gd name="T32" fmla="*/ 63 w 67"/>
                  <a:gd name="T33" fmla="*/ 50 h 71"/>
                  <a:gd name="T34" fmla="*/ 67 w 67"/>
                  <a:gd name="T35" fmla="*/ 40 h 71"/>
                  <a:gd name="T36" fmla="*/ 67 w 67"/>
                  <a:gd name="T37" fmla="*/ 32 h 71"/>
                  <a:gd name="T38" fmla="*/ 67 w 67"/>
                  <a:gd name="T39" fmla="*/ 27 h 71"/>
                  <a:gd name="T40" fmla="*/ 65 w 67"/>
                  <a:gd name="T41" fmla="*/ 21 h 71"/>
                  <a:gd name="T42" fmla="*/ 65 w 67"/>
                  <a:gd name="T43" fmla="*/ 15 h 71"/>
                  <a:gd name="T44" fmla="*/ 63 w 67"/>
                  <a:gd name="T45" fmla="*/ 9 h 71"/>
                  <a:gd name="T46" fmla="*/ 61 w 67"/>
                  <a:gd name="T47" fmla="*/ 2 h 71"/>
                  <a:gd name="T48" fmla="*/ 55 w 67"/>
                  <a:gd name="T49" fmla="*/ 4 h 71"/>
                  <a:gd name="T50" fmla="*/ 53 w 67"/>
                  <a:gd name="T51" fmla="*/ 0 h 71"/>
                  <a:gd name="T52" fmla="*/ 50 w 67"/>
                  <a:gd name="T53" fmla="*/ 0 h 71"/>
                  <a:gd name="T54" fmla="*/ 46 w 67"/>
                  <a:gd name="T55" fmla="*/ 4 h 71"/>
                  <a:gd name="T56" fmla="*/ 46 w 67"/>
                  <a:gd name="T57" fmla="*/ 9 h 71"/>
                  <a:gd name="T58" fmla="*/ 42 w 67"/>
                  <a:gd name="T59" fmla="*/ 11 h 71"/>
                  <a:gd name="T60" fmla="*/ 38 w 67"/>
                  <a:gd name="T61" fmla="*/ 8 h 71"/>
                  <a:gd name="T62" fmla="*/ 36 w 67"/>
                  <a:gd name="T63" fmla="*/ 4 h 71"/>
                  <a:gd name="T64" fmla="*/ 28 w 67"/>
                  <a:gd name="T65" fmla="*/ 4 h 71"/>
                  <a:gd name="T66" fmla="*/ 27 w 67"/>
                  <a:gd name="T67" fmla="*/ 8 h 71"/>
                  <a:gd name="T68" fmla="*/ 19 w 67"/>
                  <a:gd name="T69" fmla="*/ 11 h 71"/>
                  <a:gd name="T70" fmla="*/ 15 w 67"/>
                  <a:gd name="T71" fmla="*/ 11 h 71"/>
                  <a:gd name="T72" fmla="*/ 11 w 67"/>
                  <a:gd name="T73" fmla="*/ 11 h 71"/>
                  <a:gd name="T74" fmla="*/ 5 w 67"/>
                  <a:gd name="T75" fmla="*/ 13 h 71"/>
                  <a:gd name="T76" fmla="*/ 2 w 67"/>
                  <a:gd name="T77" fmla="*/ 15 h 71"/>
                  <a:gd name="T78" fmla="*/ 0 w 67"/>
                  <a:gd name="T79" fmla="*/ 23 h 71"/>
                  <a:gd name="T80" fmla="*/ 2 w 67"/>
                  <a:gd name="T81" fmla="*/ 32 h 71"/>
                  <a:gd name="T82" fmla="*/ 5 w 67"/>
                  <a:gd name="T83" fmla="*/ 40 h 71"/>
                  <a:gd name="T84" fmla="*/ 5 w 67"/>
                  <a:gd name="T85" fmla="*/ 50 h 71"/>
                  <a:gd name="T86" fmla="*/ 5 w 67"/>
                  <a:gd name="T87" fmla="*/ 5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7" h="71">
                    <a:moveTo>
                      <a:pt x="5" y="50"/>
                    </a:moveTo>
                    <a:lnTo>
                      <a:pt x="9" y="57"/>
                    </a:lnTo>
                    <a:lnTo>
                      <a:pt x="13" y="65"/>
                    </a:lnTo>
                    <a:lnTo>
                      <a:pt x="15" y="63"/>
                    </a:lnTo>
                    <a:lnTo>
                      <a:pt x="19" y="63"/>
                    </a:lnTo>
                    <a:lnTo>
                      <a:pt x="19" y="65"/>
                    </a:lnTo>
                    <a:lnTo>
                      <a:pt x="17" y="69"/>
                    </a:lnTo>
                    <a:lnTo>
                      <a:pt x="21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30" y="63"/>
                    </a:lnTo>
                    <a:lnTo>
                      <a:pt x="34" y="61"/>
                    </a:lnTo>
                    <a:lnTo>
                      <a:pt x="38" y="61"/>
                    </a:lnTo>
                    <a:lnTo>
                      <a:pt x="48" y="63"/>
                    </a:lnTo>
                    <a:lnTo>
                      <a:pt x="50" y="57"/>
                    </a:lnTo>
                    <a:lnTo>
                      <a:pt x="55" y="54"/>
                    </a:lnTo>
                    <a:lnTo>
                      <a:pt x="63" y="50"/>
                    </a:lnTo>
                    <a:lnTo>
                      <a:pt x="67" y="40"/>
                    </a:lnTo>
                    <a:lnTo>
                      <a:pt x="67" y="32"/>
                    </a:lnTo>
                    <a:lnTo>
                      <a:pt x="67" y="27"/>
                    </a:lnTo>
                    <a:lnTo>
                      <a:pt x="65" y="21"/>
                    </a:lnTo>
                    <a:lnTo>
                      <a:pt x="65" y="15"/>
                    </a:lnTo>
                    <a:lnTo>
                      <a:pt x="63" y="9"/>
                    </a:lnTo>
                    <a:lnTo>
                      <a:pt x="61" y="2"/>
                    </a:lnTo>
                    <a:lnTo>
                      <a:pt x="55" y="4"/>
                    </a:lnTo>
                    <a:lnTo>
                      <a:pt x="53" y="0"/>
                    </a:lnTo>
                    <a:lnTo>
                      <a:pt x="50" y="0"/>
                    </a:lnTo>
                    <a:lnTo>
                      <a:pt x="46" y="4"/>
                    </a:lnTo>
                    <a:lnTo>
                      <a:pt x="46" y="9"/>
                    </a:lnTo>
                    <a:lnTo>
                      <a:pt x="42" y="11"/>
                    </a:lnTo>
                    <a:lnTo>
                      <a:pt x="38" y="8"/>
                    </a:lnTo>
                    <a:lnTo>
                      <a:pt x="36" y="4"/>
                    </a:lnTo>
                    <a:lnTo>
                      <a:pt x="28" y="4"/>
                    </a:lnTo>
                    <a:lnTo>
                      <a:pt x="27" y="8"/>
                    </a:lnTo>
                    <a:lnTo>
                      <a:pt x="19" y="11"/>
                    </a:lnTo>
                    <a:lnTo>
                      <a:pt x="15" y="11"/>
                    </a:lnTo>
                    <a:lnTo>
                      <a:pt x="11" y="11"/>
                    </a:lnTo>
                    <a:lnTo>
                      <a:pt x="5" y="13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2" y="32"/>
                    </a:lnTo>
                    <a:lnTo>
                      <a:pt x="5" y="40"/>
                    </a:lnTo>
                    <a:lnTo>
                      <a:pt x="5" y="50"/>
                    </a:lnTo>
                    <a:lnTo>
                      <a:pt x="5" y="5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1" name="Freeform 219"/>
              <p:cNvSpPr>
                <a:spLocks/>
              </p:cNvSpPr>
              <p:nvPr/>
            </p:nvSpPr>
            <p:spPr bwMode="gray">
              <a:xfrm>
                <a:off x="4905232" y="4527551"/>
                <a:ext cx="46032" cy="49213"/>
              </a:xfrm>
              <a:custGeom>
                <a:avLst/>
                <a:gdLst>
                  <a:gd name="T0" fmla="*/ 2 w 29"/>
                  <a:gd name="T1" fmla="*/ 10 h 31"/>
                  <a:gd name="T2" fmla="*/ 2 w 29"/>
                  <a:gd name="T3" fmla="*/ 10 h 31"/>
                  <a:gd name="T4" fmla="*/ 2 w 29"/>
                  <a:gd name="T5" fmla="*/ 8 h 31"/>
                  <a:gd name="T6" fmla="*/ 0 w 29"/>
                  <a:gd name="T7" fmla="*/ 2 h 31"/>
                  <a:gd name="T8" fmla="*/ 2 w 29"/>
                  <a:gd name="T9" fmla="*/ 2 h 31"/>
                  <a:gd name="T10" fmla="*/ 6 w 29"/>
                  <a:gd name="T11" fmla="*/ 2 h 31"/>
                  <a:gd name="T12" fmla="*/ 6 w 29"/>
                  <a:gd name="T13" fmla="*/ 4 h 31"/>
                  <a:gd name="T14" fmla="*/ 8 w 29"/>
                  <a:gd name="T15" fmla="*/ 8 h 31"/>
                  <a:gd name="T16" fmla="*/ 8 w 29"/>
                  <a:gd name="T17" fmla="*/ 8 h 31"/>
                  <a:gd name="T18" fmla="*/ 10 w 29"/>
                  <a:gd name="T19" fmla="*/ 6 h 31"/>
                  <a:gd name="T20" fmla="*/ 14 w 29"/>
                  <a:gd name="T21" fmla="*/ 2 h 31"/>
                  <a:gd name="T22" fmla="*/ 15 w 29"/>
                  <a:gd name="T23" fmla="*/ 0 h 31"/>
                  <a:gd name="T24" fmla="*/ 19 w 29"/>
                  <a:gd name="T25" fmla="*/ 2 h 31"/>
                  <a:gd name="T26" fmla="*/ 23 w 29"/>
                  <a:gd name="T27" fmla="*/ 2 h 31"/>
                  <a:gd name="T28" fmla="*/ 21 w 29"/>
                  <a:gd name="T29" fmla="*/ 6 h 31"/>
                  <a:gd name="T30" fmla="*/ 25 w 29"/>
                  <a:gd name="T31" fmla="*/ 10 h 31"/>
                  <a:gd name="T32" fmla="*/ 27 w 29"/>
                  <a:gd name="T33" fmla="*/ 12 h 31"/>
                  <a:gd name="T34" fmla="*/ 29 w 29"/>
                  <a:gd name="T35" fmla="*/ 12 h 31"/>
                  <a:gd name="T36" fmla="*/ 27 w 29"/>
                  <a:gd name="T37" fmla="*/ 14 h 31"/>
                  <a:gd name="T38" fmla="*/ 25 w 29"/>
                  <a:gd name="T39" fmla="*/ 18 h 31"/>
                  <a:gd name="T40" fmla="*/ 23 w 29"/>
                  <a:gd name="T41" fmla="*/ 19 h 31"/>
                  <a:gd name="T42" fmla="*/ 21 w 29"/>
                  <a:gd name="T43" fmla="*/ 21 h 31"/>
                  <a:gd name="T44" fmla="*/ 19 w 29"/>
                  <a:gd name="T45" fmla="*/ 29 h 31"/>
                  <a:gd name="T46" fmla="*/ 17 w 29"/>
                  <a:gd name="T47" fmla="*/ 29 h 31"/>
                  <a:gd name="T48" fmla="*/ 14 w 29"/>
                  <a:gd name="T49" fmla="*/ 31 h 31"/>
                  <a:gd name="T50" fmla="*/ 8 w 29"/>
                  <a:gd name="T51" fmla="*/ 31 h 31"/>
                  <a:gd name="T52" fmla="*/ 4 w 29"/>
                  <a:gd name="T53" fmla="*/ 31 h 31"/>
                  <a:gd name="T54" fmla="*/ 4 w 29"/>
                  <a:gd name="T55" fmla="*/ 19 h 31"/>
                  <a:gd name="T56" fmla="*/ 4 w 29"/>
                  <a:gd name="T57" fmla="*/ 10 h 31"/>
                  <a:gd name="T58" fmla="*/ 2 w 29"/>
                  <a:gd name="T59" fmla="*/ 1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9" h="31">
                    <a:moveTo>
                      <a:pt x="2" y="10"/>
                    </a:moveTo>
                    <a:lnTo>
                      <a:pt x="2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6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6"/>
                    </a:lnTo>
                    <a:lnTo>
                      <a:pt x="14" y="2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3" y="2"/>
                    </a:lnTo>
                    <a:lnTo>
                      <a:pt x="21" y="6"/>
                    </a:lnTo>
                    <a:lnTo>
                      <a:pt x="25" y="10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27" y="14"/>
                    </a:lnTo>
                    <a:lnTo>
                      <a:pt x="25" y="18"/>
                    </a:lnTo>
                    <a:lnTo>
                      <a:pt x="23" y="19"/>
                    </a:lnTo>
                    <a:lnTo>
                      <a:pt x="21" y="21"/>
                    </a:lnTo>
                    <a:lnTo>
                      <a:pt x="19" y="29"/>
                    </a:lnTo>
                    <a:lnTo>
                      <a:pt x="17" y="29"/>
                    </a:lnTo>
                    <a:lnTo>
                      <a:pt x="14" y="31"/>
                    </a:lnTo>
                    <a:lnTo>
                      <a:pt x="8" y="31"/>
                    </a:lnTo>
                    <a:lnTo>
                      <a:pt x="4" y="31"/>
                    </a:lnTo>
                    <a:lnTo>
                      <a:pt x="4" y="19"/>
                    </a:lnTo>
                    <a:lnTo>
                      <a:pt x="4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2" name="Freeform 220"/>
              <p:cNvSpPr>
                <a:spLocks/>
              </p:cNvSpPr>
              <p:nvPr/>
            </p:nvSpPr>
            <p:spPr bwMode="gray">
              <a:xfrm>
                <a:off x="6160805" y="3781426"/>
                <a:ext cx="169844" cy="404813"/>
              </a:xfrm>
              <a:custGeom>
                <a:avLst/>
                <a:gdLst>
                  <a:gd name="T0" fmla="*/ 82 w 107"/>
                  <a:gd name="T1" fmla="*/ 250 h 255"/>
                  <a:gd name="T2" fmla="*/ 88 w 107"/>
                  <a:gd name="T3" fmla="*/ 228 h 255"/>
                  <a:gd name="T4" fmla="*/ 75 w 107"/>
                  <a:gd name="T5" fmla="*/ 202 h 255"/>
                  <a:gd name="T6" fmla="*/ 78 w 107"/>
                  <a:gd name="T7" fmla="*/ 179 h 255"/>
                  <a:gd name="T8" fmla="*/ 65 w 107"/>
                  <a:gd name="T9" fmla="*/ 156 h 255"/>
                  <a:gd name="T10" fmla="*/ 67 w 107"/>
                  <a:gd name="T11" fmla="*/ 134 h 255"/>
                  <a:gd name="T12" fmla="*/ 77 w 107"/>
                  <a:gd name="T13" fmla="*/ 125 h 255"/>
                  <a:gd name="T14" fmla="*/ 82 w 107"/>
                  <a:gd name="T15" fmla="*/ 113 h 255"/>
                  <a:gd name="T16" fmla="*/ 98 w 107"/>
                  <a:gd name="T17" fmla="*/ 117 h 255"/>
                  <a:gd name="T18" fmla="*/ 107 w 107"/>
                  <a:gd name="T19" fmla="*/ 98 h 255"/>
                  <a:gd name="T20" fmla="*/ 94 w 107"/>
                  <a:gd name="T21" fmla="*/ 83 h 255"/>
                  <a:gd name="T22" fmla="*/ 86 w 107"/>
                  <a:gd name="T23" fmla="*/ 77 h 255"/>
                  <a:gd name="T24" fmla="*/ 84 w 107"/>
                  <a:gd name="T25" fmla="*/ 67 h 255"/>
                  <a:gd name="T26" fmla="*/ 80 w 107"/>
                  <a:gd name="T27" fmla="*/ 56 h 255"/>
                  <a:gd name="T28" fmla="*/ 69 w 107"/>
                  <a:gd name="T29" fmla="*/ 60 h 255"/>
                  <a:gd name="T30" fmla="*/ 67 w 107"/>
                  <a:gd name="T31" fmla="*/ 54 h 255"/>
                  <a:gd name="T32" fmla="*/ 69 w 107"/>
                  <a:gd name="T33" fmla="*/ 40 h 255"/>
                  <a:gd name="T34" fmla="*/ 75 w 107"/>
                  <a:gd name="T35" fmla="*/ 21 h 255"/>
                  <a:gd name="T36" fmla="*/ 71 w 107"/>
                  <a:gd name="T37" fmla="*/ 6 h 255"/>
                  <a:gd name="T38" fmla="*/ 61 w 107"/>
                  <a:gd name="T39" fmla="*/ 0 h 255"/>
                  <a:gd name="T40" fmla="*/ 53 w 107"/>
                  <a:gd name="T41" fmla="*/ 15 h 255"/>
                  <a:gd name="T42" fmla="*/ 42 w 107"/>
                  <a:gd name="T43" fmla="*/ 29 h 255"/>
                  <a:gd name="T44" fmla="*/ 27 w 107"/>
                  <a:gd name="T45" fmla="*/ 40 h 255"/>
                  <a:gd name="T46" fmla="*/ 29 w 107"/>
                  <a:gd name="T47" fmla="*/ 50 h 255"/>
                  <a:gd name="T48" fmla="*/ 13 w 107"/>
                  <a:gd name="T49" fmla="*/ 60 h 255"/>
                  <a:gd name="T50" fmla="*/ 17 w 107"/>
                  <a:gd name="T51" fmla="*/ 83 h 255"/>
                  <a:gd name="T52" fmla="*/ 11 w 107"/>
                  <a:gd name="T53" fmla="*/ 92 h 255"/>
                  <a:gd name="T54" fmla="*/ 6 w 107"/>
                  <a:gd name="T55" fmla="*/ 96 h 255"/>
                  <a:gd name="T56" fmla="*/ 2 w 107"/>
                  <a:gd name="T57" fmla="*/ 104 h 255"/>
                  <a:gd name="T58" fmla="*/ 0 w 107"/>
                  <a:gd name="T59" fmla="*/ 111 h 255"/>
                  <a:gd name="T60" fmla="*/ 2 w 107"/>
                  <a:gd name="T61" fmla="*/ 119 h 255"/>
                  <a:gd name="T62" fmla="*/ 7 w 107"/>
                  <a:gd name="T63" fmla="*/ 117 h 255"/>
                  <a:gd name="T64" fmla="*/ 13 w 107"/>
                  <a:gd name="T65" fmla="*/ 115 h 255"/>
                  <a:gd name="T66" fmla="*/ 21 w 107"/>
                  <a:gd name="T67" fmla="*/ 144 h 255"/>
                  <a:gd name="T68" fmla="*/ 19 w 107"/>
                  <a:gd name="T69" fmla="*/ 167 h 255"/>
                  <a:gd name="T70" fmla="*/ 25 w 107"/>
                  <a:gd name="T71" fmla="*/ 179 h 255"/>
                  <a:gd name="T72" fmla="*/ 40 w 107"/>
                  <a:gd name="T73" fmla="*/ 177 h 255"/>
                  <a:gd name="T74" fmla="*/ 46 w 107"/>
                  <a:gd name="T75" fmla="*/ 167 h 255"/>
                  <a:gd name="T76" fmla="*/ 53 w 107"/>
                  <a:gd name="T77" fmla="*/ 169 h 255"/>
                  <a:gd name="T78" fmla="*/ 61 w 107"/>
                  <a:gd name="T79" fmla="*/ 179 h 255"/>
                  <a:gd name="T80" fmla="*/ 65 w 107"/>
                  <a:gd name="T81" fmla="*/ 190 h 255"/>
                  <a:gd name="T82" fmla="*/ 67 w 107"/>
                  <a:gd name="T83" fmla="*/ 211 h 255"/>
                  <a:gd name="T84" fmla="*/ 75 w 107"/>
                  <a:gd name="T85" fmla="*/ 225 h 255"/>
                  <a:gd name="T86" fmla="*/ 77 w 107"/>
                  <a:gd name="T87" fmla="*/ 232 h 255"/>
                  <a:gd name="T88" fmla="*/ 78 w 107"/>
                  <a:gd name="T89" fmla="*/ 246 h 255"/>
                  <a:gd name="T90" fmla="*/ 80 w 107"/>
                  <a:gd name="T91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7" h="255">
                    <a:moveTo>
                      <a:pt x="80" y="255"/>
                    </a:moveTo>
                    <a:lnTo>
                      <a:pt x="82" y="255"/>
                    </a:lnTo>
                    <a:lnTo>
                      <a:pt x="82" y="250"/>
                    </a:lnTo>
                    <a:lnTo>
                      <a:pt x="86" y="242"/>
                    </a:lnTo>
                    <a:lnTo>
                      <a:pt x="88" y="236"/>
                    </a:lnTo>
                    <a:lnTo>
                      <a:pt x="88" y="228"/>
                    </a:lnTo>
                    <a:lnTo>
                      <a:pt x="84" y="219"/>
                    </a:lnTo>
                    <a:lnTo>
                      <a:pt x="78" y="211"/>
                    </a:lnTo>
                    <a:lnTo>
                      <a:pt x="75" y="202"/>
                    </a:lnTo>
                    <a:lnTo>
                      <a:pt x="73" y="188"/>
                    </a:lnTo>
                    <a:lnTo>
                      <a:pt x="78" y="186"/>
                    </a:lnTo>
                    <a:lnTo>
                      <a:pt x="78" y="179"/>
                    </a:lnTo>
                    <a:lnTo>
                      <a:pt x="75" y="173"/>
                    </a:lnTo>
                    <a:lnTo>
                      <a:pt x="67" y="167"/>
                    </a:lnTo>
                    <a:lnTo>
                      <a:pt x="65" y="156"/>
                    </a:lnTo>
                    <a:lnTo>
                      <a:pt x="67" y="148"/>
                    </a:lnTo>
                    <a:lnTo>
                      <a:pt x="69" y="142"/>
                    </a:lnTo>
                    <a:lnTo>
                      <a:pt x="67" y="134"/>
                    </a:lnTo>
                    <a:lnTo>
                      <a:pt x="67" y="131"/>
                    </a:lnTo>
                    <a:lnTo>
                      <a:pt x="73" y="129"/>
                    </a:lnTo>
                    <a:lnTo>
                      <a:pt x="77" y="125"/>
                    </a:lnTo>
                    <a:lnTo>
                      <a:pt x="80" y="123"/>
                    </a:lnTo>
                    <a:lnTo>
                      <a:pt x="80" y="119"/>
                    </a:lnTo>
                    <a:lnTo>
                      <a:pt x="82" y="113"/>
                    </a:lnTo>
                    <a:lnTo>
                      <a:pt x="84" y="113"/>
                    </a:lnTo>
                    <a:lnTo>
                      <a:pt x="88" y="117"/>
                    </a:lnTo>
                    <a:lnTo>
                      <a:pt x="98" y="117"/>
                    </a:lnTo>
                    <a:lnTo>
                      <a:pt x="101" y="110"/>
                    </a:lnTo>
                    <a:lnTo>
                      <a:pt x="101" y="104"/>
                    </a:lnTo>
                    <a:lnTo>
                      <a:pt x="107" y="98"/>
                    </a:lnTo>
                    <a:lnTo>
                      <a:pt x="98" y="94"/>
                    </a:lnTo>
                    <a:lnTo>
                      <a:pt x="96" y="88"/>
                    </a:lnTo>
                    <a:lnTo>
                      <a:pt x="94" y="83"/>
                    </a:lnTo>
                    <a:lnTo>
                      <a:pt x="90" y="81"/>
                    </a:lnTo>
                    <a:lnTo>
                      <a:pt x="86" y="81"/>
                    </a:lnTo>
                    <a:lnTo>
                      <a:pt x="86" y="77"/>
                    </a:lnTo>
                    <a:lnTo>
                      <a:pt x="90" y="71"/>
                    </a:lnTo>
                    <a:lnTo>
                      <a:pt x="88" y="67"/>
                    </a:lnTo>
                    <a:lnTo>
                      <a:pt x="84" y="67"/>
                    </a:lnTo>
                    <a:lnTo>
                      <a:pt x="82" y="63"/>
                    </a:lnTo>
                    <a:lnTo>
                      <a:pt x="84" y="58"/>
                    </a:lnTo>
                    <a:lnTo>
                      <a:pt x="80" y="56"/>
                    </a:lnTo>
                    <a:lnTo>
                      <a:pt x="77" y="54"/>
                    </a:lnTo>
                    <a:lnTo>
                      <a:pt x="73" y="56"/>
                    </a:lnTo>
                    <a:lnTo>
                      <a:pt x="69" y="60"/>
                    </a:lnTo>
                    <a:lnTo>
                      <a:pt x="67" y="60"/>
                    </a:lnTo>
                    <a:lnTo>
                      <a:pt x="67" y="58"/>
                    </a:lnTo>
                    <a:lnTo>
                      <a:pt x="67" y="54"/>
                    </a:lnTo>
                    <a:lnTo>
                      <a:pt x="63" y="50"/>
                    </a:lnTo>
                    <a:lnTo>
                      <a:pt x="63" y="46"/>
                    </a:lnTo>
                    <a:lnTo>
                      <a:pt x="69" y="40"/>
                    </a:lnTo>
                    <a:lnTo>
                      <a:pt x="73" y="33"/>
                    </a:lnTo>
                    <a:lnTo>
                      <a:pt x="73" y="25"/>
                    </a:lnTo>
                    <a:lnTo>
                      <a:pt x="75" y="21"/>
                    </a:lnTo>
                    <a:lnTo>
                      <a:pt x="73" y="15"/>
                    </a:lnTo>
                    <a:lnTo>
                      <a:pt x="75" y="10"/>
                    </a:lnTo>
                    <a:lnTo>
                      <a:pt x="71" y="6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61" y="0"/>
                    </a:lnTo>
                    <a:lnTo>
                      <a:pt x="61" y="10"/>
                    </a:lnTo>
                    <a:lnTo>
                      <a:pt x="57" y="15"/>
                    </a:lnTo>
                    <a:lnTo>
                      <a:pt x="53" y="15"/>
                    </a:lnTo>
                    <a:lnTo>
                      <a:pt x="46" y="15"/>
                    </a:lnTo>
                    <a:lnTo>
                      <a:pt x="42" y="25"/>
                    </a:lnTo>
                    <a:lnTo>
                      <a:pt x="42" y="29"/>
                    </a:lnTo>
                    <a:lnTo>
                      <a:pt x="36" y="33"/>
                    </a:lnTo>
                    <a:lnTo>
                      <a:pt x="32" y="39"/>
                    </a:lnTo>
                    <a:lnTo>
                      <a:pt x="27" y="40"/>
                    </a:lnTo>
                    <a:lnTo>
                      <a:pt x="25" y="42"/>
                    </a:lnTo>
                    <a:lnTo>
                      <a:pt x="29" y="46"/>
                    </a:lnTo>
                    <a:lnTo>
                      <a:pt x="29" y="50"/>
                    </a:lnTo>
                    <a:lnTo>
                      <a:pt x="23" y="56"/>
                    </a:lnTo>
                    <a:lnTo>
                      <a:pt x="21" y="63"/>
                    </a:lnTo>
                    <a:lnTo>
                      <a:pt x="13" y="60"/>
                    </a:lnTo>
                    <a:lnTo>
                      <a:pt x="13" y="71"/>
                    </a:lnTo>
                    <a:lnTo>
                      <a:pt x="15" y="77"/>
                    </a:lnTo>
                    <a:lnTo>
                      <a:pt x="17" y="83"/>
                    </a:lnTo>
                    <a:lnTo>
                      <a:pt x="15" y="86"/>
                    </a:lnTo>
                    <a:lnTo>
                      <a:pt x="13" y="90"/>
                    </a:lnTo>
                    <a:lnTo>
                      <a:pt x="11" y="92"/>
                    </a:lnTo>
                    <a:lnTo>
                      <a:pt x="7" y="90"/>
                    </a:lnTo>
                    <a:lnTo>
                      <a:pt x="4" y="90"/>
                    </a:lnTo>
                    <a:lnTo>
                      <a:pt x="6" y="96"/>
                    </a:lnTo>
                    <a:lnTo>
                      <a:pt x="6" y="100"/>
                    </a:lnTo>
                    <a:lnTo>
                      <a:pt x="7" y="106"/>
                    </a:lnTo>
                    <a:lnTo>
                      <a:pt x="2" y="104"/>
                    </a:lnTo>
                    <a:lnTo>
                      <a:pt x="0" y="108"/>
                    </a:lnTo>
                    <a:lnTo>
                      <a:pt x="2" y="110"/>
                    </a:lnTo>
                    <a:lnTo>
                      <a:pt x="0" y="111"/>
                    </a:lnTo>
                    <a:lnTo>
                      <a:pt x="2" y="113"/>
                    </a:lnTo>
                    <a:lnTo>
                      <a:pt x="2" y="115"/>
                    </a:lnTo>
                    <a:lnTo>
                      <a:pt x="2" y="119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7" y="117"/>
                    </a:lnTo>
                    <a:lnTo>
                      <a:pt x="9" y="115"/>
                    </a:lnTo>
                    <a:lnTo>
                      <a:pt x="11" y="115"/>
                    </a:lnTo>
                    <a:lnTo>
                      <a:pt x="13" y="115"/>
                    </a:lnTo>
                    <a:lnTo>
                      <a:pt x="15" y="127"/>
                    </a:lnTo>
                    <a:lnTo>
                      <a:pt x="17" y="140"/>
                    </a:lnTo>
                    <a:lnTo>
                      <a:pt x="21" y="144"/>
                    </a:lnTo>
                    <a:lnTo>
                      <a:pt x="25" y="150"/>
                    </a:lnTo>
                    <a:lnTo>
                      <a:pt x="23" y="159"/>
                    </a:lnTo>
                    <a:lnTo>
                      <a:pt x="19" y="167"/>
                    </a:lnTo>
                    <a:lnTo>
                      <a:pt x="19" y="173"/>
                    </a:lnTo>
                    <a:lnTo>
                      <a:pt x="19" y="179"/>
                    </a:lnTo>
                    <a:lnTo>
                      <a:pt x="25" y="179"/>
                    </a:lnTo>
                    <a:lnTo>
                      <a:pt x="32" y="179"/>
                    </a:lnTo>
                    <a:lnTo>
                      <a:pt x="38" y="179"/>
                    </a:lnTo>
                    <a:lnTo>
                      <a:pt x="40" y="177"/>
                    </a:lnTo>
                    <a:lnTo>
                      <a:pt x="44" y="175"/>
                    </a:lnTo>
                    <a:lnTo>
                      <a:pt x="46" y="171"/>
                    </a:lnTo>
                    <a:lnTo>
                      <a:pt x="46" y="167"/>
                    </a:lnTo>
                    <a:lnTo>
                      <a:pt x="46" y="163"/>
                    </a:lnTo>
                    <a:lnTo>
                      <a:pt x="50" y="163"/>
                    </a:lnTo>
                    <a:lnTo>
                      <a:pt x="53" y="169"/>
                    </a:lnTo>
                    <a:lnTo>
                      <a:pt x="57" y="173"/>
                    </a:lnTo>
                    <a:lnTo>
                      <a:pt x="61" y="173"/>
                    </a:lnTo>
                    <a:lnTo>
                      <a:pt x="61" y="179"/>
                    </a:lnTo>
                    <a:lnTo>
                      <a:pt x="59" y="184"/>
                    </a:lnTo>
                    <a:lnTo>
                      <a:pt x="61" y="188"/>
                    </a:lnTo>
                    <a:lnTo>
                      <a:pt x="65" y="190"/>
                    </a:lnTo>
                    <a:lnTo>
                      <a:pt x="67" y="200"/>
                    </a:lnTo>
                    <a:lnTo>
                      <a:pt x="67" y="209"/>
                    </a:lnTo>
                    <a:lnTo>
                      <a:pt x="67" y="211"/>
                    </a:lnTo>
                    <a:lnTo>
                      <a:pt x="69" y="215"/>
                    </a:lnTo>
                    <a:lnTo>
                      <a:pt x="73" y="215"/>
                    </a:lnTo>
                    <a:lnTo>
                      <a:pt x="75" y="225"/>
                    </a:lnTo>
                    <a:lnTo>
                      <a:pt x="75" y="232"/>
                    </a:lnTo>
                    <a:lnTo>
                      <a:pt x="77" y="232"/>
                    </a:lnTo>
                    <a:lnTo>
                      <a:pt x="77" y="232"/>
                    </a:lnTo>
                    <a:lnTo>
                      <a:pt x="75" y="240"/>
                    </a:lnTo>
                    <a:lnTo>
                      <a:pt x="73" y="244"/>
                    </a:lnTo>
                    <a:lnTo>
                      <a:pt x="78" y="246"/>
                    </a:lnTo>
                    <a:lnTo>
                      <a:pt x="78" y="250"/>
                    </a:lnTo>
                    <a:lnTo>
                      <a:pt x="80" y="253"/>
                    </a:lnTo>
                    <a:lnTo>
                      <a:pt x="80" y="25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3" name="Freeform 221"/>
              <p:cNvSpPr>
                <a:spLocks/>
              </p:cNvSpPr>
              <p:nvPr/>
            </p:nvSpPr>
            <p:spPr bwMode="gray">
              <a:xfrm>
                <a:off x="4216333" y="4059239"/>
                <a:ext cx="146034" cy="146050"/>
              </a:xfrm>
              <a:custGeom>
                <a:avLst/>
                <a:gdLst>
                  <a:gd name="T0" fmla="*/ 60 w 92"/>
                  <a:gd name="T1" fmla="*/ 65 h 92"/>
                  <a:gd name="T2" fmla="*/ 50 w 92"/>
                  <a:gd name="T3" fmla="*/ 67 h 92"/>
                  <a:gd name="T4" fmla="*/ 39 w 92"/>
                  <a:gd name="T5" fmla="*/ 71 h 92"/>
                  <a:gd name="T6" fmla="*/ 37 w 92"/>
                  <a:gd name="T7" fmla="*/ 78 h 92"/>
                  <a:gd name="T8" fmla="*/ 37 w 92"/>
                  <a:gd name="T9" fmla="*/ 88 h 92"/>
                  <a:gd name="T10" fmla="*/ 33 w 92"/>
                  <a:gd name="T11" fmla="*/ 92 h 92"/>
                  <a:gd name="T12" fmla="*/ 25 w 92"/>
                  <a:gd name="T13" fmla="*/ 88 h 92"/>
                  <a:gd name="T14" fmla="*/ 21 w 92"/>
                  <a:gd name="T15" fmla="*/ 84 h 92"/>
                  <a:gd name="T16" fmla="*/ 12 w 92"/>
                  <a:gd name="T17" fmla="*/ 88 h 92"/>
                  <a:gd name="T18" fmla="*/ 0 w 92"/>
                  <a:gd name="T19" fmla="*/ 82 h 92"/>
                  <a:gd name="T20" fmla="*/ 2 w 92"/>
                  <a:gd name="T21" fmla="*/ 71 h 92"/>
                  <a:gd name="T22" fmla="*/ 2 w 92"/>
                  <a:gd name="T23" fmla="*/ 65 h 92"/>
                  <a:gd name="T24" fmla="*/ 4 w 92"/>
                  <a:gd name="T25" fmla="*/ 59 h 92"/>
                  <a:gd name="T26" fmla="*/ 8 w 92"/>
                  <a:gd name="T27" fmla="*/ 53 h 92"/>
                  <a:gd name="T28" fmla="*/ 12 w 92"/>
                  <a:gd name="T29" fmla="*/ 55 h 92"/>
                  <a:gd name="T30" fmla="*/ 14 w 92"/>
                  <a:gd name="T31" fmla="*/ 44 h 92"/>
                  <a:gd name="T32" fmla="*/ 20 w 92"/>
                  <a:gd name="T33" fmla="*/ 38 h 92"/>
                  <a:gd name="T34" fmla="*/ 29 w 92"/>
                  <a:gd name="T35" fmla="*/ 34 h 92"/>
                  <a:gd name="T36" fmla="*/ 35 w 92"/>
                  <a:gd name="T37" fmla="*/ 29 h 92"/>
                  <a:gd name="T38" fmla="*/ 39 w 92"/>
                  <a:gd name="T39" fmla="*/ 21 h 92"/>
                  <a:gd name="T40" fmla="*/ 44 w 92"/>
                  <a:gd name="T41" fmla="*/ 17 h 92"/>
                  <a:gd name="T42" fmla="*/ 50 w 92"/>
                  <a:gd name="T43" fmla="*/ 7 h 92"/>
                  <a:gd name="T44" fmla="*/ 56 w 92"/>
                  <a:gd name="T45" fmla="*/ 4 h 92"/>
                  <a:gd name="T46" fmla="*/ 58 w 92"/>
                  <a:gd name="T47" fmla="*/ 2 h 92"/>
                  <a:gd name="T48" fmla="*/ 60 w 92"/>
                  <a:gd name="T49" fmla="*/ 2 h 92"/>
                  <a:gd name="T50" fmla="*/ 66 w 92"/>
                  <a:gd name="T51" fmla="*/ 2 h 92"/>
                  <a:gd name="T52" fmla="*/ 69 w 92"/>
                  <a:gd name="T53" fmla="*/ 7 h 92"/>
                  <a:gd name="T54" fmla="*/ 71 w 92"/>
                  <a:gd name="T55" fmla="*/ 17 h 92"/>
                  <a:gd name="T56" fmla="*/ 79 w 92"/>
                  <a:gd name="T57" fmla="*/ 29 h 92"/>
                  <a:gd name="T58" fmla="*/ 87 w 92"/>
                  <a:gd name="T59" fmla="*/ 38 h 92"/>
                  <a:gd name="T60" fmla="*/ 89 w 92"/>
                  <a:gd name="T61" fmla="*/ 44 h 92"/>
                  <a:gd name="T62" fmla="*/ 92 w 92"/>
                  <a:gd name="T63" fmla="*/ 57 h 92"/>
                  <a:gd name="T64" fmla="*/ 91 w 92"/>
                  <a:gd name="T65" fmla="*/ 61 h 92"/>
                  <a:gd name="T66" fmla="*/ 85 w 92"/>
                  <a:gd name="T67" fmla="*/ 65 h 92"/>
                  <a:gd name="T68" fmla="*/ 83 w 92"/>
                  <a:gd name="T69" fmla="*/ 69 h 92"/>
                  <a:gd name="T70" fmla="*/ 81 w 92"/>
                  <a:gd name="T71" fmla="*/ 69 h 92"/>
                  <a:gd name="T72" fmla="*/ 75 w 92"/>
                  <a:gd name="T73" fmla="*/ 67 h 92"/>
                  <a:gd name="T74" fmla="*/ 69 w 92"/>
                  <a:gd name="T75" fmla="*/ 67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92" h="92">
                    <a:moveTo>
                      <a:pt x="69" y="67"/>
                    </a:moveTo>
                    <a:lnTo>
                      <a:pt x="60" y="65"/>
                    </a:lnTo>
                    <a:lnTo>
                      <a:pt x="60" y="69"/>
                    </a:lnTo>
                    <a:lnTo>
                      <a:pt x="50" y="67"/>
                    </a:lnTo>
                    <a:lnTo>
                      <a:pt x="41" y="67"/>
                    </a:lnTo>
                    <a:lnTo>
                      <a:pt x="39" y="71"/>
                    </a:lnTo>
                    <a:lnTo>
                      <a:pt x="37" y="75"/>
                    </a:lnTo>
                    <a:lnTo>
                      <a:pt x="37" y="78"/>
                    </a:lnTo>
                    <a:lnTo>
                      <a:pt x="39" y="82"/>
                    </a:lnTo>
                    <a:lnTo>
                      <a:pt x="37" y="88"/>
                    </a:lnTo>
                    <a:lnTo>
                      <a:pt x="37" y="90"/>
                    </a:lnTo>
                    <a:lnTo>
                      <a:pt x="33" y="92"/>
                    </a:lnTo>
                    <a:lnTo>
                      <a:pt x="27" y="92"/>
                    </a:lnTo>
                    <a:lnTo>
                      <a:pt x="25" y="88"/>
                    </a:lnTo>
                    <a:lnTo>
                      <a:pt x="25" y="86"/>
                    </a:lnTo>
                    <a:lnTo>
                      <a:pt x="21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0" y="82"/>
                    </a:lnTo>
                    <a:lnTo>
                      <a:pt x="0" y="82"/>
                    </a:lnTo>
                    <a:lnTo>
                      <a:pt x="0" y="77"/>
                    </a:lnTo>
                    <a:lnTo>
                      <a:pt x="2" y="71"/>
                    </a:lnTo>
                    <a:lnTo>
                      <a:pt x="4" y="69"/>
                    </a:lnTo>
                    <a:lnTo>
                      <a:pt x="2" y="65"/>
                    </a:lnTo>
                    <a:lnTo>
                      <a:pt x="2" y="61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8" y="53"/>
                    </a:lnTo>
                    <a:lnTo>
                      <a:pt x="10" y="53"/>
                    </a:lnTo>
                    <a:lnTo>
                      <a:pt x="12" y="55"/>
                    </a:lnTo>
                    <a:lnTo>
                      <a:pt x="12" y="52"/>
                    </a:lnTo>
                    <a:lnTo>
                      <a:pt x="14" y="44"/>
                    </a:lnTo>
                    <a:lnTo>
                      <a:pt x="16" y="40"/>
                    </a:lnTo>
                    <a:lnTo>
                      <a:pt x="20" y="38"/>
                    </a:lnTo>
                    <a:lnTo>
                      <a:pt x="23" y="36"/>
                    </a:lnTo>
                    <a:lnTo>
                      <a:pt x="29" y="34"/>
                    </a:lnTo>
                    <a:lnTo>
                      <a:pt x="33" y="32"/>
                    </a:lnTo>
                    <a:lnTo>
                      <a:pt x="35" y="29"/>
                    </a:lnTo>
                    <a:lnTo>
                      <a:pt x="35" y="25"/>
                    </a:lnTo>
                    <a:lnTo>
                      <a:pt x="39" y="21"/>
                    </a:lnTo>
                    <a:lnTo>
                      <a:pt x="43" y="19"/>
                    </a:lnTo>
                    <a:lnTo>
                      <a:pt x="44" y="17"/>
                    </a:lnTo>
                    <a:lnTo>
                      <a:pt x="46" y="11"/>
                    </a:lnTo>
                    <a:lnTo>
                      <a:pt x="50" y="7"/>
                    </a:lnTo>
                    <a:lnTo>
                      <a:pt x="54" y="7"/>
                    </a:lnTo>
                    <a:lnTo>
                      <a:pt x="56" y="4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60" y="0"/>
                    </a:lnTo>
                    <a:lnTo>
                      <a:pt x="60" y="2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8" y="6"/>
                    </a:lnTo>
                    <a:lnTo>
                      <a:pt x="69" y="7"/>
                    </a:lnTo>
                    <a:lnTo>
                      <a:pt x="66" y="11"/>
                    </a:lnTo>
                    <a:lnTo>
                      <a:pt x="71" y="17"/>
                    </a:lnTo>
                    <a:lnTo>
                      <a:pt x="81" y="23"/>
                    </a:lnTo>
                    <a:lnTo>
                      <a:pt x="79" y="29"/>
                    </a:lnTo>
                    <a:lnTo>
                      <a:pt x="85" y="40"/>
                    </a:lnTo>
                    <a:lnTo>
                      <a:pt x="87" y="38"/>
                    </a:lnTo>
                    <a:lnTo>
                      <a:pt x="89" y="40"/>
                    </a:lnTo>
                    <a:lnTo>
                      <a:pt x="89" y="44"/>
                    </a:lnTo>
                    <a:lnTo>
                      <a:pt x="89" y="46"/>
                    </a:lnTo>
                    <a:lnTo>
                      <a:pt x="92" y="57"/>
                    </a:lnTo>
                    <a:lnTo>
                      <a:pt x="92" y="59"/>
                    </a:lnTo>
                    <a:lnTo>
                      <a:pt x="91" y="61"/>
                    </a:lnTo>
                    <a:lnTo>
                      <a:pt x="87" y="63"/>
                    </a:lnTo>
                    <a:lnTo>
                      <a:pt x="85" y="65"/>
                    </a:lnTo>
                    <a:lnTo>
                      <a:pt x="85" y="67"/>
                    </a:lnTo>
                    <a:lnTo>
                      <a:pt x="83" y="69"/>
                    </a:lnTo>
                    <a:lnTo>
                      <a:pt x="81" y="69"/>
                    </a:lnTo>
                    <a:lnTo>
                      <a:pt x="81" y="69"/>
                    </a:lnTo>
                    <a:lnTo>
                      <a:pt x="79" y="69"/>
                    </a:lnTo>
                    <a:lnTo>
                      <a:pt x="75" y="67"/>
                    </a:lnTo>
                    <a:lnTo>
                      <a:pt x="71" y="67"/>
                    </a:lnTo>
                    <a:lnTo>
                      <a:pt x="69" y="6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4" name="Freeform 222"/>
              <p:cNvSpPr>
                <a:spLocks/>
              </p:cNvSpPr>
              <p:nvPr/>
            </p:nvSpPr>
            <p:spPr bwMode="gray">
              <a:xfrm>
                <a:off x="4783008" y="3316289"/>
                <a:ext cx="115875" cy="87313"/>
              </a:xfrm>
              <a:custGeom>
                <a:avLst/>
                <a:gdLst>
                  <a:gd name="T0" fmla="*/ 71 w 73"/>
                  <a:gd name="T1" fmla="*/ 3 h 55"/>
                  <a:gd name="T2" fmla="*/ 66 w 73"/>
                  <a:gd name="T3" fmla="*/ 1 h 55"/>
                  <a:gd name="T4" fmla="*/ 54 w 73"/>
                  <a:gd name="T5" fmla="*/ 3 h 55"/>
                  <a:gd name="T6" fmla="*/ 46 w 73"/>
                  <a:gd name="T7" fmla="*/ 1 h 55"/>
                  <a:gd name="T8" fmla="*/ 41 w 73"/>
                  <a:gd name="T9" fmla="*/ 7 h 55"/>
                  <a:gd name="T10" fmla="*/ 29 w 73"/>
                  <a:gd name="T11" fmla="*/ 9 h 55"/>
                  <a:gd name="T12" fmla="*/ 21 w 73"/>
                  <a:gd name="T13" fmla="*/ 7 h 55"/>
                  <a:gd name="T14" fmla="*/ 14 w 73"/>
                  <a:gd name="T15" fmla="*/ 9 h 55"/>
                  <a:gd name="T16" fmla="*/ 12 w 73"/>
                  <a:gd name="T17" fmla="*/ 5 h 55"/>
                  <a:gd name="T18" fmla="*/ 12 w 73"/>
                  <a:gd name="T19" fmla="*/ 1 h 55"/>
                  <a:gd name="T20" fmla="*/ 8 w 73"/>
                  <a:gd name="T21" fmla="*/ 3 h 55"/>
                  <a:gd name="T22" fmla="*/ 0 w 73"/>
                  <a:gd name="T23" fmla="*/ 9 h 55"/>
                  <a:gd name="T24" fmla="*/ 2 w 73"/>
                  <a:gd name="T25" fmla="*/ 17 h 55"/>
                  <a:gd name="T26" fmla="*/ 4 w 73"/>
                  <a:gd name="T27" fmla="*/ 24 h 55"/>
                  <a:gd name="T28" fmla="*/ 2 w 73"/>
                  <a:gd name="T29" fmla="*/ 34 h 55"/>
                  <a:gd name="T30" fmla="*/ 6 w 73"/>
                  <a:gd name="T31" fmla="*/ 44 h 55"/>
                  <a:gd name="T32" fmla="*/ 8 w 73"/>
                  <a:gd name="T33" fmla="*/ 53 h 55"/>
                  <a:gd name="T34" fmla="*/ 16 w 73"/>
                  <a:gd name="T35" fmla="*/ 55 h 55"/>
                  <a:gd name="T36" fmla="*/ 23 w 73"/>
                  <a:gd name="T37" fmla="*/ 51 h 55"/>
                  <a:gd name="T38" fmla="*/ 31 w 73"/>
                  <a:gd name="T39" fmla="*/ 49 h 55"/>
                  <a:gd name="T40" fmla="*/ 35 w 73"/>
                  <a:gd name="T41" fmla="*/ 53 h 55"/>
                  <a:gd name="T42" fmla="*/ 43 w 73"/>
                  <a:gd name="T43" fmla="*/ 53 h 55"/>
                  <a:gd name="T44" fmla="*/ 46 w 73"/>
                  <a:gd name="T45" fmla="*/ 53 h 55"/>
                  <a:gd name="T46" fmla="*/ 46 w 73"/>
                  <a:gd name="T47" fmla="*/ 51 h 55"/>
                  <a:gd name="T48" fmla="*/ 50 w 73"/>
                  <a:gd name="T49" fmla="*/ 47 h 55"/>
                  <a:gd name="T50" fmla="*/ 52 w 73"/>
                  <a:gd name="T51" fmla="*/ 46 h 55"/>
                  <a:gd name="T52" fmla="*/ 58 w 73"/>
                  <a:gd name="T53" fmla="*/ 46 h 55"/>
                  <a:gd name="T54" fmla="*/ 62 w 73"/>
                  <a:gd name="T55" fmla="*/ 46 h 55"/>
                  <a:gd name="T56" fmla="*/ 58 w 73"/>
                  <a:gd name="T57" fmla="*/ 38 h 55"/>
                  <a:gd name="T58" fmla="*/ 67 w 73"/>
                  <a:gd name="T59" fmla="*/ 21 h 55"/>
                  <a:gd name="T60" fmla="*/ 71 w 73"/>
                  <a:gd name="T61" fmla="*/ 11 h 55"/>
                  <a:gd name="T62" fmla="*/ 73 w 73"/>
                  <a:gd name="T63" fmla="*/ 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3" h="55">
                    <a:moveTo>
                      <a:pt x="73" y="5"/>
                    </a:moveTo>
                    <a:lnTo>
                      <a:pt x="71" y="3"/>
                    </a:lnTo>
                    <a:lnTo>
                      <a:pt x="67" y="1"/>
                    </a:lnTo>
                    <a:lnTo>
                      <a:pt x="66" y="1"/>
                    </a:lnTo>
                    <a:lnTo>
                      <a:pt x="60" y="3"/>
                    </a:lnTo>
                    <a:lnTo>
                      <a:pt x="54" y="3"/>
                    </a:lnTo>
                    <a:lnTo>
                      <a:pt x="50" y="0"/>
                    </a:lnTo>
                    <a:lnTo>
                      <a:pt x="46" y="1"/>
                    </a:lnTo>
                    <a:lnTo>
                      <a:pt x="43" y="5"/>
                    </a:lnTo>
                    <a:lnTo>
                      <a:pt x="41" y="7"/>
                    </a:lnTo>
                    <a:lnTo>
                      <a:pt x="35" y="7"/>
                    </a:lnTo>
                    <a:lnTo>
                      <a:pt x="29" y="9"/>
                    </a:lnTo>
                    <a:lnTo>
                      <a:pt x="25" y="7"/>
                    </a:lnTo>
                    <a:lnTo>
                      <a:pt x="21" y="7"/>
                    </a:lnTo>
                    <a:lnTo>
                      <a:pt x="18" y="9"/>
                    </a:lnTo>
                    <a:lnTo>
                      <a:pt x="14" y="9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8" y="1"/>
                    </a:lnTo>
                    <a:lnTo>
                      <a:pt x="8" y="3"/>
                    </a:lnTo>
                    <a:lnTo>
                      <a:pt x="4" y="7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6" y="21"/>
                    </a:lnTo>
                    <a:lnTo>
                      <a:pt x="4" y="24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7"/>
                    </a:lnTo>
                    <a:lnTo>
                      <a:pt x="8" y="53"/>
                    </a:lnTo>
                    <a:lnTo>
                      <a:pt x="12" y="53"/>
                    </a:lnTo>
                    <a:lnTo>
                      <a:pt x="16" y="55"/>
                    </a:lnTo>
                    <a:lnTo>
                      <a:pt x="21" y="53"/>
                    </a:lnTo>
                    <a:lnTo>
                      <a:pt x="23" y="51"/>
                    </a:lnTo>
                    <a:lnTo>
                      <a:pt x="27" y="47"/>
                    </a:lnTo>
                    <a:lnTo>
                      <a:pt x="31" y="49"/>
                    </a:lnTo>
                    <a:lnTo>
                      <a:pt x="35" y="51"/>
                    </a:lnTo>
                    <a:lnTo>
                      <a:pt x="35" y="53"/>
                    </a:lnTo>
                    <a:lnTo>
                      <a:pt x="37" y="53"/>
                    </a:lnTo>
                    <a:lnTo>
                      <a:pt x="43" y="53"/>
                    </a:lnTo>
                    <a:lnTo>
                      <a:pt x="44" y="53"/>
                    </a:lnTo>
                    <a:lnTo>
                      <a:pt x="46" y="53"/>
                    </a:lnTo>
                    <a:lnTo>
                      <a:pt x="46" y="53"/>
                    </a:lnTo>
                    <a:lnTo>
                      <a:pt x="46" y="51"/>
                    </a:lnTo>
                    <a:lnTo>
                      <a:pt x="48" y="47"/>
                    </a:lnTo>
                    <a:lnTo>
                      <a:pt x="50" y="47"/>
                    </a:lnTo>
                    <a:lnTo>
                      <a:pt x="50" y="47"/>
                    </a:lnTo>
                    <a:lnTo>
                      <a:pt x="52" y="46"/>
                    </a:lnTo>
                    <a:lnTo>
                      <a:pt x="54" y="44"/>
                    </a:lnTo>
                    <a:lnTo>
                      <a:pt x="58" y="46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0" y="42"/>
                    </a:lnTo>
                    <a:lnTo>
                      <a:pt x="58" y="38"/>
                    </a:lnTo>
                    <a:lnTo>
                      <a:pt x="62" y="30"/>
                    </a:lnTo>
                    <a:lnTo>
                      <a:pt x="67" y="21"/>
                    </a:lnTo>
                    <a:lnTo>
                      <a:pt x="71" y="19"/>
                    </a:lnTo>
                    <a:lnTo>
                      <a:pt x="71" y="11"/>
                    </a:lnTo>
                    <a:lnTo>
                      <a:pt x="73" y="5"/>
                    </a:lnTo>
                    <a:lnTo>
                      <a:pt x="73" y="5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5" name="Freeform 223"/>
              <p:cNvSpPr>
                <a:spLocks/>
              </p:cNvSpPr>
              <p:nvPr/>
            </p:nvSpPr>
            <p:spPr bwMode="gray">
              <a:xfrm>
                <a:off x="6589382" y="4341814"/>
                <a:ext cx="28572" cy="22225"/>
              </a:xfrm>
              <a:custGeom>
                <a:avLst/>
                <a:gdLst>
                  <a:gd name="T0" fmla="*/ 0 w 18"/>
                  <a:gd name="T1" fmla="*/ 8 h 14"/>
                  <a:gd name="T2" fmla="*/ 4 w 18"/>
                  <a:gd name="T3" fmla="*/ 14 h 14"/>
                  <a:gd name="T4" fmla="*/ 8 w 18"/>
                  <a:gd name="T5" fmla="*/ 12 h 14"/>
                  <a:gd name="T6" fmla="*/ 10 w 18"/>
                  <a:gd name="T7" fmla="*/ 10 h 14"/>
                  <a:gd name="T8" fmla="*/ 12 w 18"/>
                  <a:gd name="T9" fmla="*/ 8 h 14"/>
                  <a:gd name="T10" fmla="*/ 16 w 18"/>
                  <a:gd name="T11" fmla="*/ 10 h 14"/>
                  <a:gd name="T12" fmla="*/ 18 w 18"/>
                  <a:gd name="T13" fmla="*/ 8 h 14"/>
                  <a:gd name="T14" fmla="*/ 14 w 18"/>
                  <a:gd name="T15" fmla="*/ 0 h 14"/>
                  <a:gd name="T16" fmla="*/ 10 w 18"/>
                  <a:gd name="T17" fmla="*/ 0 h 14"/>
                  <a:gd name="T18" fmla="*/ 6 w 18"/>
                  <a:gd name="T19" fmla="*/ 2 h 14"/>
                  <a:gd name="T20" fmla="*/ 4 w 18"/>
                  <a:gd name="T21" fmla="*/ 6 h 14"/>
                  <a:gd name="T22" fmla="*/ 4 w 18"/>
                  <a:gd name="T23" fmla="*/ 8 h 14"/>
                  <a:gd name="T24" fmla="*/ 2 w 18"/>
                  <a:gd name="T25" fmla="*/ 8 h 14"/>
                  <a:gd name="T26" fmla="*/ 0 w 18"/>
                  <a:gd name="T27" fmla="*/ 8 h 14"/>
                  <a:gd name="T28" fmla="*/ 0 w 18"/>
                  <a:gd name="T29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" h="14">
                    <a:moveTo>
                      <a:pt x="0" y="8"/>
                    </a:moveTo>
                    <a:lnTo>
                      <a:pt x="4" y="14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6" y="10"/>
                    </a:lnTo>
                    <a:lnTo>
                      <a:pt x="18" y="8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6" name="Freeform 224"/>
              <p:cNvSpPr>
                <a:spLocks noEditPoints="1"/>
              </p:cNvSpPr>
              <p:nvPr/>
            </p:nvSpPr>
            <p:spPr bwMode="gray">
              <a:xfrm>
                <a:off x="2852823" y="4332289"/>
                <a:ext cx="788900" cy="973138"/>
              </a:xfrm>
              <a:custGeom>
                <a:avLst/>
                <a:gdLst>
                  <a:gd name="T0" fmla="*/ 307 w 497"/>
                  <a:gd name="T1" fmla="*/ 48 h 613"/>
                  <a:gd name="T2" fmla="*/ 303 w 497"/>
                  <a:gd name="T3" fmla="*/ 75 h 613"/>
                  <a:gd name="T4" fmla="*/ 324 w 497"/>
                  <a:gd name="T5" fmla="*/ 89 h 613"/>
                  <a:gd name="T6" fmla="*/ 364 w 497"/>
                  <a:gd name="T7" fmla="*/ 104 h 613"/>
                  <a:gd name="T8" fmla="*/ 378 w 497"/>
                  <a:gd name="T9" fmla="*/ 125 h 613"/>
                  <a:gd name="T10" fmla="*/ 401 w 497"/>
                  <a:gd name="T11" fmla="*/ 123 h 613"/>
                  <a:gd name="T12" fmla="*/ 458 w 497"/>
                  <a:gd name="T13" fmla="*/ 148 h 613"/>
                  <a:gd name="T14" fmla="*/ 485 w 497"/>
                  <a:gd name="T15" fmla="*/ 166 h 613"/>
                  <a:gd name="T16" fmla="*/ 477 w 497"/>
                  <a:gd name="T17" fmla="*/ 238 h 613"/>
                  <a:gd name="T18" fmla="*/ 443 w 497"/>
                  <a:gd name="T19" fmla="*/ 284 h 613"/>
                  <a:gd name="T20" fmla="*/ 443 w 497"/>
                  <a:gd name="T21" fmla="*/ 327 h 613"/>
                  <a:gd name="T22" fmla="*/ 433 w 497"/>
                  <a:gd name="T23" fmla="*/ 363 h 613"/>
                  <a:gd name="T24" fmla="*/ 406 w 497"/>
                  <a:gd name="T25" fmla="*/ 432 h 613"/>
                  <a:gd name="T26" fmla="*/ 372 w 497"/>
                  <a:gd name="T27" fmla="*/ 442 h 613"/>
                  <a:gd name="T28" fmla="*/ 328 w 497"/>
                  <a:gd name="T29" fmla="*/ 473 h 613"/>
                  <a:gd name="T30" fmla="*/ 318 w 497"/>
                  <a:gd name="T31" fmla="*/ 496 h 613"/>
                  <a:gd name="T32" fmla="*/ 295 w 497"/>
                  <a:gd name="T33" fmla="*/ 576 h 613"/>
                  <a:gd name="T34" fmla="*/ 287 w 497"/>
                  <a:gd name="T35" fmla="*/ 565 h 613"/>
                  <a:gd name="T36" fmla="*/ 264 w 497"/>
                  <a:gd name="T37" fmla="*/ 613 h 613"/>
                  <a:gd name="T38" fmla="*/ 247 w 497"/>
                  <a:gd name="T39" fmla="*/ 582 h 613"/>
                  <a:gd name="T40" fmla="*/ 209 w 497"/>
                  <a:gd name="T41" fmla="*/ 559 h 613"/>
                  <a:gd name="T42" fmla="*/ 230 w 497"/>
                  <a:gd name="T43" fmla="*/ 528 h 613"/>
                  <a:gd name="T44" fmla="*/ 257 w 497"/>
                  <a:gd name="T45" fmla="*/ 503 h 613"/>
                  <a:gd name="T46" fmla="*/ 245 w 497"/>
                  <a:gd name="T47" fmla="*/ 478 h 613"/>
                  <a:gd name="T48" fmla="*/ 238 w 497"/>
                  <a:gd name="T49" fmla="*/ 446 h 613"/>
                  <a:gd name="T50" fmla="*/ 228 w 497"/>
                  <a:gd name="T51" fmla="*/ 421 h 613"/>
                  <a:gd name="T52" fmla="*/ 207 w 497"/>
                  <a:gd name="T53" fmla="*/ 394 h 613"/>
                  <a:gd name="T54" fmla="*/ 207 w 497"/>
                  <a:gd name="T55" fmla="*/ 359 h 613"/>
                  <a:gd name="T56" fmla="*/ 178 w 497"/>
                  <a:gd name="T57" fmla="*/ 332 h 613"/>
                  <a:gd name="T58" fmla="*/ 174 w 497"/>
                  <a:gd name="T59" fmla="*/ 300 h 613"/>
                  <a:gd name="T60" fmla="*/ 144 w 497"/>
                  <a:gd name="T61" fmla="*/ 283 h 613"/>
                  <a:gd name="T62" fmla="*/ 113 w 497"/>
                  <a:gd name="T63" fmla="*/ 267 h 613"/>
                  <a:gd name="T64" fmla="*/ 88 w 497"/>
                  <a:gd name="T65" fmla="*/ 246 h 613"/>
                  <a:gd name="T66" fmla="*/ 63 w 497"/>
                  <a:gd name="T67" fmla="*/ 269 h 613"/>
                  <a:gd name="T68" fmla="*/ 36 w 497"/>
                  <a:gd name="T69" fmla="*/ 227 h 613"/>
                  <a:gd name="T70" fmla="*/ 1 w 497"/>
                  <a:gd name="T71" fmla="*/ 210 h 613"/>
                  <a:gd name="T72" fmla="*/ 5 w 497"/>
                  <a:gd name="T73" fmla="*/ 187 h 613"/>
                  <a:gd name="T74" fmla="*/ 28 w 497"/>
                  <a:gd name="T75" fmla="*/ 150 h 613"/>
                  <a:gd name="T76" fmla="*/ 61 w 497"/>
                  <a:gd name="T77" fmla="*/ 104 h 613"/>
                  <a:gd name="T78" fmla="*/ 55 w 497"/>
                  <a:gd name="T79" fmla="*/ 83 h 613"/>
                  <a:gd name="T80" fmla="*/ 88 w 497"/>
                  <a:gd name="T81" fmla="*/ 68 h 613"/>
                  <a:gd name="T82" fmla="*/ 117 w 497"/>
                  <a:gd name="T83" fmla="*/ 66 h 613"/>
                  <a:gd name="T84" fmla="*/ 138 w 497"/>
                  <a:gd name="T85" fmla="*/ 47 h 613"/>
                  <a:gd name="T86" fmla="*/ 120 w 497"/>
                  <a:gd name="T87" fmla="*/ 29 h 613"/>
                  <a:gd name="T88" fmla="*/ 122 w 497"/>
                  <a:gd name="T89" fmla="*/ 18 h 613"/>
                  <a:gd name="T90" fmla="*/ 144 w 497"/>
                  <a:gd name="T91" fmla="*/ 18 h 613"/>
                  <a:gd name="T92" fmla="*/ 167 w 497"/>
                  <a:gd name="T93" fmla="*/ 10 h 613"/>
                  <a:gd name="T94" fmla="*/ 178 w 497"/>
                  <a:gd name="T95" fmla="*/ 10 h 613"/>
                  <a:gd name="T96" fmla="*/ 178 w 497"/>
                  <a:gd name="T97" fmla="*/ 29 h 613"/>
                  <a:gd name="T98" fmla="*/ 191 w 497"/>
                  <a:gd name="T99" fmla="*/ 66 h 613"/>
                  <a:gd name="T100" fmla="*/ 213 w 497"/>
                  <a:gd name="T101" fmla="*/ 56 h 613"/>
                  <a:gd name="T102" fmla="*/ 241 w 497"/>
                  <a:gd name="T103" fmla="*/ 45 h 613"/>
                  <a:gd name="T104" fmla="*/ 274 w 497"/>
                  <a:gd name="T105" fmla="*/ 48 h 613"/>
                  <a:gd name="T106" fmla="*/ 324 w 497"/>
                  <a:gd name="T107" fmla="*/ 100 h 613"/>
                  <a:gd name="T108" fmla="*/ 314 w 497"/>
                  <a:gd name="T109" fmla="*/ 110 h 613"/>
                  <a:gd name="T110" fmla="*/ 297 w 497"/>
                  <a:gd name="T111" fmla="*/ 81 h 613"/>
                  <a:gd name="T112" fmla="*/ 301 w 497"/>
                  <a:gd name="T113" fmla="*/ 110 h 613"/>
                  <a:gd name="T114" fmla="*/ 287 w 497"/>
                  <a:gd name="T115" fmla="*/ 108 h 613"/>
                  <a:gd name="T116" fmla="*/ 280 w 497"/>
                  <a:gd name="T117" fmla="*/ 95 h 613"/>
                  <a:gd name="T118" fmla="*/ 303 w 497"/>
                  <a:gd name="T119" fmla="*/ 68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97" h="613">
                    <a:moveTo>
                      <a:pt x="284" y="14"/>
                    </a:moveTo>
                    <a:lnTo>
                      <a:pt x="289" y="14"/>
                    </a:lnTo>
                    <a:lnTo>
                      <a:pt x="291" y="20"/>
                    </a:lnTo>
                    <a:lnTo>
                      <a:pt x="293" y="22"/>
                    </a:lnTo>
                    <a:lnTo>
                      <a:pt x="295" y="35"/>
                    </a:lnTo>
                    <a:lnTo>
                      <a:pt x="299" y="48"/>
                    </a:lnTo>
                    <a:lnTo>
                      <a:pt x="303" y="48"/>
                    </a:lnTo>
                    <a:lnTo>
                      <a:pt x="307" y="48"/>
                    </a:lnTo>
                    <a:lnTo>
                      <a:pt x="307" y="52"/>
                    </a:lnTo>
                    <a:lnTo>
                      <a:pt x="307" y="54"/>
                    </a:lnTo>
                    <a:lnTo>
                      <a:pt x="301" y="58"/>
                    </a:lnTo>
                    <a:lnTo>
                      <a:pt x="297" y="60"/>
                    </a:lnTo>
                    <a:lnTo>
                      <a:pt x="305" y="64"/>
                    </a:lnTo>
                    <a:lnTo>
                      <a:pt x="307" y="66"/>
                    </a:lnTo>
                    <a:lnTo>
                      <a:pt x="307" y="68"/>
                    </a:lnTo>
                    <a:lnTo>
                      <a:pt x="303" y="75"/>
                    </a:lnTo>
                    <a:lnTo>
                      <a:pt x="305" y="77"/>
                    </a:lnTo>
                    <a:lnTo>
                      <a:pt x="307" y="79"/>
                    </a:lnTo>
                    <a:lnTo>
                      <a:pt x="310" y="79"/>
                    </a:lnTo>
                    <a:lnTo>
                      <a:pt x="316" y="77"/>
                    </a:lnTo>
                    <a:lnTo>
                      <a:pt x="314" y="83"/>
                    </a:lnTo>
                    <a:lnTo>
                      <a:pt x="320" y="83"/>
                    </a:lnTo>
                    <a:lnTo>
                      <a:pt x="326" y="83"/>
                    </a:lnTo>
                    <a:lnTo>
                      <a:pt x="324" y="89"/>
                    </a:lnTo>
                    <a:lnTo>
                      <a:pt x="326" y="96"/>
                    </a:lnTo>
                    <a:lnTo>
                      <a:pt x="330" y="96"/>
                    </a:lnTo>
                    <a:lnTo>
                      <a:pt x="332" y="91"/>
                    </a:lnTo>
                    <a:lnTo>
                      <a:pt x="339" y="91"/>
                    </a:lnTo>
                    <a:lnTo>
                      <a:pt x="349" y="93"/>
                    </a:lnTo>
                    <a:lnTo>
                      <a:pt x="358" y="96"/>
                    </a:lnTo>
                    <a:lnTo>
                      <a:pt x="364" y="100"/>
                    </a:lnTo>
                    <a:lnTo>
                      <a:pt x="364" y="104"/>
                    </a:lnTo>
                    <a:lnTo>
                      <a:pt x="366" y="104"/>
                    </a:lnTo>
                    <a:lnTo>
                      <a:pt x="370" y="102"/>
                    </a:lnTo>
                    <a:lnTo>
                      <a:pt x="372" y="110"/>
                    </a:lnTo>
                    <a:lnTo>
                      <a:pt x="376" y="110"/>
                    </a:lnTo>
                    <a:lnTo>
                      <a:pt x="376" y="114"/>
                    </a:lnTo>
                    <a:lnTo>
                      <a:pt x="374" y="118"/>
                    </a:lnTo>
                    <a:lnTo>
                      <a:pt x="376" y="121"/>
                    </a:lnTo>
                    <a:lnTo>
                      <a:pt x="378" y="125"/>
                    </a:lnTo>
                    <a:lnTo>
                      <a:pt x="380" y="125"/>
                    </a:lnTo>
                    <a:lnTo>
                      <a:pt x="383" y="125"/>
                    </a:lnTo>
                    <a:lnTo>
                      <a:pt x="383" y="121"/>
                    </a:lnTo>
                    <a:lnTo>
                      <a:pt x="385" y="118"/>
                    </a:lnTo>
                    <a:lnTo>
                      <a:pt x="391" y="118"/>
                    </a:lnTo>
                    <a:lnTo>
                      <a:pt x="395" y="119"/>
                    </a:lnTo>
                    <a:lnTo>
                      <a:pt x="397" y="121"/>
                    </a:lnTo>
                    <a:lnTo>
                      <a:pt x="401" y="123"/>
                    </a:lnTo>
                    <a:lnTo>
                      <a:pt x="403" y="123"/>
                    </a:lnTo>
                    <a:lnTo>
                      <a:pt x="408" y="121"/>
                    </a:lnTo>
                    <a:lnTo>
                      <a:pt x="410" y="125"/>
                    </a:lnTo>
                    <a:lnTo>
                      <a:pt x="420" y="125"/>
                    </a:lnTo>
                    <a:lnTo>
                      <a:pt x="429" y="125"/>
                    </a:lnTo>
                    <a:lnTo>
                      <a:pt x="441" y="131"/>
                    </a:lnTo>
                    <a:lnTo>
                      <a:pt x="452" y="139"/>
                    </a:lnTo>
                    <a:lnTo>
                      <a:pt x="458" y="148"/>
                    </a:lnTo>
                    <a:lnTo>
                      <a:pt x="464" y="156"/>
                    </a:lnTo>
                    <a:lnTo>
                      <a:pt x="468" y="156"/>
                    </a:lnTo>
                    <a:lnTo>
                      <a:pt x="474" y="154"/>
                    </a:lnTo>
                    <a:lnTo>
                      <a:pt x="474" y="158"/>
                    </a:lnTo>
                    <a:lnTo>
                      <a:pt x="474" y="160"/>
                    </a:lnTo>
                    <a:lnTo>
                      <a:pt x="477" y="160"/>
                    </a:lnTo>
                    <a:lnTo>
                      <a:pt x="483" y="158"/>
                    </a:lnTo>
                    <a:lnTo>
                      <a:pt x="485" y="166"/>
                    </a:lnTo>
                    <a:lnTo>
                      <a:pt x="489" y="173"/>
                    </a:lnTo>
                    <a:lnTo>
                      <a:pt x="491" y="175"/>
                    </a:lnTo>
                    <a:lnTo>
                      <a:pt x="495" y="177"/>
                    </a:lnTo>
                    <a:lnTo>
                      <a:pt x="497" y="192"/>
                    </a:lnTo>
                    <a:lnTo>
                      <a:pt x="495" y="208"/>
                    </a:lnTo>
                    <a:lnTo>
                      <a:pt x="491" y="221"/>
                    </a:lnTo>
                    <a:lnTo>
                      <a:pt x="487" y="231"/>
                    </a:lnTo>
                    <a:lnTo>
                      <a:pt x="477" y="238"/>
                    </a:lnTo>
                    <a:lnTo>
                      <a:pt x="468" y="246"/>
                    </a:lnTo>
                    <a:lnTo>
                      <a:pt x="460" y="261"/>
                    </a:lnTo>
                    <a:lnTo>
                      <a:pt x="454" y="279"/>
                    </a:lnTo>
                    <a:lnTo>
                      <a:pt x="449" y="275"/>
                    </a:lnTo>
                    <a:lnTo>
                      <a:pt x="445" y="273"/>
                    </a:lnTo>
                    <a:lnTo>
                      <a:pt x="445" y="277"/>
                    </a:lnTo>
                    <a:lnTo>
                      <a:pt x="447" y="279"/>
                    </a:lnTo>
                    <a:lnTo>
                      <a:pt x="443" y="284"/>
                    </a:lnTo>
                    <a:lnTo>
                      <a:pt x="441" y="286"/>
                    </a:lnTo>
                    <a:lnTo>
                      <a:pt x="441" y="290"/>
                    </a:lnTo>
                    <a:lnTo>
                      <a:pt x="441" y="294"/>
                    </a:lnTo>
                    <a:lnTo>
                      <a:pt x="437" y="294"/>
                    </a:lnTo>
                    <a:lnTo>
                      <a:pt x="437" y="298"/>
                    </a:lnTo>
                    <a:lnTo>
                      <a:pt x="441" y="298"/>
                    </a:lnTo>
                    <a:lnTo>
                      <a:pt x="441" y="311"/>
                    </a:lnTo>
                    <a:lnTo>
                      <a:pt x="443" y="327"/>
                    </a:lnTo>
                    <a:lnTo>
                      <a:pt x="441" y="327"/>
                    </a:lnTo>
                    <a:lnTo>
                      <a:pt x="441" y="334"/>
                    </a:lnTo>
                    <a:lnTo>
                      <a:pt x="441" y="340"/>
                    </a:lnTo>
                    <a:lnTo>
                      <a:pt x="437" y="342"/>
                    </a:lnTo>
                    <a:lnTo>
                      <a:pt x="439" y="352"/>
                    </a:lnTo>
                    <a:lnTo>
                      <a:pt x="441" y="357"/>
                    </a:lnTo>
                    <a:lnTo>
                      <a:pt x="437" y="361"/>
                    </a:lnTo>
                    <a:lnTo>
                      <a:pt x="433" y="363"/>
                    </a:lnTo>
                    <a:lnTo>
                      <a:pt x="433" y="371"/>
                    </a:lnTo>
                    <a:lnTo>
                      <a:pt x="433" y="379"/>
                    </a:lnTo>
                    <a:lnTo>
                      <a:pt x="422" y="394"/>
                    </a:lnTo>
                    <a:lnTo>
                      <a:pt x="412" y="409"/>
                    </a:lnTo>
                    <a:lnTo>
                      <a:pt x="412" y="419"/>
                    </a:lnTo>
                    <a:lnTo>
                      <a:pt x="414" y="425"/>
                    </a:lnTo>
                    <a:lnTo>
                      <a:pt x="406" y="428"/>
                    </a:lnTo>
                    <a:lnTo>
                      <a:pt x="406" y="432"/>
                    </a:lnTo>
                    <a:lnTo>
                      <a:pt x="406" y="434"/>
                    </a:lnTo>
                    <a:lnTo>
                      <a:pt x="397" y="434"/>
                    </a:lnTo>
                    <a:lnTo>
                      <a:pt x="393" y="432"/>
                    </a:lnTo>
                    <a:lnTo>
                      <a:pt x="393" y="436"/>
                    </a:lnTo>
                    <a:lnTo>
                      <a:pt x="393" y="438"/>
                    </a:lnTo>
                    <a:lnTo>
                      <a:pt x="383" y="440"/>
                    </a:lnTo>
                    <a:lnTo>
                      <a:pt x="374" y="440"/>
                    </a:lnTo>
                    <a:lnTo>
                      <a:pt x="372" y="442"/>
                    </a:lnTo>
                    <a:lnTo>
                      <a:pt x="370" y="442"/>
                    </a:lnTo>
                    <a:lnTo>
                      <a:pt x="372" y="450"/>
                    </a:lnTo>
                    <a:lnTo>
                      <a:pt x="362" y="451"/>
                    </a:lnTo>
                    <a:lnTo>
                      <a:pt x="353" y="453"/>
                    </a:lnTo>
                    <a:lnTo>
                      <a:pt x="351" y="455"/>
                    </a:lnTo>
                    <a:lnTo>
                      <a:pt x="351" y="459"/>
                    </a:lnTo>
                    <a:lnTo>
                      <a:pt x="339" y="467"/>
                    </a:lnTo>
                    <a:lnTo>
                      <a:pt x="328" y="473"/>
                    </a:lnTo>
                    <a:lnTo>
                      <a:pt x="328" y="476"/>
                    </a:lnTo>
                    <a:lnTo>
                      <a:pt x="324" y="476"/>
                    </a:lnTo>
                    <a:lnTo>
                      <a:pt x="320" y="478"/>
                    </a:lnTo>
                    <a:lnTo>
                      <a:pt x="320" y="480"/>
                    </a:lnTo>
                    <a:lnTo>
                      <a:pt x="322" y="482"/>
                    </a:lnTo>
                    <a:lnTo>
                      <a:pt x="318" y="486"/>
                    </a:lnTo>
                    <a:lnTo>
                      <a:pt x="318" y="490"/>
                    </a:lnTo>
                    <a:lnTo>
                      <a:pt x="318" y="496"/>
                    </a:lnTo>
                    <a:lnTo>
                      <a:pt x="318" y="503"/>
                    </a:lnTo>
                    <a:lnTo>
                      <a:pt x="322" y="517"/>
                    </a:lnTo>
                    <a:lnTo>
                      <a:pt x="322" y="528"/>
                    </a:lnTo>
                    <a:lnTo>
                      <a:pt x="314" y="538"/>
                    </a:lnTo>
                    <a:lnTo>
                      <a:pt x="307" y="545"/>
                    </a:lnTo>
                    <a:lnTo>
                      <a:pt x="303" y="559"/>
                    </a:lnTo>
                    <a:lnTo>
                      <a:pt x="299" y="572"/>
                    </a:lnTo>
                    <a:lnTo>
                      <a:pt x="295" y="576"/>
                    </a:lnTo>
                    <a:lnTo>
                      <a:pt x="291" y="580"/>
                    </a:lnTo>
                    <a:lnTo>
                      <a:pt x="295" y="570"/>
                    </a:lnTo>
                    <a:lnTo>
                      <a:pt x="299" y="561"/>
                    </a:lnTo>
                    <a:lnTo>
                      <a:pt x="297" y="563"/>
                    </a:lnTo>
                    <a:lnTo>
                      <a:pt x="293" y="563"/>
                    </a:lnTo>
                    <a:lnTo>
                      <a:pt x="291" y="561"/>
                    </a:lnTo>
                    <a:lnTo>
                      <a:pt x="287" y="559"/>
                    </a:lnTo>
                    <a:lnTo>
                      <a:pt x="287" y="565"/>
                    </a:lnTo>
                    <a:lnTo>
                      <a:pt x="287" y="569"/>
                    </a:lnTo>
                    <a:lnTo>
                      <a:pt x="278" y="580"/>
                    </a:lnTo>
                    <a:lnTo>
                      <a:pt x="270" y="590"/>
                    </a:lnTo>
                    <a:lnTo>
                      <a:pt x="270" y="593"/>
                    </a:lnTo>
                    <a:lnTo>
                      <a:pt x="272" y="599"/>
                    </a:lnTo>
                    <a:lnTo>
                      <a:pt x="270" y="605"/>
                    </a:lnTo>
                    <a:lnTo>
                      <a:pt x="264" y="611"/>
                    </a:lnTo>
                    <a:lnTo>
                      <a:pt x="264" y="613"/>
                    </a:lnTo>
                    <a:lnTo>
                      <a:pt x="261" y="609"/>
                    </a:lnTo>
                    <a:lnTo>
                      <a:pt x="266" y="599"/>
                    </a:lnTo>
                    <a:lnTo>
                      <a:pt x="266" y="597"/>
                    </a:lnTo>
                    <a:lnTo>
                      <a:pt x="262" y="595"/>
                    </a:lnTo>
                    <a:lnTo>
                      <a:pt x="259" y="592"/>
                    </a:lnTo>
                    <a:lnTo>
                      <a:pt x="257" y="588"/>
                    </a:lnTo>
                    <a:lnTo>
                      <a:pt x="253" y="584"/>
                    </a:lnTo>
                    <a:lnTo>
                      <a:pt x="247" y="582"/>
                    </a:lnTo>
                    <a:lnTo>
                      <a:pt x="243" y="578"/>
                    </a:lnTo>
                    <a:lnTo>
                      <a:pt x="241" y="574"/>
                    </a:lnTo>
                    <a:lnTo>
                      <a:pt x="236" y="572"/>
                    </a:lnTo>
                    <a:lnTo>
                      <a:pt x="232" y="570"/>
                    </a:lnTo>
                    <a:lnTo>
                      <a:pt x="230" y="565"/>
                    </a:lnTo>
                    <a:lnTo>
                      <a:pt x="230" y="563"/>
                    </a:lnTo>
                    <a:lnTo>
                      <a:pt x="218" y="557"/>
                    </a:lnTo>
                    <a:lnTo>
                      <a:pt x="209" y="559"/>
                    </a:lnTo>
                    <a:lnTo>
                      <a:pt x="211" y="555"/>
                    </a:lnTo>
                    <a:lnTo>
                      <a:pt x="211" y="549"/>
                    </a:lnTo>
                    <a:lnTo>
                      <a:pt x="215" y="547"/>
                    </a:lnTo>
                    <a:lnTo>
                      <a:pt x="218" y="544"/>
                    </a:lnTo>
                    <a:lnTo>
                      <a:pt x="220" y="540"/>
                    </a:lnTo>
                    <a:lnTo>
                      <a:pt x="222" y="534"/>
                    </a:lnTo>
                    <a:lnTo>
                      <a:pt x="226" y="530"/>
                    </a:lnTo>
                    <a:lnTo>
                      <a:pt x="230" y="528"/>
                    </a:lnTo>
                    <a:lnTo>
                      <a:pt x="232" y="524"/>
                    </a:lnTo>
                    <a:lnTo>
                      <a:pt x="236" y="522"/>
                    </a:lnTo>
                    <a:lnTo>
                      <a:pt x="239" y="519"/>
                    </a:lnTo>
                    <a:lnTo>
                      <a:pt x="243" y="513"/>
                    </a:lnTo>
                    <a:lnTo>
                      <a:pt x="247" y="511"/>
                    </a:lnTo>
                    <a:lnTo>
                      <a:pt x="253" y="509"/>
                    </a:lnTo>
                    <a:lnTo>
                      <a:pt x="257" y="505"/>
                    </a:lnTo>
                    <a:lnTo>
                      <a:pt x="257" y="503"/>
                    </a:lnTo>
                    <a:lnTo>
                      <a:pt x="257" y="498"/>
                    </a:lnTo>
                    <a:lnTo>
                      <a:pt x="257" y="492"/>
                    </a:lnTo>
                    <a:lnTo>
                      <a:pt x="257" y="484"/>
                    </a:lnTo>
                    <a:lnTo>
                      <a:pt x="257" y="480"/>
                    </a:lnTo>
                    <a:lnTo>
                      <a:pt x="253" y="478"/>
                    </a:lnTo>
                    <a:lnTo>
                      <a:pt x="251" y="480"/>
                    </a:lnTo>
                    <a:lnTo>
                      <a:pt x="249" y="480"/>
                    </a:lnTo>
                    <a:lnTo>
                      <a:pt x="245" y="478"/>
                    </a:lnTo>
                    <a:lnTo>
                      <a:pt x="245" y="473"/>
                    </a:lnTo>
                    <a:lnTo>
                      <a:pt x="247" y="465"/>
                    </a:lnTo>
                    <a:lnTo>
                      <a:pt x="249" y="457"/>
                    </a:lnTo>
                    <a:lnTo>
                      <a:pt x="249" y="451"/>
                    </a:lnTo>
                    <a:lnTo>
                      <a:pt x="245" y="451"/>
                    </a:lnTo>
                    <a:lnTo>
                      <a:pt x="241" y="453"/>
                    </a:lnTo>
                    <a:lnTo>
                      <a:pt x="239" y="451"/>
                    </a:lnTo>
                    <a:lnTo>
                      <a:pt x="238" y="446"/>
                    </a:lnTo>
                    <a:lnTo>
                      <a:pt x="238" y="438"/>
                    </a:lnTo>
                    <a:lnTo>
                      <a:pt x="238" y="432"/>
                    </a:lnTo>
                    <a:lnTo>
                      <a:pt x="238" y="428"/>
                    </a:lnTo>
                    <a:lnTo>
                      <a:pt x="238" y="427"/>
                    </a:lnTo>
                    <a:lnTo>
                      <a:pt x="234" y="427"/>
                    </a:lnTo>
                    <a:lnTo>
                      <a:pt x="232" y="425"/>
                    </a:lnTo>
                    <a:lnTo>
                      <a:pt x="228" y="423"/>
                    </a:lnTo>
                    <a:lnTo>
                      <a:pt x="228" y="421"/>
                    </a:lnTo>
                    <a:lnTo>
                      <a:pt x="226" y="417"/>
                    </a:lnTo>
                    <a:lnTo>
                      <a:pt x="222" y="419"/>
                    </a:lnTo>
                    <a:lnTo>
                      <a:pt x="216" y="419"/>
                    </a:lnTo>
                    <a:lnTo>
                      <a:pt x="209" y="417"/>
                    </a:lnTo>
                    <a:lnTo>
                      <a:pt x="207" y="411"/>
                    </a:lnTo>
                    <a:lnTo>
                      <a:pt x="207" y="405"/>
                    </a:lnTo>
                    <a:lnTo>
                      <a:pt x="209" y="400"/>
                    </a:lnTo>
                    <a:lnTo>
                      <a:pt x="207" y="394"/>
                    </a:lnTo>
                    <a:lnTo>
                      <a:pt x="205" y="390"/>
                    </a:lnTo>
                    <a:lnTo>
                      <a:pt x="203" y="388"/>
                    </a:lnTo>
                    <a:lnTo>
                      <a:pt x="201" y="384"/>
                    </a:lnTo>
                    <a:lnTo>
                      <a:pt x="205" y="384"/>
                    </a:lnTo>
                    <a:lnTo>
                      <a:pt x="201" y="380"/>
                    </a:lnTo>
                    <a:lnTo>
                      <a:pt x="205" y="373"/>
                    </a:lnTo>
                    <a:lnTo>
                      <a:pt x="207" y="363"/>
                    </a:lnTo>
                    <a:lnTo>
                      <a:pt x="207" y="359"/>
                    </a:lnTo>
                    <a:lnTo>
                      <a:pt x="207" y="355"/>
                    </a:lnTo>
                    <a:lnTo>
                      <a:pt x="203" y="352"/>
                    </a:lnTo>
                    <a:lnTo>
                      <a:pt x="199" y="348"/>
                    </a:lnTo>
                    <a:lnTo>
                      <a:pt x="197" y="344"/>
                    </a:lnTo>
                    <a:lnTo>
                      <a:pt x="195" y="340"/>
                    </a:lnTo>
                    <a:lnTo>
                      <a:pt x="195" y="334"/>
                    </a:lnTo>
                    <a:lnTo>
                      <a:pt x="197" y="331"/>
                    </a:lnTo>
                    <a:lnTo>
                      <a:pt x="178" y="332"/>
                    </a:lnTo>
                    <a:lnTo>
                      <a:pt x="178" y="331"/>
                    </a:lnTo>
                    <a:lnTo>
                      <a:pt x="176" y="325"/>
                    </a:lnTo>
                    <a:lnTo>
                      <a:pt x="172" y="319"/>
                    </a:lnTo>
                    <a:lnTo>
                      <a:pt x="172" y="315"/>
                    </a:lnTo>
                    <a:lnTo>
                      <a:pt x="176" y="311"/>
                    </a:lnTo>
                    <a:lnTo>
                      <a:pt x="178" y="309"/>
                    </a:lnTo>
                    <a:lnTo>
                      <a:pt x="176" y="306"/>
                    </a:lnTo>
                    <a:lnTo>
                      <a:pt x="174" y="300"/>
                    </a:lnTo>
                    <a:lnTo>
                      <a:pt x="172" y="294"/>
                    </a:lnTo>
                    <a:lnTo>
                      <a:pt x="170" y="290"/>
                    </a:lnTo>
                    <a:lnTo>
                      <a:pt x="167" y="288"/>
                    </a:lnTo>
                    <a:lnTo>
                      <a:pt x="163" y="290"/>
                    </a:lnTo>
                    <a:lnTo>
                      <a:pt x="157" y="288"/>
                    </a:lnTo>
                    <a:lnTo>
                      <a:pt x="153" y="286"/>
                    </a:lnTo>
                    <a:lnTo>
                      <a:pt x="147" y="284"/>
                    </a:lnTo>
                    <a:lnTo>
                      <a:pt x="144" y="283"/>
                    </a:lnTo>
                    <a:lnTo>
                      <a:pt x="140" y="279"/>
                    </a:lnTo>
                    <a:lnTo>
                      <a:pt x="138" y="277"/>
                    </a:lnTo>
                    <a:lnTo>
                      <a:pt x="132" y="273"/>
                    </a:lnTo>
                    <a:lnTo>
                      <a:pt x="128" y="269"/>
                    </a:lnTo>
                    <a:lnTo>
                      <a:pt x="122" y="267"/>
                    </a:lnTo>
                    <a:lnTo>
                      <a:pt x="119" y="269"/>
                    </a:lnTo>
                    <a:lnTo>
                      <a:pt x="115" y="267"/>
                    </a:lnTo>
                    <a:lnTo>
                      <a:pt x="113" y="267"/>
                    </a:lnTo>
                    <a:lnTo>
                      <a:pt x="109" y="263"/>
                    </a:lnTo>
                    <a:lnTo>
                      <a:pt x="107" y="260"/>
                    </a:lnTo>
                    <a:lnTo>
                      <a:pt x="109" y="252"/>
                    </a:lnTo>
                    <a:lnTo>
                      <a:pt x="111" y="246"/>
                    </a:lnTo>
                    <a:lnTo>
                      <a:pt x="109" y="242"/>
                    </a:lnTo>
                    <a:lnTo>
                      <a:pt x="103" y="242"/>
                    </a:lnTo>
                    <a:lnTo>
                      <a:pt x="96" y="244"/>
                    </a:lnTo>
                    <a:lnTo>
                      <a:pt x="88" y="246"/>
                    </a:lnTo>
                    <a:lnTo>
                      <a:pt x="80" y="254"/>
                    </a:lnTo>
                    <a:lnTo>
                      <a:pt x="74" y="261"/>
                    </a:lnTo>
                    <a:lnTo>
                      <a:pt x="71" y="263"/>
                    </a:lnTo>
                    <a:lnTo>
                      <a:pt x="69" y="263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7" y="269"/>
                    </a:lnTo>
                    <a:lnTo>
                      <a:pt x="63" y="269"/>
                    </a:lnTo>
                    <a:lnTo>
                      <a:pt x="61" y="269"/>
                    </a:lnTo>
                    <a:lnTo>
                      <a:pt x="57" y="267"/>
                    </a:lnTo>
                    <a:lnTo>
                      <a:pt x="55" y="269"/>
                    </a:lnTo>
                    <a:lnTo>
                      <a:pt x="42" y="263"/>
                    </a:lnTo>
                    <a:lnTo>
                      <a:pt x="44" y="227"/>
                    </a:lnTo>
                    <a:lnTo>
                      <a:pt x="44" y="223"/>
                    </a:lnTo>
                    <a:lnTo>
                      <a:pt x="42" y="223"/>
                    </a:lnTo>
                    <a:lnTo>
                      <a:pt x="36" y="227"/>
                    </a:lnTo>
                    <a:lnTo>
                      <a:pt x="32" y="229"/>
                    </a:lnTo>
                    <a:lnTo>
                      <a:pt x="21" y="229"/>
                    </a:lnTo>
                    <a:lnTo>
                      <a:pt x="19" y="227"/>
                    </a:lnTo>
                    <a:lnTo>
                      <a:pt x="19" y="223"/>
                    </a:lnTo>
                    <a:lnTo>
                      <a:pt x="15" y="219"/>
                    </a:lnTo>
                    <a:lnTo>
                      <a:pt x="9" y="215"/>
                    </a:lnTo>
                    <a:lnTo>
                      <a:pt x="5" y="212"/>
                    </a:lnTo>
                    <a:lnTo>
                      <a:pt x="1" y="210"/>
                    </a:lnTo>
                    <a:lnTo>
                      <a:pt x="5" y="204"/>
                    </a:lnTo>
                    <a:lnTo>
                      <a:pt x="3" y="200"/>
                    </a:lnTo>
                    <a:lnTo>
                      <a:pt x="1" y="196"/>
                    </a:lnTo>
                    <a:lnTo>
                      <a:pt x="1" y="192"/>
                    </a:lnTo>
                    <a:lnTo>
                      <a:pt x="0" y="189"/>
                    </a:lnTo>
                    <a:lnTo>
                      <a:pt x="3" y="187"/>
                    </a:lnTo>
                    <a:lnTo>
                      <a:pt x="5" y="189"/>
                    </a:lnTo>
                    <a:lnTo>
                      <a:pt x="5" y="187"/>
                    </a:lnTo>
                    <a:lnTo>
                      <a:pt x="5" y="181"/>
                    </a:lnTo>
                    <a:lnTo>
                      <a:pt x="7" y="177"/>
                    </a:lnTo>
                    <a:lnTo>
                      <a:pt x="9" y="173"/>
                    </a:lnTo>
                    <a:lnTo>
                      <a:pt x="11" y="167"/>
                    </a:lnTo>
                    <a:lnTo>
                      <a:pt x="13" y="162"/>
                    </a:lnTo>
                    <a:lnTo>
                      <a:pt x="17" y="158"/>
                    </a:lnTo>
                    <a:lnTo>
                      <a:pt x="23" y="154"/>
                    </a:lnTo>
                    <a:lnTo>
                      <a:pt x="28" y="150"/>
                    </a:lnTo>
                    <a:lnTo>
                      <a:pt x="34" y="150"/>
                    </a:lnTo>
                    <a:lnTo>
                      <a:pt x="38" y="148"/>
                    </a:lnTo>
                    <a:lnTo>
                      <a:pt x="44" y="148"/>
                    </a:lnTo>
                    <a:lnTo>
                      <a:pt x="48" y="146"/>
                    </a:lnTo>
                    <a:lnTo>
                      <a:pt x="48" y="144"/>
                    </a:lnTo>
                    <a:lnTo>
                      <a:pt x="55" y="127"/>
                    </a:lnTo>
                    <a:lnTo>
                      <a:pt x="61" y="108"/>
                    </a:lnTo>
                    <a:lnTo>
                      <a:pt x="61" y="104"/>
                    </a:lnTo>
                    <a:lnTo>
                      <a:pt x="61" y="98"/>
                    </a:lnTo>
                    <a:lnTo>
                      <a:pt x="57" y="95"/>
                    </a:lnTo>
                    <a:lnTo>
                      <a:pt x="53" y="95"/>
                    </a:lnTo>
                    <a:lnTo>
                      <a:pt x="53" y="91"/>
                    </a:lnTo>
                    <a:lnTo>
                      <a:pt x="63" y="89"/>
                    </a:lnTo>
                    <a:lnTo>
                      <a:pt x="63" y="85"/>
                    </a:lnTo>
                    <a:lnTo>
                      <a:pt x="61" y="83"/>
                    </a:lnTo>
                    <a:lnTo>
                      <a:pt x="55" y="83"/>
                    </a:lnTo>
                    <a:lnTo>
                      <a:pt x="55" y="73"/>
                    </a:lnTo>
                    <a:lnTo>
                      <a:pt x="57" y="73"/>
                    </a:lnTo>
                    <a:lnTo>
                      <a:pt x="63" y="73"/>
                    </a:lnTo>
                    <a:lnTo>
                      <a:pt x="73" y="71"/>
                    </a:lnTo>
                    <a:lnTo>
                      <a:pt x="80" y="71"/>
                    </a:lnTo>
                    <a:lnTo>
                      <a:pt x="80" y="66"/>
                    </a:lnTo>
                    <a:lnTo>
                      <a:pt x="84" y="68"/>
                    </a:lnTo>
                    <a:lnTo>
                      <a:pt x="88" y="68"/>
                    </a:lnTo>
                    <a:lnTo>
                      <a:pt x="90" y="60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9" y="68"/>
                    </a:lnTo>
                    <a:lnTo>
                      <a:pt x="105" y="73"/>
                    </a:lnTo>
                    <a:lnTo>
                      <a:pt x="109" y="71"/>
                    </a:lnTo>
                    <a:lnTo>
                      <a:pt x="113" y="70"/>
                    </a:lnTo>
                    <a:lnTo>
                      <a:pt x="117" y="66"/>
                    </a:lnTo>
                    <a:lnTo>
                      <a:pt x="120" y="62"/>
                    </a:lnTo>
                    <a:lnTo>
                      <a:pt x="124" y="62"/>
                    </a:lnTo>
                    <a:lnTo>
                      <a:pt x="126" y="60"/>
                    </a:lnTo>
                    <a:lnTo>
                      <a:pt x="130" y="56"/>
                    </a:lnTo>
                    <a:lnTo>
                      <a:pt x="134" y="52"/>
                    </a:lnTo>
                    <a:lnTo>
                      <a:pt x="138" y="50"/>
                    </a:lnTo>
                    <a:lnTo>
                      <a:pt x="138" y="50"/>
                    </a:lnTo>
                    <a:lnTo>
                      <a:pt x="138" y="47"/>
                    </a:lnTo>
                    <a:lnTo>
                      <a:pt x="134" y="47"/>
                    </a:lnTo>
                    <a:lnTo>
                      <a:pt x="128" y="47"/>
                    </a:lnTo>
                    <a:lnTo>
                      <a:pt x="124" y="47"/>
                    </a:lnTo>
                    <a:lnTo>
                      <a:pt x="122" y="45"/>
                    </a:lnTo>
                    <a:lnTo>
                      <a:pt x="120" y="43"/>
                    </a:lnTo>
                    <a:lnTo>
                      <a:pt x="120" y="37"/>
                    </a:lnTo>
                    <a:lnTo>
                      <a:pt x="120" y="31"/>
                    </a:lnTo>
                    <a:lnTo>
                      <a:pt x="120" y="29"/>
                    </a:lnTo>
                    <a:lnTo>
                      <a:pt x="119" y="25"/>
                    </a:lnTo>
                    <a:lnTo>
                      <a:pt x="117" y="22"/>
                    </a:lnTo>
                    <a:lnTo>
                      <a:pt x="115" y="18"/>
                    </a:lnTo>
                    <a:lnTo>
                      <a:pt x="115" y="18"/>
                    </a:lnTo>
                    <a:lnTo>
                      <a:pt x="113" y="16"/>
                    </a:lnTo>
                    <a:lnTo>
                      <a:pt x="115" y="16"/>
                    </a:lnTo>
                    <a:lnTo>
                      <a:pt x="117" y="16"/>
                    </a:lnTo>
                    <a:lnTo>
                      <a:pt x="122" y="18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22"/>
                    </a:lnTo>
                    <a:lnTo>
                      <a:pt x="138" y="24"/>
                    </a:lnTo>
                    <a:lnTo>
                      <a:pt x="142" y="24"/>
                    </a:lnTo>
                    <a:lnTo>
                      <a:pt x="140" y="22"/>
                    </a:lnTo>
                    <a:lnTo>
                      <a:pt x="140" y="20"/>
                    </a:lnTo>
                    <a:lnTo>
                      <a:pt x="144" y="18"/>
                    </a:lnTo>
                    <a:lnTo>
                      <a:pt x="144" y="18"/>
                    </a:lnTo>
                    <a:lnTo>
                      <a:pt x="147" y="18"/>
                    </a:lnTo>
                    <a:lnTo>
                      <a:pt x="151" y="18"/>
                    </a:lnTo>
                    <a:lnTo>
                      <a:pt x="155" y="18"/>
                    </a:lnTo>
                    <a:lnTo>
                      <a:pt x="157" y="16"/>
                    </a:lnTo>
                    <a:lnTo>
                      <a:pt x="161" y="12"/>
                    </a:lnTo>
                    <a:lnTo>
                      <a:pt x="163" y="10"/>
                    </a:lnTo>
                    <a:lnTo>
                      <a:pt x="167" y="10"/>
                    </a:lnTo>
                    <a:lnTo>
                      <a:pt x="168" y="8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72" y="2"/>
                    </a:lnTo>
                    <a:lnTo>
                      <a:pt x="178" y="2"/>
                    </a:lnTo>
                    <a:lnTo>
                      <a:pt x="182" y="4"/>
                    </a:lnTo>
                    <a:lnTo>
                      <a:pt x="182" y="6"/>
                    </a:lnTo>
                    <a:lnTo>
                      <a:pt x="178" y="10"/>
                    </a:lnTo>
                    <a:lnTo>
                      <a:pt x="180" y="12"/>
                    </a:lnTo>
                    <a:lnTo>
                      <a:pt x="184" y="14"/>
                    </a:lnTo>
                    <a:lnTo>
                      <a:pt x="184" y="16"/>
                    </a:lnTo>
                    <a:lnTo>
                      <a:pt x="184" y="18"/>
                    </a:lnTo>
                    <a:lnTo>
                      <a:pt x="186" y="22"/>
                    </a:lnTo>
                    <a:lnTo>
                      <a:pt x="184" y="24"/>
                    </a:lnTo>
                    <a:lnTo>
                      <a:pt x="180" y="27"/>
                    </a:lnTo>
                    <a:lnTo>
                      <a:pt x="178" y="29"/>
                    </a:lnTo>
                    <a:lnTo>
                      <a:pt x="178" y="37"/>
                    </a:lnTo>
                    <a:lnTo>
                      <a:pt x="176" y="48"/>
                    </a:lnTo>
                    <a:lnTo>
                      <a:pt x="178" y="54"/>
                    </a:lnTo>
                    <a:lnTo>
                      <a:pt x="180" y="56"/>
                    </a:lnTo>
                    <a:lnTo>
                      <a:pt x="184" y="60"/>
                    </a:lnTo>
                    <a:lnTo>
                      <a:pt x="186" y="62"/>
                    </a:lnTo>
                    <a:lnTo>
                      <a:pt x="188" y="64"/>
                    </a:lnTo>
                    <a:lnTo>
                      <a:pt x="191" y="66"/>
                    </a:lnTo>
                    <a:lnTo>
                      <a:pt x="193" y="64"/>
                    </a:lnTo>
                    <a:lnTo>
                      <a:pt x="197" y="62"/>
                    </a:lnTo>
                    <a:lnTo>
                      <a:pt x="199" y="60"/>
                    </a:lnTo>
                    <a:lnTo>
                      <a:pt x="201" y="58"/>
                    </a:lnTo>
                    <a:lnTo>
                      <a:pt x="203" y="56"/>
                    </a:lnTo>
                    <a:lnTo>
                      <a:pt x="207" y="54"/>
                    </a:lnTo>
                    <a:lnTo>
                      <a:pt x="211" y="56"/>
                    </a:lnTo>
                    <a:lnTo>
                      <a:pt x="213" y="56"/>
                    </a:lnTo>
                    <a:lnTo>
                      <a:pt x="218" y="54"/>
                    </a:lnTo>
                    <a:lnTo>
                      <a:pt x="226" y="58"/>
                    </a:lnTo>
                    <a:lnTo>
                      <a:pt x="230" y="52"/>
                    </a:lnTo>
                    <a:lnTo>
                      <a:pt x="224" y="48"/>
                    </a:lnTo>
                    <a:lnTo>
                      <a:pt x="226" y="41"/>
                    </a:lnTo>
                    <a:lnTo>
                      <a:pt x="236" y="45"/>
                    </a:lnTo>
                    <a:lnTo>
                      <a:pt x="239" y="43"/>
                    </a:lnTo>
                    <a:lnTo>
                      <a:pt x="241" y="45"/>
                    </a:lnTo>
                    <a:lnTo>
                      <a:pt x="247" y="45"/>
                    </a:lnTo>
                    <a:lnTo>
                      <a:pt x="247" y="48"/>
                    </a:lnTo>
                    <a:lnTo>
                      <a:pt x="251" y="52"/>
                    </a:lnTo>
                    <a:lnTo>
                      <a:pt x="255" y="52"/>
                    </a:lnTo>
                    <a:lnTo>
                      <a:pt x="259" y="50"/>
                    </a:lnTo>
                    <a:lnTo>
                      <a:pt x="264" y="48"/>
                    </a:lnTo>
                    <a:lnTo>
                      <a:pt x="270" y="52"/>
                    </a:lnTo>
                    <a:lnTo>
                      <a:pt x="274" y="48"/>
                    </a:lnTo>
                    <a:lnTo>
                      <a:pt x="278" y="41"/>
                    </a:lnTo>
                    <a:lnTo>
                      <a:pt x="278" y="33"/>
                    </a:lnTo>
                    <a:lnTo>
                      <a:pt x="280" y="27"/>
                    </a:lnTo>
                    <a:lnTo>
                      <a:pt x="282" y="20"/>
                    </a:lnTo>
                    <a:lnTo>
                      <a:pt x="284" y="14"/>
                    </a:lnTo>
                    <a:close/>
                    <a:moveTo>
                      <a:pt x="326" y="96"/>
                    </a:moveTo>
                    <a:lnTo>
                      <a:pt x="326" y="100"/>
                    </a:lnTo>
                    <a:lnTo>
                      <a:pt x="324" y="100"/>
                    </a:lnTo>
                    <a:lnTo>
                      <a:pt x="322" y="102"/>
                    </a:lnTo>
                    <a:lnTo>
                      <a:pt x="322" y="98"/>
                    </a:lnTo>
                    <a:lnTo>
                      <a:pt x="326" y="96"/>
                    </a:lnTo>
                    <a:close/>
                    <a:moveTo>
                      <a:pt x="322" y="102"/>
                    </a:moveTo>
                    <a:lnTo>
                      <a:pt x="322" y="106"/>
                    </a:lnTo>
                    <a:lnTo>
                      <a:pt x="318" y="108"/>
                    </a:lnTo>
                    <a:lnTo>
                      <a:pt x="318" y="110"/>
                    </a:lnTo>
                    <a:lnTo>
                      <a:pt x="314" y="110"/>
                    </a:lnTo>
                    <a:lnTo>
                      <a:pt x="314" y="110"/>
                    </a:lnTo>
                    <a:lnTo>
                      <a:pt x="314" y="108"/>
                    </a:lnTo>
                    <a:lnTo>
                      <a:pt x="316" y="108"/>
                    </a:lnTo>
                    <a:lnTo>
                      <a:pt x="318" y="104"/>
                    </a:lnTo>
                    <a:lnTo>
                      <a:pt x="322" y="102"/>
                    </a:lnTo>
                    <a:close/>
                    <a:moveTo>
                      <a:pt x="295" y="75"/>
                    </a:moveTo>
                    <a:lnTo>
                      <a:pt x="295" y="77"/>
                    </a:lnTo>
                    <a:lnTo>
                      <a:pt x="297" y="81"/>
                    </a:lnTo>
                    <a:lnTo>
                      <a:pt x="301" y="81"/>
                    </a:lnTo>
                    <a:lnTo>
                      <a:pt x="307" y="79"/>
                    </a:lnTo>
                    <a:lnTo>
                      <a:pt x="299" y="89"/>
                    </a:lnTo>
                    <a:lnTo>
                      <a:pt x="297" y="95"/>
                    </a:lnTo>
                    <a:lnTo>
                      <a:pt x="299" y="102"/>
                    </a:lnTo>
                    <a:lnTo>
                      <a:pt x="307" y="110"/>
                    </a:lnTo>
                    <a:lnTo>
                      <a:pt x="303" y="110"/>
                    </a:lnTo>
                    <a:lnTo>
                      <a:pt x="301" y="110"/>
                    </a:lnTo>
                    <a:lnTo>
                      <a:pt x="297" y="104"/>
                    </a:lnTo>
                    <a:lnTo>
                      <a:pt x="293" y="96"/>
                    </a:lnTo>
                    <a:lnTo>
                      <a:pt x="289" y="96"/>
                    </a:lnTo>
                    <a:lnTo>
                      <a:pt x="289" y="98"/>
                    </a:lnTo>
                    <a:lnTo>
                      <a:pt x="286" y="98"/>
                    </a:lnTo>
                    <a:lnTo>
                      <a:pt x="286" y="100"/>
                    </a:lnTo>
                    <a:lnTo>
                      <a:pt x="286" y="102"/>
                    </a:lnTo>
                    <a:lnTo>
                      <a:pt x="287" y="108"/>
                    </a:lnTo>
                    <a:lnTo>
                      <a:pt x="286" y="104"/>
                    </a:lnTo>
                    <a:lnTo>
                      <a:pt x="284" y="98"/>
                    </a:lnTo>
                    <a:lnTo>
                      <a:pt x="280" y="98"/>
                    </a:lnTo>
                    <a:lnTo>
                      <a:pt x="274" y="100"/>
                    </a:lnTo>
                    <a:lnTo>
                      <a:pt x="274" y="100"/>
                    </a:lnTo>
                    <a:lnTo>
                      <a:pt x="274" y="100"/>
                    </a:lnTo>
                    <a:lnTo>
                      <a:pt x="278" y="96"/>
                    </a:lnTo>
                    <a:lnTo>
                      <a:pt x="280" y="95"/>
                    </a:lnTo>
                    <a:lnTo>
                      <a:pt x="284" y="93"/>
                    </a:lnTo>
                    <a:lnTo>
                      <a:pt x="286" y="87"/>
                    </a:lnTo>
                    <a:lnTo>
                      <a:pt x="287" y="83"/>
                    </a:lnTo>
                    <a:lnTo>
                      <a:pt x="289" y="77"/>
                    </a:lnTo>
                    <a:lnTo>
                      <a:pt x="295" y="75"/>
                    </a:lnTo>
                    <a:close/>
                    <a:moveTo>
                      <a:pt x="301" y="66"/>
                    </a:moveTo>
                    <a:lnTo>
                      <a:pt x="301" y="66"/>
                    </a:lnTo>
                    <a:lnTo>
                      <a:pt x="303" y="68"/>
                    </a:lnTo>
                    <a:lnTo>
                      <a:pt x="301" y="70"/>
                    </a:lnTo>
                    <a:lnTo>
                      <a:pt x="299" y="70"/>
                    </a:lnTo>
                    <a:lnTo>
                      <a:pt x="299" y="68"/>
                    </a:lnTo>
                    <a:lnTo>
                      <a:pt x="301" y="6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7" name="Freeform 225"/>
              <p:cNvSpPr>
                <a:spLocks/>
              </p:cNvSpPr>
              <p:nvPr/>
            </p:nvSpPr>
            <p:spPr bwMode="gray">
              <a:xfrm>
                <a:off x="4716340" y="4899026"/>
                <a:ext cx="195241" cy="228600"/>
              </a:xfrm>
              <a:custGeom>
                <a:avLst/>
                <a:gdLst>
                  <a:gd name="T0" fmla="*/ 2 w 123"/>
                  <a:gd name="T1" fmla="*/ 119 h 144"/>
                  <a:gd name="T2" fmla="*/ 10 w 123"/>
                  <a:gd name="T3" fmla="*/ 133 h 144"/>
                  <a:gd name="T4" fmla="*/ 8 w 123"/>
                  <a:gd name="T5" fmla="*/ 141 h 144"/>
                  <a:gd name="T6" fmla="*/ 10 w 123"/>
                  <a:gd name="T7" fmla="*/ 144 h 144"/>
                  <a:gd name="T8" fmla="*/ 15 w 123"/>
                  <a:gd name="T9" fmla="*/ 144 h 144"/>
                  <a:gd name="T10" fmla="*/ 25 w 123"/>
                  <a:gd name="T11" fmla="*/ 141 h 144"/>
                  <a:gd name="T12" fmla="*/ 37 w 123"/>
                  <a:gd name="T13" fmla="*/ 133 h 144"/>
                  <a:gd name="T14" fmla="*/ 42 w 123"/>
                  <a:gd name="T15" fmla="*/ 125 h 144"/>
                  <a:gd name="T16" fmla="*/ 44 w 123"/>
                  <a:gd name="T17" fmla="*/ 123 h 144"/>
                  <a:gd name="T18" fmla="*/ 50 w 123"/>
                  <a:gd name="T19" fmla="*/ 121 h 144"/>
                  <a:gd name="T20" fmla="*/ 56 w 123"/>
                  <a:gd name="T21" fmla="*/ 123 h 144"/>
                  <a:gd name="T22" fmla="*/ 65 w 123"/>
                  <a:gd name="T23" fmla="*/ 123 h 144"/>
                  <a:gd name="T24" fmla="*/ 73 w 123"/>
                  <a:gd name="T25" fmla="*/ 125 h 144"/>
                  <a:gd name="T26" fmla="*/ 75 w 123"/>
                  <a:gd name="T27" fmla="*/ 114 h 144"/>
                  <a:gd name="T28" fmla="*/ 79 w 123"/>
                  <a:gd name="T29" fmla="*/ 104 h 144"/>
                  <a:gd name="T30" fmla="*/ 85 w 123"/>
                  <a:gd name="T31" fmla="*/ 98 h 144"/>
                  <a:gd name="T32" fmla="*/ 92 w 123"/>
                  <a:gd name="T33" fmla="*/ 85 h 144"/>
                  <a:gd name="T34" fmla="*/ 104 w 123"/>
                  <a:gd name="T35" fmla="*/ 79 h 144"/>
                  <a:gd name="T36" fmla="*/ 111 w 123"/>
                  <a:gd name="T37" fmla="*/ 75 h 144"/>
                  <a:gd name="T38" fmla="*/ 121 w 123"/>
                  <a:gd name="T39" fmla="*/ 71 h 144"/>
                  <a:gd name="T40" fmla="*/ 121 w 123"/>
                  <a:gd name="T41" fmla="*/ 68 h 144"/>
                  <a:gd name="T42" fmla="*/ 115 w 123"/>
                  <a:gd name="T43" fmla="*/ 64 h 144"/>
                  <a:gd name="T44" fmla="*/ 108 w 123"/>
                  <a:gd name="T45" fmla="*/ 60 h 144"/>
                  <a:gd name="T46" fmla="*/ 106 w 123"/>
                  <a:gd name="T47" fmla="*/ 54 h 144"/>
                  <a:gd name="T48" fmla="*/ 106 w 123"/>
                  <a:gd name="T49" fmla="*/ 46 h 144"/>
                  <a:gd name="T50" fmla="*/ 102 w 123"/>
                  <a:gd name="T51" fmla="*/ 43 h 144"/>
                  <a:gd name="T52" fmla="*/ 98 w 123"/>
                  <a:gd name="T53" fmla="*/ 37 h 144"/>
                  <a:gd name="T54" fmla="*/ 96 w 123"/>
                  <a:gd name="T55" fmla="*/ 33 h 144"/>
                  <a:gd name="T56" fmla="*/ 90 w 123"/>
                  <a:gd name="T57" fmla="*/ 29 h 144"/>
                  <a:gd name="T58" fmla="*/ 85 w 123"/>
                  <a:gd name="T59" fmla="*/ 27 h 144"/>
                  <a:gd name="T60" fmla="*/ 79 w 123"/>
                  <a:gd name="T61" fmla="*/ 20 h 144"/>
                  <a:gd name="T62" fmla="*/ 75 w 123"/>
                  <a:gd name="T63" fmla="*/ 12 h 144"/>
                  <a:gd name="T64" fmla="*/ 69 w 123"/>
                  <a:gd name="T65" fmla="*/ 4 h 144"/>
                  <a:gd name="T66" fmla="*/ 65 w 123"/>
                  <a:gd name="T67" fmla="*/ 0 h 144"/>
                  <a:gd name="T68" fmla="*/ 60 w 123"/>
                  <a:gd name="T69" fmla="*/ 4 h 144"/>
                  <a:gd name="T70" fmla="*/ 54 w 123"/>
                  <a:gd name="T71" fmla="*/ 8 h 144"/>
                  <a:gd name="T72" fmla="*/ 23 w 123"/>
                  <a:gd name="T73" fmla="*/ 10 h 144"/>
                  <a:gd name="T74" fmla="*/ 14 w 123"/>
                  <a:gd name="T75" fmla="*/ 62 h 144"/>
                  <a:gd name="T76" fmla="*/ 0 w 123"/>
                  <a:gd name="T77" fmla="*/ 117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3" h="144">
                    <a:moveTo>
                      <a:pt x="0" y="117"/>
                    </a:moveTo>
                    <a:lnTo>
                      <a:pt x="2" y="119"/>
                    </a:lnTo>
                    <a:lnTo>
                      <a:pt x="8" y="127"/>
                    </a:lnTo>
                    <a:lnTo>
                      <a:pt x="10" y="133"/>
                    </a:lnTo>
                    <a:lnTo>
                      <a:pt x="10" y="137"/>
                    </a:lnTo>
                    <a:lnTo>
                      <a:pt x="8" y="141"/>
                    </a:lnTo>
                    <a:lnTo>
                      <a:pt x="8" y="142"/>
                    </a:lnTo>
                    <a:lnTo>
                      <a:pt x="10" y="144"/>
                    </a:lnTo>
                    <a:lnTo>
                      <a:pt x="12" y="144"/>
                    </a:lnTo>
                    <a:lnTo>
                      <a:pt x="15" y="144"/>
                    </a:lnTo>
                    <a:lnTo>
                      <a:pt x="17" y="142"/>
                    </a:lnTo>
                    <a:lnTo>
                      <a:pt x="25" y="141"/>
                    </a:lnTo>
                    <a:lnTo>
                      <a:pt x="29" y="137"/>
                    </a:lnTo>
                    <a:lnTo>
                      <a:pt x="37" y="133"/>
                    </a:lnTo>
                    <a:lnTo>
                      <a:pt x="42" y="127"/>
                    </a:lnTo>
                    <a:lnTo>
                      <a:pt x="42" y="125"/>
                    </a:lnTo>
                    <a:lnTo>
                      <a:pt x="42" y="123"/>
                    </a:lnTo>
                    <a:lnTo>
                      <a:pt x="44" y="123"/>
                    </a:lnTo>
                    <a:lnTo>
                      <a:pt x="46" y="119"/>
                    </a:lnTo>
                    <a:lnTo>
                      <a:pt x="50" y="121"/>
                    </a:lnTo>
                    <a:lnTo>
                      <a:pt x="52" y="123"/>
                    </a:lnTo>
                    <a:lnTo>
                      <a:pt x="56" y="123"/>
                    </a:lnTo>
                    <a:lnTo>
                      <a:pt x="60" y="123"/>
                    </a:lnTo>
                    <a:lnTo>
                      <a:pt x="65" y="123"/>
                    </a:lnTo>
                    <a:lnTo>
                      <a:pt x="69" y="125"/>
                    </a:lnTo>
                    <a:lnTo>
                      <a:pt x="73" y="125"/>
                    </a:lnTo>
                    <a:lnTo>
                      <a:pt x="75" y="125"/>
                    </a:lnTo>
                    <a:lnTo>
                      <a:pt x="75" y="114"/>
                    </a:lnTo>
                    <a:lnTo>
                      <a:pt x="77" y="106"/>
                    </a:lnTo>
                    <a:lnTo>
                      <a:pt x="79" y="104"/>
                    </a:lnTo>
                    <a:lnTo>
                      <a:pt x="83" y="104"/>
                    </a:lnTo>
                    <a:lnTo>
                      <a:pt x="85" y="98"/>
                    </a:lnTo>
                    <a:lnTo>
                      <a:pt x="88" y="91"/>
                    </a:lnTo>
                    <a:lnTo>
                      <a:pt x="92" y="85"/>
                    </a:lnTo>
                    <a:lnTo>
                      <a:pt x="98" y="81"/>
                    </a:lnTo>
                    <a:lnTo>
                      <a:pt x="104" y="79"/>
                    </a:lnTo>
                    <a:lnTo>
                      <a:pt x="109" y="77"/>
                    </a:lnTo>
                    <a:lnTo>
                      <a:pt x="111" y="75"/>
                    </a:lnTo>
                    <a:lnTo>
                      <a:pt x="115" y="73"/>
                    </a:lnTo>
                    <a:lnTo>
                      <a:pt x="121" y="71"/>
                    </a:lnTo>
                    <a:lnTo>
                      <a:pt x="123" y="68"/>
                    </a:lnTo>
                    <a:lnTo>
                      <a:pt x="121" y="68"/>
                    </a:lnTo>
                    <a:lnTo>
                      <a:pt x="117" y="64"/>
                    </a:lnTo>
                    <a:lnTo>
                      <a:pt x="115" y="64"/>
                    </a:lnTo>
                    <a:lnTo>
                      <a:pt x="111" y="62"/>
                    </a:lnTo>
                    <a:lnTo>
                      <a:pt x="108" y="60"/>
                    </a:lnTo>
                    <a:lnTo>
                      <a:pt x="108" y="58"/>
                    </a:lnTo>
                    <a:lnTo>
                      <a:pt x="106" y="54"/>
                    </a:lnTo>
                    <a:lnTo>
                      <a:pt x="108" y="48"/>
                    </a:lnTo>
                    <a:lnTo>
                      <a:pt x="106" y="46"/>
                    </a:lnTo>
                    <a:lnTo>
                      <a:pt x="104" y="45"/>
                    </a:lnTo>
                    <a:lnTo>
                      <a:pt x="102" y="43"/>
                    </a:lnTo>
                    <a:lnTo>
                      <a:pt x="100" y="41"/>
                    </a:lnTo>
                    <a:lnTo>
                      <a:pt x="98" y="37"/>
                    </a:lnTo>
                    <a:lnTo>
                      <a:pt x="98" y="35"/>
                    </a:lnTo>
                    <a:lnTo>
                      <a:pt x="96" y="33"/>
                    </a:lnTo>
                    <a:lnTo>
                      <a:pt x="90" y="29"/>
                    </a:lnTo>
                    <a:lnTo>
                      <a:pt x="90" y="29"/>
                    </a:lnTo>
                    <a:lnTo>
                      <a:pt x="86" y="29"/>
                    </a:lnTo>
                    <a:lnTo>
                      <a:pt x="85" y="27"/>
                    </a:lnTo>
                    <a:lnTo>
                      <a:pt x="83" y="25"/>
                    </a:lnTo>
                    <a:lnTo>
                      <a:pt x="79" y="20"/>
                    </a:lnTo>
                    <a:lnTo>
                      <a:pt x="75" y="16"/>
                    </a:lnTo>
                    <a:lnTo>
                      <a:pt x="75" y="12"/>
                    </a:lnTo>
                    <a:lnTo>
                      <a:pt x="73" y="8"/>
                    </a:lnTo>
                    <a:lnTo>
                      <a:pt x="69" y="4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63" y="4"/>
                    </a:lnTo>
                    <a:lnTo>
                      <a:pt x="60" y="4"/>
                    </a:lnTo>
                    <a:lnTo>
                      <a:pt x="56" y="4"/>
                    </a:lnTo>
                    <a:lnTo>
                      <a:pt x="54" y="8"/>
                    </a:lnTo>
                    <a:lnTo>
                      <a:pt x="52" y="6"/>
                    </a:lnTo>
                    <a:lnTo>
                      <a:pt x="23" y="10"/>
                    </a:lnTo>
                    <a:lnTo>
                      <a:pt x="14" y="10"/>
                    </a:lnTo>
                    <a:lnTo>
                      <a:pt x="14" y="62"/>
                    </a:lnTo>
                    <a:lnTo>
                      <a:pt x="0" y="62"/>
                    </a:lnTo>
                    <a:lnTo>
                      <a:pt x="0" y="1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8" name="Freeform 226"/>
              <p:cNvSpPr>
                <a:spLocks/>
              </p:cNvSpPr>
              <p:nvPr/>
            </p:nvSpPr>
            <p:spPr bwMode="gray">
              <a:xfrm>
                <a:off x="4640149" y="3290889"/>
                <a:ext cx="79366" cy="82550"/>
              </a:xfrm>
              <a:custGeom>
                <a:avLst/>
                <a:gdLst>
                  <a:gd name="T0" fmla="*/ 35 w 50"/>
                  <a:gd name="T1" fmla="*/ 52 h 52"/>
                  <a:gd name="T2" fmla="*/ 35 w 50"/>
                  <a:gd name="T3" fmla="*/ 46 h 52"/>
                  <a:gd name="T4" fmla="*/ 37 w 50"/>
                  <a:gd name="T5" fmla="*/ 40 h 52"/>
                  <a:gd name="T6" fmla="*/ 38 w 50"/>
                  <a:gd name="T7" fmla="*/ 39 h 52"/>
                  <a:gd name="T8" fmla="*/ 40 w 50"/>
                  <a:gd name="T9" fmla="*/ 39 h 52"/>
                  <a:gd name="T10" fmla="*/ 42 w 50"/>
                  <a:gd name="T11" fmla="*/ 35 h 52"/>
                  <a:gd name="T12" fmla="*/ 44 w 50"/>
                  <a:gd name="T13" fmla="*/ 33 h 52"/>
                  <a:gd name="T14" fmla="*/ 48 w 50"/>
                  <a:gd name="T15" fmla="*/ 33 h 52"/>
                  <a:gd name="T16" fmla="*/ 50 w 50"/>
                  <a:gd name="T17" fmla="*/ 31 h 52"/>
                  <a:gd name="T18" fmla="*/ 46 w 50"/>
                  <a:gd name="T19" fmla="*/ 27 h 52"/>
                  <a:gd name="T20" fmla="*/ 44 w 50"/>
                  <a:gd name="T21" fmla="*/ 25 h 52"/>
                  <a:gd name="T22" fmla="*/ 46 w 50"/>
                  <a:gd name="T23" fmla="*/ 23 h 52"/>
                  <a:gd name="T24" fmla="*/ 50 w 50"/>
                  <a:gd name="T25" fmla="*/ 21 h 52"/>
                  <a:gd name="T26" fmla="*/ 48 w 50"/>
                  <a:gd name="T27" fmla="*/ 19 h 52"/>
                  <a:gd name="T28" fmla="*/ 46 w 50"/>
                  <a:gd name="T29" fmla="*/ 16 h 52"/>
                  <a:gd name="T30" fmla="*/ 46 w 50"/>
                  <a:gd name="T31" fmla="*/ 14 h 52"/>
                  <a:gd name="T32" fmla="*/ 46 w 50"/>
                  <a:gd name="T33" fmla="*/ 12 h 52"/>
                  <a:gd name="T34" fmla="*/ 40 w 50"/>
                  <a:gd name="T35" fmla="*/ 12 h 52"/>
                  <a:gd name="T36" fmla="*/ 35 w 50"/>
                  <a:gd name="T37" fmla="*/ 10 h 52"/>
                  <a:gd name="T38" fmla="*/ 33 w 50"/>
                  <a:gd name="T39" fmla="*/ 8 h 52"/>
                  <a:gd name="T40" fmla="*/ 33 w 50"/>
                  <a:gd name="T41" fmla="*/ 8 h 52"/>
                  <a:gd name="T42" fmla="*/ 31 w 50"/>
                  <a:gd name="T43" fmla="*/ 8 h 52"/>
                  <a:gd name="T44" fmla="*/ 27 w 50"/>
                  <a:gd name="T45" fmla="*/ 6 h 52"/>
                  <a:gd name="T46" fmla="*/ 21 w 50"/>
                  <a:gd name="T47" fmla="*/ 6 h 52"/>
                  <a:gd name="T48" fmla="*/ 15 w 50"/>
                  <a:gd name="T49" fmla="*/ 8 h 52"/>
                  <a:gd name="T50" fmla="*/ 12 w 50"/>
                  <a:gd name="T51" fmla="*/ 4 h 52"/>
                  <a:gd name="T52" fmla="*/ 10 w 50"/>
                  <a:gd name="T53" fmla="*/ 6 h 52"/>
                  <a:gd name="T54" fmla="*/ 8 w 50"/>
                  <a:gd name="T55" fmla="*/ 6 h 52"/>
                  <a:gd name="T56" fmla="*/ 6 w 50"/>
                  <a:gd name="T57" fmla="*/ 2 h 52"/>
                  <a:gd name="T58" fmla="*/ 2 w 50"/>
                  <a:gd name="T59" fmla="*/ 0 h 52"/>
                  <a:gd name="T60" fmla="*/ 0 w 50"/>
                  <a:gd name="T61" fmla="*/ 4 h 52"/>
                  <a:gd name="T62" fmla="*/ 0 w 50"/>
                  <a:gd name="T63" fmla="*/ 6 h 52"/>
                  <a:gd name="T64" fmla="*/ 2 w 50"/>
                  <a:gd name="T65" fmla="*/ 8 h 52"/>
                  <a:gd name="T66" fmla="*/ 4 w 50"/>
                  <a:gd name="T67" fmla="*/ 12 h 52"/>
                  <a:gd name="T68" fmla="*/ 8 w 50"/>
                  <a:gd name="T69" fmla="*/ 19 h 52"/>
                  <a:gd name="T70" fmla="*/ 8 w 50"/>
                  <a:gd name="T71" fmla="*/ 21 h 52"/>
                  <a:gd name="T72" fmla="*/ 8 w 50"/>
                  <a:gd name="T73" fmla="*/ 23 h 52"/>
                  <a:gd name="T74" fmla="*/ 14 w 50"/>
                  <a:gd name="T75" fmla="*/ 29 h 52"/>
                  <a:gd name="T76" fmla="*/ 19 w 50"/>
                  <a:gd name="T77" fmla="*/ 35 h 52"/>
                  <a:gd name="T78" fmla="*/ 23 w 50"/>
                  <a:gd name="T79" fmla="*/ 40 h 52"/>
                  <a:gd name="T80" fmla="*/ 23 w 50"/>
                  <a:gd name="T81" fmla="*/ 44 h 52"/>
                  <a:gd name="T82" fmla="*/ 27 w 50"/>
                  <a:gd name="T83" fmla="*/ 44 h 52"/>
                  <a:gd name="T84" fmla="*/ 29 w 50"/>
                  <a:gd name="T85" fmla="*/ 44 h 52"/>
                  <a:gd name="T86" fmla="*/ 31 w 50"/>
                  <a:gd name="T87" fmla="*/ 46 h 52"/>
                  <a:gd name="T88" fmla="*/ 33 w 50"/>
                  <a:gd name="T89" fmla="*/ 48 h 52"/>
                  <a:gd name="T90" fmla="*/ 35 w 50"/>
                  <a:gd name="T91" fmla="*/ 50 h 52"/>
                  <a:gd name="T92" fmla="*/ 35 w 50"/>
                  <a:gd name="T93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0" h="52">
                    <a:moveTo>
                      <a:pt x="35" y="52"/>
                    </a:moveTo>
                    <a:lnTo>
                      <a:pt x="35" y="46"/>
                    </a:lnTo>
                    <a:lnTo>
                      <a:pt x="37" y="40"/>
                    </a:lnTo>
                    <a:lnTo>
                      <a:pt x="38" y="39"/>
                    </a:lnTo>
                    <a:lnTo>
                      <a:pt x="40" y="39"/>
                    </a:lnTo>
                    <a:lnTo>
                      <a:pt x="42" y="35"/>
                    </a:lnTo>
                    <a:lnTo>
                      <a:pt x="44" y="33"/>
                    </a:lnTo>
                    <a:lnTo>
                      <a:pt x="48" y="33"/>
                    </a:lnTo>
                    <a:lnTo>
                      <a:pt x="50" y="31"/>
                    </a:lnTo>
                    <a:lnTo>
                      <a:pt x="46" y="27"/>
                    </a:lnTo>
                    <a:lnTo>
                      <a:pt x="44" y="25"/>
                    </a:lnTo>
                    <a:lnTo>
                      <a:pt x="46" y="23"/>
                    </a:lnTo>
                    <a:lnTo>
                      <a:pt x="50" y="21"/>
                    </a:lnTo>
                    <a:lnTo>
                      <a:pt x="48" y="19"/>
                    </a:lnTo>
                    <a:lnTo>
                      <a:pt x="46" y="16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0" y="12"/>
                    </a:lnTo>
                    <a:lnTo>
                      <a:pt x="35" y="10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1" y="8"/>
                    </a:lnTo>
                    <a:lnTo>
                      <a:pt x="27" y="6"/>
                    </a:lnTo>
                    <a:lnTo>
                      <a:pt x="21" y="6"/>
                    </a:lnTo>
                    <a:lnTo>
                      <a:pt x="15" y="8"/>
                    </a:lnTo>
                    <a:lnTo>
                      <a:pt x="12" y="4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2"/>
                    </a:lnTo>
                    <a:lnTo>
                      <a:pt x="8" y="19"/>
                    </a:lnTo>
                    <a:lnTo>
                      <a:pt x="8" y="21"/>
                    </a:lnTo>
                    <a:lnTo>
                      <a:pt x="8" y="23"/>
                    </a:lnTo>
                    <a:lnTo>
                      <a:pt x="14" y="29"/>
                    </a:lnTo>
                    <a:lnTo>
                      <a:pt x="19" y="35"/>
                    </a:lnTo>
                    <a:lnTo>
                      <a:pt x="23" y="40"/>
                    </a:lnTo>
                    <a:lnTo>
                      <a:pt x="23" y="44"/>
                    </a:lnTo>
                    <a:lnTo>
                      <a:pt x="27" y="44"/>
                    </a:lnTo>
                    <a:lnTo>
                      <a:pt x="29" y="44"/>
                    </a:lnTo>
                    <a:lnTo>
                      <a:pt x="31" y="46"/>
                    </a:lnTo>
                    <a:lnTo>
                      <a:pt x="33" y="48"/>
                    </a:lnTo>
                    <a:lnTo>
                      <a:pt x="35" y="50"/>
                    </a:lnTo>
                    <a:lnTo>
                      <a:pt x="35" y="5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29" name="Freeform 227"/>
              <p:cNvSpPr>
                <a:spLocks noEditPoints="1"/>
              </p:cNvSpPr>
              <p:nvPr/>
            </p:nvSpPr>
            <p:spPr bwMode="gray">
              <a:xfrm>
                <a:off x="2940125" y="4716464"/>
                <a:ext cx="241273" cy="295275"/>
              </a:xfrm>
              <a:custGeom>
                <a:avLst/>
                <a:gdLst>
                  <a:gd name="T0" fmla="*/ 12 w 152"/>
                  <a:gd name="T1" fmla="*/ 83 h 186"/>
                  <a:gd name="T2" fmla="*/ 18 w 152"/>
                  <a:gd name="T3" fmla="*/ 87 h 186"/>
                  <a:gd name="T4" fmla="*/ 10 w 152"/>
                  <a:gd name="T5" fmla="*/ 85 h 186"/>
                  <a:gd name="T6" fmla="*/ 10 w 152"/>
                  <a:gd name="T7" fmla="*/ 92 h 186"/>
                  <a:gd name="T8" fmla="*/ 4 w 152"/>
                  <a:gd name="T9" fmla="*/ 112 h 186"/>
                  <a:gd name="T10" fmla="*/ 12 w 152"/>
                  <a:gd name="T11" fmla="*/ 125 h 186"/>
                  <a:gd name="T12" fmla="*/ 18 w 152"/>
                  <a:gd name="T13" fmla="*/ 133 h 186"/>
                  <a:gd name="T14" fmla="*/ 19 w 152"/>
                  <a:gd name="T15" fmla="*/ 144 h 186"/>
                  <a:gd name="T16" fmla="*/ 23 w 152"/>
                  <a:gd name="T17" fmla="*/ 156 h 186"/>
                  <a:gd name="T18" fmla="*/ 25 w 152"/>
                  <a:gd name="T19" fmla="*/ 169 h 186"/>
                  <a:gd name="T20" fmla="*/ 33 w 152"/>
                  <a:gd name="T21" fmla="*/ 183 h 186"/>
                  <a:gd name="T22" fmla="*/ 46 w 152"/>
                  <a:gd name="T23" fmla="*/ 177 h 186"/>
                  <a:gd name="T24" fmla="*/ 62 w 152"/>
                  <a:gd name="T25" fmla="*/ 179 h 186"/>
                  <a:gd name="T26" fmla="*/ 67 w 152"/>
                  <a:gd name="T27" fmla="*/ 186 h 186"/>
                  <a:gd name="T28" fmla="*/ 67 w 152"/>
                  <a:gd name="T29" fmla="*/ 186 h 186"/>
                  <a:gd name="T30" fmla="*/ 71 w 152"/>
                  <a:gd name="T31" fmla="*/ 181 h 186"/>
                  <a:gd name="T32" fmla="*/ 75 w 152"/>
                  <a:gd name="T33" fmla="*/ 179 h 186"/>
                  <a:gd name="T34" fmla="*/ 102 w 152"/>
                  <a:gd name="T35" fmla="*/ 160 h 186"/>
                  <a:gd name="T36" fmla="*/ 104 w 152"/>
                  <a:gd name="T37" fmla="*/ 152 h 186"/>
                  <a:gd name="T38" fmla="*/ 110 w 152"/>
                  <a:gd name="T39" fmla="*/ 140 h 186"/>
                  <a:gd name="T40" fmla="*/ 129 w 152"/>
                  <a:gd name="T41" fmla="*/ 135 h 186"/>
                  <a:gd name="T42" fmla="*/ 146 w 152"/>
                  <a:gd name="T43" fmla="*/ 142 h 186"/>
                  <a:gd name="T44" fmla="*/ 146 w 152"/>
                  <a:gd name="T45" fmla="*/ 138 h 186"/>
                  <a:gd name="T46" fmla="*/ 152 w 152"/>
                  <a:gd name="T47" fmla="*/ 121 h 186"/>
                  <a:gd name="T48" fmla="*/ 152 w 152"/>
                  <a:gd name="T49" fmla="*/ 113 h 186"/>
                  <a:gd name="T50" fmla="*/ 144 w 152"/>
                  <a:gd name="T51" fmla="*/ 106 h 186"/>
                  <a:gd name="T52" fmla="*/ 140 w 152"/>
                  <a:gd name="T53" fmla="*/ 98 h 186"/>
                  <a:gd name="T54" fmla="*/ 142 w 152"/>
                  <a:gd name="T55" fmla="*/ 89 h 186"/>
                  <a:gd name="T56" fmla="*/ 123 w 152"/>
                  <a:gd name="T57" fmla="*/ 89 h 186"/>
                  <a:gd name="T58" fmla="*/ 117 w 152"/>
                  <a:gd name="T59" fmla="*/ 77 h 186"/>
                  <a:gd name="T60" fmla="*/ 121 w 152"/>
                  <a:gd name="T61" fmla="*/ 69 h 186"/>
                  <a:gd name="T62" fmla="*/ 121 w 152"/>
                  <a:gd name="T63" fmla="*/ 64 h 186"/>
                  <a:gd name="T64" fmla="*/ 117 w 152"/>
                  <a:gd name="T65" fmla="*/ 52 h 186"/>
                  <a:gd name="T66" fmla="*/ 112 w 152"/>
                  <a:gd name="T67" fmla="*/ 46 h 186"/>
                  <a:gd name="T68" fmla="*/ 102 w 152"/>
                  <a:gd name="T69" fmla="*/ 46 h 186"/>
                  <a:gd name="T70" fmla="*/ 92 w 152"/>
                  <a:gd name="T71" fmla="*/ 42 h 186"/>
                  <a:gd name="T72" fmla="*/ 85 w 152"/>
                  <a:gd name="T73" fmla="*/ 37 h 186"/>
                  <a:gd name="T74" fmla="*/ 77 w 152"/>
                  <a:gd name="T75" fmla="*/ 31 h 186"/>
                  <a:gd name="T76" fmla="*/ 67 w 152"/>
                  <a:gd name="T77" fmla="*/ 25 h 186"/>
                  <a:gd name="T78" fmla="*/ 60 w 152"/>
                  <a:gd name="T79" fmla="*/ 25 h 186"/>
                  <a:gd name="T80" fmla="*/ 54 w 152"/>
                  <a:gd name="T81" fmla="*/ 21 h 186"/>
                  <a:gd name="T82" fmla="*/ 54 w 152"/>
                  <a:gd name="T83" fmla="*/ 10 h 186"/>
                  <a:gd name="T84" fmla="*/ 54 w 152"/>
                  <a:gd name="T85" fmla="*/ 0 h 186"/>
                  <a:gd name="T86" fmla="*/ 41 w 152"/>
                  <a:gd name="T87" fmla="*/ 2 h 186"/>
                  <a:gd name="T88" fmla="*/ 25 w 152"/>
                  <a:gd name="T89" fmla="*/ 12 h 186"/>
                  <a:gd name="T90" fmla="*/ 16 w 152"/>
                  <a:gd name="T91" fmla="*/ 21 h 186"/>
                  <a:gd name="T92" fmla="*/ 14 w 152"/>
                  <a:gd name="T93" fmla="*/ 23 h 186"/>
                  <a:gd name="T94" fmla="*/ 12 w 152"/>
                  <a:gd name="T95" fmla="*/ 27 h 186"/>
                  <a:gd name="T96" fmla="*/ 6 w 152"/>
                  <a:gd name="T97" fmla="*/ 27 h 186"/>
                  <a:gd name="T98" fmla="*/ 0 w 152"/>
                  <a:gd name="T99" fmla="*/ 27 h 186"/>
                  <a:gd name="T100" fmla="*/ 4 w 152"/>
                  <a:gd name="T101" fmla="*/ 52 h 186"/>
                  <a:gd name="T102" fmla="*/ 4 w 152"/>
                  <a:gd name="T103" fmla="*/ 62 h 186"/>
                  <a:gd name="T104" fmla="*/ 8 w 152"/>
                  <a:gd name="T105" fmla="*/ 69 h 186"/>
                  <a:gd name="T106" fmla="*/ 6 w 152"/>
                  <a:gd name="T107" fmla="*/ 75 h 186"/>
                  <a:gd name="T108" fmla="*/ 8 w 152"/>
                  <a:gd name="T109" fmla="*/ 79 h 186"/>
                  <a:gd name="T110" fmla="*/ 39 w 152"/>
                  <a:gd name="T111" fmla="*/ 129 h 186"/>
                  <a:gd name="T112" fmla="*/ 39 w 152"/>
                  <a:gd name="T113" fmla="*/ 135 h 186"/>
                  <a:gd name="T114" fmla="*/ 39 w 152"/>
                  <a:gd name="T115" fmla="*/ 137 h 186"/>
                  <a:gd name="T116" fmla="*/ 35 w 152"/>
                  <a:gd name="T117" fmla="*/ 131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2" h="186">
                    <a:moveTo>
                      <a:pt x="8" y="79"/>
                    </a:moveTo>
                    <a:lnTo>
                      <a:pt x="12" y="83"/>
                    </a:lnTo>
                    <a:lnTo>
                      <a:pt x="14" y="85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10" y="85"/>
                    </a:lnTo>
                    <a:lnTo>
                      <a:pt x="10" y="87"/>
                    </a:lnTo>
                    <a:lnTo>
                      <a:pt x="10" y="92"/>
                    </a:lnTo>
                    <a:lnTo>
                      <a:pt x="2" y="104"/>
                    </a:lnTo>
                    <a:lnTo>
                      <a:pt x="4" y="112"/>
                    </a:lnTo>
                    <a:lnTo>
                      <a:pt x="6" y="117"/>
                    </a:lnTo>
                    <a:lnTo>
                      <a:pt x="12" y="125"/>
                    </a:lnTo>
                    <a:lnTo>
                      <a:pt x="16" y="129"/>
                    </a:lnTo>
                    <a:lnTo>
                      <a:pt x="18" y="133"/>
                    </a:lnTo>
                    <a:lnTo>
                      <a:pt x="18" y="137"/>
                    </a:lnTo>
                    <a:lnTo>
                      <a:pt x="19" y="144"/>
                    </a:lnTo>
                    <a:lnTo>
                      <a:pt x="21" y="150"/>
                    </a:lnTo>
                    <a:lnTo>
                      <a:pt x="23" y="156"/>
                    </a:lnTo>
                    <a:lnTo>
                      <a:pt x="25" y="163"/>
                    </a:lnTo>
                    <a:lnTo>
                      <a:pt x="25" y="169"/>
                    </a:lnTo>
                    <a:lnTo>
                      <a:pt x="27" y="179"/>
                    </a:lnTo>
                    <a:lnTo>
                      <a:pt x="33" y="183"/>
                    </a:lnTo>
                    <a:lnTo>
                      <a:pt x="42" y="175"/>
                    </a:lnTo>
                    <a:lnTo>
                      <a:pt x="46" y="177"/>
                    </a:lnTo>
                    <a:lnTo>
                      <a:pt x="54" y="179"/>
                    </a:lnTo>
                    <a:lnTo>
                      <a:pt x="62" y="179"/>
                    </a:lnTo>
                    <a:lnTo>
                      <a:pt x="64" y="181"/>
                    </a:lnTo>
                    <a:lnTo>
                      <a:pt x="67" y="186"/>
                    </a:lnTo>
                    <a:lnTo>
                      <a:pt x="67" y="186"/>
                    </a:lnTo>
                    <a:lnTo>
                      <a:pt x="67" y="186"/>
                    </a:lnTo>
                    <a:lnTo>
                      <a:pt x="69" y="186"/>
                    </a:lnTo>
                    <a:lnTo>
                      <a:pt x="71" y="181"/>
                    </a:lnTo>
                    <a:lnTo>
                      <a:pt x="75" y="177"/>
                    </a:lnTo>
                    <a:lnTo>
                      <a:pt x="75" y="179"/>
                    </a:lnTo>
                    <a:lnTo>
                      <a:pt x="94" y="177"/>
                    </a:lnTo>
                    <a:lnTo>
                      <a:pt x="102" y="160"/>
                    </a:lnTo>
                    <a:lnTo>
                      <a:pt x="102" y="156"/>
                    </a:lnTo>
                    <a:lnTo>
                      <a:pt x="104" y="152"/>
                    </a:lnTo>
                    <a:lnTo>
                      <a:pt x="106" y="146"/>
                    </a:lnTo>
                    <a:lnTo>
                      <a:pt x="110" y="140"/>
                    </a:lnTo>
                    <a:lnTo>
                      <a:pt x="113" y="135"/>
                    </a:lnTo>
                    <a:lnTo>
                      <a:pt x="129" y="135"/>
                    </a:lnTo>
                    <a:lnTo>
                      <a:pt x="140" y="137"/>
                    </a:lnTo>
                    <a:lnTo>
                      <a:pt x="146" y="142"/>
                    </a:lnTo>
                    <a:lnTo>
                      <a:pt x="150" y="142"/>
                    </a:lnTo>
                    <a:lnTo>
                      <a:pt x="146" y="138"/>
                    </a:lnTo>
                    <a:lnTo>
                      <a:pt x="150" y="131"/>
                    </a:lnTo>
                    <a:lnTo>
                      <a:pt x="152" y="121"/>
                    </a:lnTo>
                    <a:lnTo>
                      <a:pt x="152" y="117"/>
                    </a:lnTo>
                    <a:lnTo>
                      <a:pt x="152" y="113"/>
                    </a:lnTo>
                    <a:lnTo>
                      <a:pt x="148" y="110"/>
                    </a:lnTo>
                    <a:lnTo>
                      <a:pt x="144" y="106"/>
                    </a:lnTo>
                    <a:lnTo>
                      <a:pt x="142" y="102"/>
                    </a:lnTo>
                    <a:lnTo>
                      <a:pt x="140" y="98"/>
                    </a:lnTo>
                    <a:lnTo>
                      <a:pt x="140" y="92"/>
                    </a:lnTo>
                    <a:lnTo>
                      <a:pt x="142" y="89"/>
                    </a:lnTo>
                    <a:lnTo>
                      <a:pt x="123" y="90"/>
                    </a:lnTo>
                    <a:lnTo>
                      <a:pt x="123" y="89"/>
                    </a:lnTo>
                    <a:lnTo>
                      <a:pt x="121" y="83"/>
                    </a:lnTo>
                    <a:lnTo>
                      <a:pt x="117" y="77"/>
                    </a:lnTo>
                    <a:lnTo>
                      <a:pt x="117" y="73"/>
                    </a:lnTo>
                    <a:lnTo>
                      <a:pt x="121" y="69"/>
                    </a:lnTo>
                    <a:lnTo>
                      <a:pt x="123" y="67"/>
                    </a:lnTo>
                    <a:lnTo>
                      <a:pt x="121" y="64"/>
                    </a:lnTo>
                    <a:lnTo>
                      <a:pt x="119" y="58"/>
                    </a:lnTo>
                    <a:lnTo>
                      <a:pt x="117" y="52"/>
                    </a:lnTo>
                    <a:lnTo>
                      <a:pt x="115" y="48"/>
                    </a:lnTo>
                    <a:lnTo>
                      <a:pt x="112" y="46"/>
                    </a:lnTo>
                    <a:lnTo>
                      <a:pt x="108" y="48"/>
                    </a:lnTo>
                    <a:lnTo>
                      <a:pt x="102" y="46"/>
                    </a:lnTo>
                    <a:lnTo>
                      <a:pt x="98" y="44"/>
                    </a:lnTo>
                    <a:lnTo>
                      <a:pt x="92" y="42"/>
                    </a:lnTo>
                    <a:lnTo>
                      <a:pt x="89" y="41"/>
                    </a:lnTo>
                    <a:lnTo>
                      <a:pt x="85" y="37"/>
                    </a:lnTo>
                    <a:lnTo>
                      <a:pt x="83" y="35"/>
                    </a:lnTo>
                    <a:lnTo>
                      <a:pt x="77" y="31"/>
                    </a:lnTo>
                    <a:lnTo>
                      <a:pt x="73" y="27"/>
                    </a:lnTo>
                    <a:lnTo>
                      <a:pt x="67" y="25"/>
                    </a:lnTo>
                    <a:lnTo>
                      <a:pt x="64" y="27"/>
                    </a:lnTo>
                    <a:lnTo>
                      <a:pt x="60" y="25"/>
                    </a:lnTo>
                    <a:lnTo>
                      <a:pt x="58" y="25"/>
                    </a:lnTo>
                    <a:lnTo>
                      <a:pt x="54" y="21"/>
                    </a:lnTo>
                    <a:lnTo>
                      <a:pt x="52" y="18"/>
                    </a:lnTo>
                    <a:lnTo>
                      <a:pt x="54" y="10"/>
                    </a:lnTo>
                    <a:lnTo>
                      <a:pt x="56" y="4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41" y="2"/>
                    </a:lnTo>
                    <a:lnTo>
                      <a:pt x="33" y="4"/>
                    </a:lnTo>
                    <a:lnTo>
                      <a:pt x="25" y="12"/>
                    </a:lnTo>
                    <a:lnTo>
                      <a:pt x="19" y="19"/>
                    </a:lnTo>
                    <a:lnTo>
                      <a:pt x="16" y="21"/>
                    </a:lnTo>
                    <a:lnTo>
                      <a:pt x="14" y="21"/>
                    </a:lnTo>
                    <a:lnTo>
                      <a:pt x="14" y="23"/>
                    </a:lnTo>
                    <a:lnTo>
                      <a:pt x="14" y="25"/>
                    </a:lnTo>
                    <a:lnTo>
                      <a:pt x="12" y="27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2" y="25"/>
                    </a:lnTo>
                    <a:lnTo>
                      <a:pt x="0" y="27"/>
                    </a:lnTo>
                    <a:lnTo>
                      <a:pt x="8" y="4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4" y="62"/>
                    </a:lnTo>
                    <a:lnTo>
                      <a:pt x="6" y="67"/>
                    </a:lnTo>
                    <a:lnTo>
                      <a:pt x="8" y="69"/>
                    </a:lnTo>
                    <a:lnTo>
                      <a:pt x="6" y="71"/>
                    </a:lnTo>
                    <a:lnTo>
                      <a:pt x="6" y="75"/>
                    </a:lnTo>
                    <a:lnTo>
                      <a:pt x="8" y="77"/>
                    </a:lnTo>
                    <a:lnTo>
                      <a:pt x="8" y="79"/>
                    </a:lnTo>
                    <a:close/>
                    <a:moveTo>
                      <a:pt x="37" y="127"/>
                    </a:moveTo>
                    <a:lnTo>
                      <a:pt x="39" y="129"/>
                    </a:lnTo>
                    <a:lnTo>
                      <a:pt x="39" y="133"/>
                    </a:lnTo>
                    <a:lnTo>
                      <a:pt x="39" y="135"/>
                    </a:lnTo>
                    <a:lnTo>
                      <a:pt x="39" y="135"/>
                    </a:lnTo>
                    <a:lnTo>
                      <a:pt x="39" y="137"/>
                    </a:lnTo>
                    <a:lnTo>
                      <a:pt x="37" y="135"/>
                    </a:lnTo>
                    <a:lnTo>
                      <a:pt x="35" y="131"/>
                    </a:lnTo>
                    <a:lnTo>
                      <a:pt x="37" y="12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0" name="Freeform 228"/>
              <p:cNvSpPr>
                <a:spLocks/>
              </p:cNvSpPr>
              <p:nvPr/>
            </p:nvSpPr>
            <p:spPr bwMode="gray">
              <a:xfrm>
                <a:off x="6095724" y="3757614"/>
                <a:ext cx="61906" cy="30163"/>
              </a:xfrm>
              <a:custGeom>
                <a:avLst/>
                <a:gdLst>
                  <a:gd name="T0" fmla="*/ 0 w 39"/>
                  <a:gd name="T1" fmla="*/ 9 h 19"/>
                  <a:gd name="T2" fmla="*/ 0 w 39"/>
                  <a:gd name="T3" fmla="*/ 15 h 19"/>
                  <a:gd name="T4" fmla="*/ 4 w 39"/>
                  <a:gd name="T5" fmla="*/ 19 h 19"/>
                  <a:gd name="T6" fmla="*/ 10 w 39"/>
                  <a:gd name="T7" fmla="*/ 19 h 19"/>
                  <a:gd name="T8" fmla="*/ 16 w 39"/>
                  <a:gd name="T9" fmla="*/ 17 h 19"/>
                  <a:gd name="T10" fmla="*/ 23 w 39"/>
                  <a:gd name="T11" fmla="*/ 19 h 19"/>
                  <a:gd name="T12" fmla="*/ 35 w 39"/>
                  <a:gd name="T13" fmla="*/ 19 h 19"/>
                  <a:gd name="T14" fmla="*/ 39 w 39"/>
                  <a:gd name="T15" fmla="*/ 17 h 19"/>
                  <a:gd name="T16" fmla="*/ 39 w 39"/>
                  <a:gd name="T17" fmla="*/ 11 h 19"/>
                  <a:gd name="T18" fmla="*/ 35 w 39"/>
                  <a:gd name="T19" fmla="*/ 2 h 19"/>
                  <a:gd name="T20" fmla="*/ 27 w 39"/>
                  <a:gd name="T21" fmla="*/ 2 h 19"/>
                  <a:gd name="T22" fmla="*/ 22 w 39"/>
                  <a:gd name="T23" fmla="*/ 2 h 19"/>
                  <a:gd name="T24" fmla="*/ 16 w 39"/>
                  <a:gd name="T25" fmla="*/ 0 h 19"/>
                  <a:gd name="T26" fmla="*/ 8 w 39"/>
                  <a:gd name="T27" fmla="*/ 0 h 19"/>
                  <a:gd name="T28" fmla="*/ 4 w 39"/>
                  <a:gd name="T29" fmla="*/ 2 h 19"/>
                  <a:gd name="T30" fmla="*/ 0 w 39"/>
                  <a:gd name="T31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9" h="19">
                    <a:moveTo>
                      <a:pt x="0" y="9"/>
                    </a:moveTo>
                    <a:lnTo>
                      <a:pt x="0" y="15"/>
                    </a:lnTo>
                    <a:lnTo>
                      <a:pt x="4" y="19"/>
                    </a:lnTo>
                    <a:lnTo>
                      <a:pt x="10" y="19"/>
                    </a:lnTo>
                    <a:lnTo>
                      <a:pt x="16" y="17"/>
                    </a:lnTo>
                    <a:lnTo>
                      <a:pt x="23" y="19"/>
                    </a:lnTo>
                    <a:lnTo>
                      <a:pt x="35" y="19"/>
                    </a:lnTo>
                    <a:lnTo>
                      <a:pt x="39" y="17"/>
                    </a:lnTo>
                    <a:lnTo>
                      <a:pt x="39" y="11"/>
                    </a:lnTo>
                    <a:lnTo>
                      <a:pt x="35" y="2"/>
                    </a:lnTo>
                    <a:lnTo>
                      <a:pt x="27" y="2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1" name="Freeform 229"/>
              <p:cNvSpPr>
                <a:spLocks/>
              </p:cNvSpPr>
              <p:nvPr/>
            </p:nvSpPr>
            <p:spPr bwMode="gray">
              <a:xfrm>
                <a:off x="4341732" y="4141789"/>
                <a:ext cx="57144" cy="163513"/>
              </a:xfrm>
              <a:custGeom>
                <a:avLst/>
                <a:gdLst>
                  <a:gd name="T0" fmla="*/ 19 w 36"/>
                  <a:gd name="T1" fmla="*/ 99 h 103"/>
                  <a:gd name="T2" fmla="*/ 25 w 36"/>
                  <a:gd name="T3" fmla="*/ 94 h 103"/>
                  <a:gd name="T4" fmla="*/ 27 w 36"/>
                  <a:gd name="T5" fmla="*/ 84 h 103"/>
                  <a:gd name="T6" fmla="*/ 25 w 36"/>
                  <a:gd name="T7" fmla="*/ 71 h 103"/>
                  <a:gd name="T8" fmla="*/ 25 w 36"/>
                  <a:gd name="T9" fmla="*/ 57 h 103"/>
                  <a:gd name="T10" fmla="*/ 29 w 36"/>
                  <a:gd name="T11" fmla="*/ 57 h 103"/>
                  <a:gd name="T12" fmla="*/ 29 w 36"/>
                  <a:gd name="T13" fmla="*/ 55 h 103"/>
                  <a:gd name="T14" fmla="*/ 29 w 36"/>
                  <a:gd name="T15" fmla="*/ 49 h 103"/>
                  <a:gd name="T16" fmla="*/ 31 w 36"/>
                  <a:gd name="T17" fmla="*/ 44 h 103"/>
                  <a:gd name="T18" fmla="*/ 33 w 36"/>
                  <a:gd name="T19" fmla="*/ 36 h 103"/>
                  <a:gd name="T20" fmla="*/ 35 w 36"/>
                  <a:gd name="T21" fmla="*/ 32 h 103"/>
                  <a:gd name="T22" fmla="*/ 36 w 36"/>
                  <a:gd name="T23" fmla="*/ 23 h 103"/>
                  <a:gd name="T24" fmla="*/ 31 w 36"/>
                  <a:gd name="T25" fmla="*/ 17 h 103"/>
                  <a:gd name="T26" fmla="*/ 33 w 36"/>
                  <a:gd name="T27" fmla="*/ 11 h 103"/>
                  <a:gd name="T28" fmla="*/ 25 w 36"/>
                  <a:gd name="T29" fmla="*/ 5 h 103"/>
                  <a:gd name="T30" fmla="*/ 23 w 36"/>
                  <a:gd name="T31" fmla="*/ 0 h 103"/>
                  <a:gd name="T32" fmla="*/ 17 w 36"/>
                  <a:gd name="T33" fmla="*/ 0 h 103"/>
                  <a:gd name="T34" fmla="*/ 13 w 36"/>
                  <a:gd name="T35" fmla="*/ 7 h 103"/>
                  <a:gd name="T36" fmla="*/ 8 w 36"/>
                  <a:gd name="T37" fmla="*/ 11 h 103"/>
                  <a:gd name="T38" fmla="*/ 6 w 36"/>
                  <a:gd name="T39" fmla="*/ 15 h 103"/>
                  <a:gd name="T40" fmla="*/ 2 w 36"/>
                  <a:gd name="T41" fmla="*/ 17 h 103"/>
                  <a:gd name="T42" fmla="*/ 0 w 36"/>
                  <a:gd name="T43" fmla="*/ 28 h 103"/>
                  <a:gd name="T44" fmla="*/ 12 w 36"/>
                  <a:gd name="T45" fmla="*/ 34 h 103"/>
                  <a:gd name="T46" fmla="*/ 12 w 36"/>
                  <a:gd name="T47" fmla="*/ 46 h 103"/>
                  <a:gd name="T48" fmla="*/ 12 w 36"/>
                  <a:gd name="T49" fmla="*/ 49 h 103"/>
                  <a:gd name="T50" fmla="*/ 12 w 36"/>
                  <a:gd name="T51" fmla="*/ 63 h 103"/>
                  <a:gd name="T52" fmla="*/ 12 w 36"/>
                  <a:gd name="T53" fmla="*/ 72 h 103"/>
                  <a:gd name="T54" fmla="*/ 10 w 36"/>
                  <a:gd name="T55" fmla="*/ 82 h 103"/>
                  <a:gd name="T56" fmla="*/ 12 w 36"/>
                  <a:gd name="T57" fmla="*/ 92 h 103"/>
                  <a:gd name="T58" fmla="*/ 12 w 36"/>
                  <a:gd name="T59" fmla="*/ 96 h 103"/>
                  <a:gd name="T60" fmla="*/ 13 w 36"/>
                  <a:gd name="T61" fmla="*/ 99 h 103"/>
                  <a:gd name="T62" fmla="*/ 15 w 36"/>
                  <a:gd name="T63" fmla="*/ 101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6" h="103">
                    <a:moveTo>
                      <a:pt x="15" y="101"/>
                    </a:moveTo>
                    <a:lnTo>
                      <a:pt x="19" y="99"/>
                    </a:lnTo>
                    <a:lnTo>
                      <a:pt x="25" y="99"/>
                    </a:lnTo>
                    <a:lnTo>
                      <a:pt x="25" y="94"/>
                    </a:lnTo>
                    <a:lnTo>
                      <a:pt x="27" y="88"/>
                    </a:lnTo>
                    <a:lnTo>
                      <a:pt x="27" y="84"/>
                    </a:lnTo>
                    <a:lnTo>
                      <a:pt x="25" y="78"/>
                    </a:lnTo>
                    <a:lnTo>
                      <a:pt x="25" y="71"/>
                    </a:lnTo>
                    <a:lnTo>
                      <a:pt x="25" y="61"/>
                    </a:lnTo>
                    <a:lnTo>
                      <a:pt x="25" y="57"/>
                    </a:lnTo>
                    <a:lnTo>
                      <a:pt x="27" y="57"/>
                    </a:lnTo>
                    <a:lnTo>
                      <a:pt x="29" y="57"/>
                    </a:lnTo>
                    <a:lnTo>
                      <a:pt x="29" y="57"/>
                    </a:lnTo>
                    <a:lnTo>
                      <a:pt x="29" y="55"/>
                    </a:lnTo>
                    <a:lnTo>
                      <a:pt x="29" y="53"/>
                    </a:lnTo>
                    <a:lnTo>
                      <a:pt x="29" y="49"/>
                    </a:lnTo>
                    <a:lnTo>
                      <a:pt x="31" y="48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3" y="36"/>
                    </a:lnTo>
                    <a:lnTo>
                      <a:pt x="35" y="34"/>
                    </a:lnTo>
                    <a:lnTo>
                      <a:pt x="35" y="32"/>
                    </a:lnTo>
                    <a:lnTo>
                      <a:pt x="35" y="26"/>
                    </a:lnTo>
                    <a:lnTo>
                      <a:pt x="36" y="23"/>
                    </a:lnTo>
                    <a:lnTo>
                      <a:pt x="33" y="19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33" y="11"/>
                    </a:lnTo>
                    <a:lnTo>
                      <a:pt x="33" y="7"/>
                    </a:lnTo>
                    <a:lnTo>
                      <a:pt x="25" y="5"/>
                    </a:lnTo>
                    <a:lnTo>
                      <a:pt x="25" y="3"/>
                    </a:lnTo>
                    <a:lnTo>
                      <a:pt x="23" y="0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3" y="5"/>
                    </a:lnTo>
                    <a:lnTo>
                      <a:pt x="13" y="7"/>
                    </a:lnTo>
                    <a:lnTo>
                      <a:pt x="12" y="9"/>
                    </a:lnTo>
                    <a:lnTo>
                      <a:pt x="8" y="11"/>
                    </a:lnTo>
                    <a:lnTo>
                      <a:pt x="6" y="13"/>
                    </a:lnTo>
                    <a:lnTo>
                      <a:pt x="6" y="15"/>
                    </a:lnTo>
                    <a:lnTo>
                      <a:pt x="4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0" y="28"/>
                    </a:lnTo>
                    <a:lnTo>
                      <a:pt x="10" y="32"/>
                    </a:lnTo>
                    <a:lnTo>
                      <a:pt x="12" y="34"/>
                    </a:lnTo>
                    <a:lnTo>
                      <a:pt x="10" y="40"/>
                    </a:lnTo>
                    <a:lnTo>
                      <a:pt x="12" y="46"/>
                    </a:lnTo>
                    <a:lnTo>
                      <a:pt x="12" y="48"/>
                    </a:lnTo>
                    <a:lnTo>
                      <a:pt x="12" y="49"/>
                    </a:lnTo>
                    <a:lnTo>
                      <a:pt x="12" y="55"/>
                    </a:lnTo>
                    <a:lnTo>
                      <a:pt x="12" y="63"/>
                    </a:lnTo>
                    <a:lnTo>
                      <a:pt x="12" y="67"/>
                    </a:lnTo>
                    <a:lnTo>
                      <a:pt x="12" y="72"/>
                    </a:lnTo>
                    <a:lnTo>
                      <a:pt x="12" y="78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12" y="92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3" y="97"/>
                    </a:lnTo>
                    <a:lnTo>
                      <a:pt x="13" y="99"/>
                    </a:lnTo>
                    <a:lnTo>
                      <a:pt x="13" y="103"/>
                    </a:lnTo>
                    <a:lnTo>
                      <a:pt x="15" y="10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2" name="Freeform 230"/>
              <p:cNvSpPr>
                <a:spLocks/>
              </p:cNvSpPr>
              <p:nvPr/>
            </p:nvSpPr>
            <p:spPr bwMode="gray">
              <a:xfrm>
                <a:off x="4816342" y="2959101"/>
                <a:ext cx="147621" cy="136525"/>
              </a:xfrm>
              <a:custGeom>
                <a:avLst/>
                <a:gdLst>
                  <a:gd name="T0" fmla="*/ 29 w 93"/>
                  <a:gd name="T1" fmla="*/ 13 h 86"/>
                  <a:gd name="T2" fmla="*/ 39 w 93"/>
                  <a:gd name="T3" fmla="*/ 13 h 86"/>
                  <a:gd name="T4" fmla="*/ 41 w 93"/>
                  <a:gd name="T5" fmla="*/ 12 h 86"/>
                  <a:gd name="T6" fmla="*/ 41 w 93"/>
                  <a:gd name="T7" fmla="*/ 2 h 86"/>
                  <a:gd name="T8" fmla="*/ 46 w 93"/>
                  <a:gd name="T9" fmla="*/ 2 h 86"/>
                  <a:gd name="T10" fmla="*/ 54 w 93"/>
                  <a:gd name="T11" fmla="*/ 2 h 86"/>
                  <a:gd name="T12" fmla="*/ 60 w 93"/>
                  <a:gd name="T13" fmla="*/ 2 h 86"/>
                  <a:gd name="T14" fmla="*/ 64 w 93"/>
                  <a:gd name="T15" fmla="*/ 2 h 86"/>
                  <a:gd name="T16" fmla="*/ 71 w 93"/>
                  <a:gd name="T17" fmla="*/ 6 h 86"/>
                  <a:gd name="T18" fmla="*/ 77 w 93"/>
                  <a:gd name="T19" fmla="*/ 12 h 86"/>
                  <a:gd name="T20" fmla="*/ 81 w 93"/>
                  <a:gd name="T21" fmla="*/ 19 h 86"/>
                  <a:gd name="T22" fmla="*/ 81 w 93"/>
                  <a:gd name="T23" fmla="*/ 31 h 86"/>
                  <a:gd name="T24" fmla="*/ 87 w 93"/>
                  <a:gd name="T25" fmla="*/ 38 h 86"/>
                  <a:gd name="T26" fmla="*/ 93 w 93"/>
                  <a:gd name="T27" fmla="*/ 46 h 86"/>
                  <a:gd name="T28" fmla="*/ 93 w 93"/>
                  <a:gd name="T29" fmla="*/ 50 h 86"/>
                  <a:gd name="T30" fmla="*/ 87 w 93"/>
                  <a:gd name="T31" fmla="*/ 52 h 86"/>
                  <a:gd name="T32" fmla="*/ 85 w 93"/>
                  <a:gd name="T33" fmla="*/ 58 h 86"/>
                  <a:gd name="T34" fmla="*/ 87 w 93"/>
                  <a:gd name="T35" fmla="*/ 69 h 86"/>
                  <a:gd name="T36" fmla="*/ 87 w 93"/>
                  <a:gd name="T37" fmla="*/ 75 h 86"/>
                  <a:gd name="T38" fmla="*/ 81 w 93"/>
                  <a:gd name="T39" fmla="*/ 77 h 86"/>
                  <a:gd name="T40" fmla="*/ 79 w 93"/>
                  <a:gd name="T41" fmla="*/ 83 h 86"/>
                  <a:gd name="T42" fmla="*/ 77 w 93"/>
                  <a:gd name="T43" fmla="*/ 84 h 86"/>
                  <a:gd name="T44" fmla="*/ 70 w 93"/>
                  <a:gd name="T45" fmla="*/ 84 h 86"/>
                  <a:gd name="T46" fmla="*/ 62 w 93"/>
                  <a:gd name="T47" fmla="*/ 83 h 86"/>
                  <a:gd name="T48" fmla="*/ 56 w 93"/>
                  <a:gd name="T49" fmla="*/ 83 h 86"/>
                  <a:gd name="T50" fmla="*/ 52 w 93"/>
                  <a:gd name="T51" fmla="*/ 84 h 86"/>
                  <a:gd name="T52" fmla="*/ 50 w 93"/>
                  <a:gd name="T53" fmla="*/ 83 h 86"/>
                  <a:gd name="T54" fmla="*/ 46 w 93"/>
                  <a:gd name="T55" fmla="*/ 83 h 86"/>
                  <a:gd name="T56" fmla="*/ 35 w 93"/>
                  <a:gd name="T57" fmla="*/ 83 h 86"/>
                  <a:gd name="T58" fmla="*/ 22 w 93"/>
                  <a:gd name="T59" fmla="*/ 81 h 86"/>
                  <a:gd name="T60" fmla="*/ 12 w 93"/>
                  <a:gd name="T61" fmla="*/ 81 h 86"/>
                  <a:gd name="T62" fmla="*/ 10 w 93"/>
                  <a:gd name="T63" fmla="*/ 84 h 86"/>
                  <a:gd name="T64" fmla="*/ 8 w 93"/>
                  <a:gd name="T65" fmla="*/ 84 h 86"/>
                  <a:gd name="T66" fmla="*/ 0 w 93"/>
                  <a:gd name="T67" fmla="*/ 83 h 86"/>
                  <a:gd name="T68" fmla="*/ 0 w 93"/>
                  <a:gd name="T69" fmla="*/ 73 h 86"/>
                  <a:gd name="T70" fmla="*/ 4 w 93"/>
                  <a:gd name="T71" fmla="*/ 61 h 86"/>
                  <a:gd name="T72" fmla="*/ 0 w 93"/>
                  <a:gd name="T73" fmla="*/ 52 h 86"/>
                  <a:gd name="T74" fmla="*/ 8 w 93"/>
                  <a:gd name="T75" fmla="*/ 48 h 86"/>
                  <a:gd name="T76" fmla="*/ 14 w 93"/>
                  <a:gd name="T77" fmla="*/ 46 h 86"/>
                  <a:gd name="T78" fmla="*/ 20 w 93"/>
                  <a:gd name="T79" fmla="*/ 44 h 86"/>
                  <a:gd name="T80" fmla="*/ 20 w 93"/>
                  <a:gd name="T81" fmla="*/ 36 h 86"/>
                  <a:gd name="T82" fmla="*/ 25 w 93"/>
                  <a:gd name="T83" fmla="*/ 25 h 86"/>
                  <a:gd name="T84" fmla="*/ 27 w 93"/>
                  <a:gd name="T85" fmla="*/ 17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93" h="86">
                    <a:moveTo>
                      <a:pt x="27" y="17"/>
                    </a:moveTo>
                    <a:lnTo>
                      <a:pt x="29" y="13"/>
                    </a:lnTo>
                    <a:lnTo>
                      <a:pt x="35" y="12"/>
                    </a:lnTo>
                    <a:lnTo>
                      <a:pt x="39" y="13"/>
                    </a:lnTo>
                    <a:lnTo>
                      <a:pt x="39" y="13"/>
                    </a:lnTo>
                    <a:lnTo>
                      <a:pt x="41" y="12"/>
                    </a:lnTo>
                    <a:lnTo>
                      <a:pt x="41" y="8"/>
                    </a:lnTo>
                    <a:lnTo>
                      <a:pt x="41" y="2"/>
                    </a:lnTo>
                    <a:lnTo>
                      <a:pt x="43" y="0"/>
                    </a:lnTo>
                    <a:lnTo>
                      <a:pt x="46" y="2"/>
                    </a:lnTo>
                    <a:lnTo>
                      <a:pt x="52" y="0"/>
                    </a:lnTo>
                    <a:lnTo>
                      <a:pt x="54" y="2"/>
                    </a:lnTo>
                    <a:lnTo>
                      <a:pt x="56" y="4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8" y="4"/>
                    </a:lnTo>
                    <a:lnTo>
                      <a:pt x="71" y="6"/>
                    </a:lnTo>
                    <a:lnTo>
                      <a:pt x="73" y="8"/>
                    </a:lnTo>
                    <a:lnTo>
                      <a:pt x="77" y="12"/>
                    </a:lnTo>
                    <a:lnTo>
                      <a:pt x="79" y="15"/>
                    </a:lnTo>
                    <a:lnTo>
                      <a:pt x="81" y="19"/>
                    </a:lnTo>
                    <a:lnTo>
                      <a:pt x="81" y="25"/>
                    </a:lnTo>
                    <a:lnTo>
                      <a:pt x="81" y="31"/>
                    </a:lnTo>
                    <a:lnTo>
                      <a:pt x="83" y="36"/>
                    </a:lnTo>
                    <a:lnTo>
                      <a:pt x="87" y="38"/>
                    </a:lnTo>
                    <a:lnTo>
                      <a:pt x="91" y="42"/>
                    </a:lnTo>
                    <a:lnTo>
                      <a:pt x="93" y="46"/>
                    </a:lnTo>
                    <a:lnTo>
                      <a:pt x="93" y="48"/>
                    </a:lnTo>
                    <a:lnTo>
                      <a:pt x="93" y="50"/>
                    </a:lnTo>
                    <a:lnTo>
                      <a:pt x="91" y="52"/>
                    </a:lnTo>
                    <a:lnTo>
                      <a:pt x="87" y="52"/>
                    </a:lnTo>
                    <a:lnTo>
                      <a:pt x="83" y="54"/>
                    </a:lnTo>
                    <a:lnTo>
                      <a:pt x="85" y="58"/>
                    </a:lnTo>
                    <a:lnTo>
                      <a:pt x="87" y="59"/>
                    </a:lnTo>
                    <a:lnTo>
                      <a:pt x="87" y="69"/>
                    </a:lnTo>
                    <a:lnTo>
                      <a:pt x="87" y="75"/>
                    </a:lnTo>
                    <a:lnTo>
                      <a:pt x="87" y="75"/>
                    </a:lnTo>
                    <a:lnTo>
                      <a:pt x="83" y="75"/>
                    </a:lnTo>
                    <a:lnTo>
                      <a:pt x="81" y="77"/>
                    </a:lnTo>
                    <a:lnTo>
                      <a:pt x="79" y="79"/>
                    </a:lnTo>
                    <a:lnTo>
                      <a:pt x="79" y="83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5" y="84"/>
                    </a:lnTo>
                    <a:lnTo>
                      <a:pt x="70" y="84"/>
                    </a:lnTo>
                    <a:lnTo>
                      <a:pt x="66" y="84"/>
                    </a:lnTo>
                    <a:lnTo>
                      <a:pt x="62" y="83"/>
                    </a:lnTo>
                    <a:lnTo>
                      <a:pt x="60" y="84"/>
                    </a:lnTo>
                    <a:lnTo>
                      <a:pt x="56" y="83"/>
                    </a:lnTo>
                    <a:lnTo>
                      <a:pt x="54" y="83"/>
                    </a:lnTo>
                    <a:lnTo>
                      <a:pt x="52" y="84"/>
                    </a:lnTo>
                    <a:lnTo>
                      <a:pt x="52" y="86"/>
                    </a:lnTo>
                    <a:lnTo>
                      <a:pt x="50" y="83"/>
                    </a:lnTo>
                    <a:lnTo>
                      <a:pt x="50" y="83"/>
                    </a:lnTo>
                    <a:lnTo>
                      <a:pt x="46" y="83"/>
                    </a:lnTo>
                    <a:lnTo>
                      <a:pt x="41" y="83"/>
                    </a:lnTo>
                    <a:lnTo>
                      <a:pt x="35" y="83"/>
                    </a:lnTo>
                    <a:lnTo>
                      <a:pt x="29" y="81"/>
                    </a:lnTo>
                    <a:lnTo>
                      <a:pt x="22" y="81"/>
                    </a:lnTo>
                    <a:lnTo>
                      <a:pt x="16" y="81"/>
                    </a:lnTo>
                    <a:lnTo>
                      <a:pt x="12" y="81"/>
                    </a:lnTo>
                    <a:lnTo>
                      <a:pt x="12" y="83"/>
                    </a:lnTo>
                    <a:lnTo>
                      <a:pt x="10" y="84"/>
                    </a:lnTo>
                    <a:lnTo>
                      <a:pt x="10" y="84"/>
                    </a:lnTo>
                    <a:lnTo>
                      <a:pt x="8" y="84"/>
                    </a:lnTo>
                    <a:lnTo>
                      <a:pt x="4" y="81"/>
                    </a:lnTo>
                    <a:lnTo>
                      <a:pt x="0" y="83"/>
                    </a:lnTo>
                    <a:lnTo>
                      <a:pt x="0" y="79"/>
                    </a:lnTo>
                    <a:lnTo>
                      <a:pt x="0" y="73"/>
                    </a:lnTo>
                    <a:lnTo>
                      <a:pt x="2" y="67"/>
                    </a:lnTo>
                    <a:lnTo>
                      <a:pt x="4" y="61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6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4" y="46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36"/>
                    </a:lnTo>
                    <a:lnTo>
                      <a:pt x="22" y="29"/>
                    </a:lnTo>
                    <a:lnTo>
                      <a:pt x="25" y="25"/>
                    </a:lnTo>
                    <a:lnTo>
                      <a:pt x="27" y="19"/>
                    </a:lnTo>
                    <a:lnTo>
                      <a:pt x="27" y="1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3" name="Freeform 231"/>
              <p:cNvSpPr>
                <a:spLocks/>
              </p:cNvSpPr>
              <p:nvPr/>
            </p:nvSpPr>
            <p:spPr bwMode="gray">
              <a:xfrm>
                <a:off x="2562342" y="4000501"/>
                <a:ext cx="25397" cy="61913"/>
              </a:xfrm>
              <a:custGeom>
                <a:avLst/>
                <a:gdLst>
                  <a:gd name="T0" fmla="*/ 10 w 16"/>
                  <a:gd name="T1" fmla="*/ 0 h 39"/>
                  <a:gd name="T2" fmla="*/ 6 w 16"/>
                  <a:gd name="T3" fmla="*/ 0 h 39"/>
                  <a:gd name="T4" fmla="*/ 4 w 16"/>
                  <a:gd name="T5" fmla="*/ 2 h 39"/>
                  <a:gd name="T6" fmla="*/ 0 w 16"/>
                  <a:gd name="T7" fmla="*/ 4 h 39"/>
                  <a:gd name="T8" fmla="*/ 0 w 16"/>
                  <a:gd name="T9" fmla="*/ 39 h 39"/>
                  <a:gd name="T10" fmla="*/ 8 w 16"/>
                  <a:gd name="T11" fmla="*/ 39 h 39"/>
                  <a:gd name="T12" fmla="*/ 10 w 16"/>
                  <a:gd name="T13" fmla="*/ 29 h 39"/>
                  <a:gd name="T14" fmla="*/ 14 w 16"/>
                  <a:gd name="T15" fmla="*/ 19 h 39"/>
                  <a:gd name="T16" fmla="*/ 16 w 16"/>
                  <a:gd name="T17" fmla="*/ 12 h 39"/>
                  <a:gd name="T18" fmla="*/ 16 w 16"/>
                  <a:gd name="T19" fmla="*/ 4 h 39"/>
                  <a:gd name="T20" fmla="*/ 14 w 16"/>
                  <a:gd name="T21" fmla="*/ 2 h 39"/>
                  <a:gd name="T22" fmla="*/ 12 w 16"/>
                  <a:gd name="T23" fmla="*/ 0 h 39"/>
                  <a:gd name="T24" fmla="*/ 10 w 16"/>
                  <a:gd name="T2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39">
                    <a:moveTo>
                      <a:pt x="10" y="0"/>
                    </a:moveTo>
                    <a:lnTo>
                      <a:pt x="6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39"/>
                    </a:lnTo>
                    <a:lnTo>
                      <a:pt x="8" y="39"/>
                    </a:lnTo>
                    <a:lnTo>
                      <a:pt x="10" y="29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16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4" name="Freeform 232"/>
              <p:cNvSpPr>
                <a:spLocks/>
              </p:cNvSpPr>
              <p:nvPr/>
            </p:nvSpPr>
            <p:spPr bwMode="gray">
              <a:xfrm>
                <a:off x="4371891" y="3108326"/>
                <a:ext cx="79366" cy="52388"/>
              </a:xfrm>
              <a:custGeom>
                <a:avLst/>
                <a:gdLst>
                  <a:gd name="T0" fmla="*/ 0 w 50"/>
                  <a:gd name="T1" fmla="*/ 4 h 33"/>
                  <a:gd name="T2" fmla="*/ 4 w 50"/>
                  <a:gd name="T3" fmla="*/ 8 h 33"/>
                  <a:gd name="T4" fmla="*/ 4 w 50"/>
                  <a:gd name="T5" fmla="*/ 8 h 33"/>
                  <a:gd name="T6" fmla="*/ 6 w 50"/>
                  <a:gd name="T7" fmla="*/ 10 h 33"/>
                  <a:gd name="T8" fmla="*/ 8 w 50"/>
                  <a:gd name="T9" fmla="*/ 13 h 33"/>
                  <a:gd name="T10" fmla="*/ 8 w 50"/>
                  <a:gd name="T11" fmla="*/ 13 h 33"/>
                  <a:gd name="T12" fmla="*/ 10 w 50"/>
                  <a:gd name="T13" fmla="*/ 15 h 33"/>
                  <a:gd name="T14" fmla="*/ 14 w 50"/>
                  <a:gd name="T15" fmla="*/ 17 h 33"/>
                  <a:gd name="T16" fmla="*/ 17 w 50"/>
                  <a:gd name="T17" fmla="*/ 19 h 33"/>
                  <a:gd name="T18" fmla="*/ 19 w 50"/>
                  <a:gd name="T19" fmla="*/ 19 h 33"/>
                  <a:gd name="T20" fmla="*/ 19 w 50"/>
                  <a:gd name="T21" fmla="*/ 21 h 33"/>
                  <a:gd name="T22" fmla="*/ 21 w 50"/>
                  <a:gd name="T23" fmla="*/ 25 h 33"/>
                  <a:gd name="T24" fmla="*/ 25 w 50"/>
                  <a:gd name="T25" fmla="*/ 27 h 33"/>
                  <a:gd name="T26" fmla="*/ 29 w 50"/>
                  <a:gd name="T27" fmla="*/ 27 h 33"/>
                  <a:gd name="T28" fmla="*/ 31 w 50"/>
                  <a:gd name="T29" fmla="*/ 27 h 33"/>
                  <a:gd name="T30" fmla="*/ 33 w 50"/>
                  <a:gd name="T31" fmla="*/ 27 h 33"/>
                  <a:gd name="T32" fmla="*/ 33 w 50"/>
                  <a:gd name="T33" fmla="*/ 31 h 33"/>
                  <a:gd name="T34" fmla="*/ 37 w 50"/>
                  <a:gd name="T35" fmla="*/ 33 h 33"/>
                  <a:gd name="T36" fmla="*/ 39 w 50"/>
                  <a:gd name="T37" fmla="*/ 33 h 33"/>
                  <a:gd name="T38" fmla="*/ 39 w 50"/>
                  <a:gd name="T39" fmla="*/ 33 h 33"/>
                  <a:gd name="T40" fmla="*/ 44 w 50"/>
                  <a:gd name="T41" fmla="*/ 33 h 33"/>
                  <a:gd name="T42" fmla="*/ 44 w 50"/>
                  <a:gd name="T43" fmla="*/ 31 h 33"/>
                  <a:gd name="T44" fmla="*/ 46 w 50"/>
                  <a:gd name="T45" fmla="*/ 29 h 33"/>
                  <a:gd name="T46" fmla="*/ 46 w 50"/>
                  <a:gd name="T47" fmla="*/ 27 h 33"/>
                  <a:gd name="T48" fmla="*/ 48 w 50"/>
                  <a:gd name="T49" fmla="*/ 25 h 33"/>
                  <a:gd name="T50" fmla="*/ 50 w 50"/>
                  <a:gd name="T51" fmla="*/ 21 h 33"/>
                  <a:gd name="T52" fmla="*/ 48 w 50"/>
                  <a:gd name="T53" fmla="*/ 15 h 33"/>
                  <a:gd name="T54" fmla="*/ 48 w 50"/>
                  <a:gd name="T55" fmla="*/ 13 h 33"/>
                  <a:gd name="T56" fmla="*/ 48 w 50"/>
                  <a:gd name="T57" fmla="*/ 12 h 33"/>
                  <a:gd name="T58" fmla="*/ 44 w 50"/>
                  <a:gd name="T59" fmla="*/ 10 h 33"/>
                  <a:gd name="T60" fmla="*/ 42 w 50"/>
                  <a:gd name="T61" fmla="*/ 8 h 33"/>
                  <a:gd name="T62" fmla="*/ 41 w 50"/>
                  <a:gd name="T63" fmla="*/ 8 h 33"/>
                  <a:gd name="T64" fmla="*/ 39 w 50"/>
                  <a:gd name="T65" fmla="*/ 6 h 33"/>
                  <a:gd name="T66" fmla="*/ 37 w 50"/>
                  <a:gd name="T67" fmla="*/ 4 h 33"/>
                  <a:gd name="T68" fmla="*/ 33 w 50"/>
                  <a:gd name="T69" fmla="*/ 4 h 33"/>
                  <a:gd name="T70" fmla="*/ 29 w 50"/>
                  <a:gd name="T71" fmla="*/ 6 h 33"/>
                  <a:gd name="T72" fmla="*/ 25 w 50"/>
                  <a:gd name="T73" fmla="*/ 6 h 33"/>
                  <a:gd name="T74" fmla="*/ 17 w 50"/>
                  <a:gd name="T75" fmla="*/ 4 h 33"/>
                  <a:gd name="T76" fmla="*/ 17 w 50"/>
                  <a:gd name="T77" fmla="*/ 0 h 33"/>
                  <a:gd name="T78" fmla="*/ 8 w 50"/>
                  <a:gd name="T79" fmla="*/ 2 h 33"/>
                  <a:gd name="T80" fmla="*/ 0 w 50"/>
                  <a:gd name="T81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" h="33">
                    <a:moveTo>
                      <a:pt x="0" y="4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0" y="15"/>
                    </a:lnTo>
                    <a:lnTo>
                      <a:pt x="14" y="17"/>
                    </a:lnTo>
                    <a:lnTo>
                      <a:pt x="17" y="19"/>
                    </a:lnTo>
                    <a:lnTo>
                      <a:pt x="19" y="19"/>
                    </a:lnTo>
                    <a:lnTo>
                      <a:pt x="19" y="21"/>
                    </a:lnTo>
                    <a:lnTo>
                      <a:pt x="21" y="25"/>
                    </a:lnTo>
                    <a:lnTo>
                      <a:pt x="25" y="27"/>
                    </a:lnTo>
                    <a:lnTo>
                      <a:pt x="29" y="27"/>
                    </a:lnTo>
                    <a:lnTo>
                      <a:pt x="31" y="27"/>
                    </a:lnTo>
                    <a:lnTo>
                      <a:pt x="33" y="27"/>
                    </a:lnTo>
                    <a:lnTo>
                      <a:pt x="33" y="31"/>
                    </a:lnTo>
                    <a:lnTo>
                      <a:pt x="37" y="33"/>
                    </a:lnTo>
                    <a:lnTo>
                      <a:pt x="39" y="33"/>
                    </a:lnTo>
                    <a:lnTo>
                      <a:pt x="39" y="33"/>
                    </a:lnTo>
                    <a:lnTo>
                      <a:pt x="44" y="33"/>
                    </a:lnTo>
                    <a:lnTo>
                      <a:pt x="44" y="31"/>
                    </a:lnTo>
                    <a:lnTo>
                      <a:pt x="46" y="29"/>
                    </a:lnTo>
                    <a:lnTo>
                      <a:pt x="46" y="27"/>
                    </a:lnTo>
                    <a:lnTo>
                      <a:pt x="48" y="25"/>
                    </a:lnTo>
                    <a:lnTo>
                      <a:pt x="50" y="21"/>
                    </a:lnTo>
                    <a:lnTo>
                      <a:pt x="48" y="15"/>
                    </a:lnTo>
                    <a:lnTo>
                      <a:pt x="48" y="13"/>
                    </a:lnTo>
                    <a:lnTo>
                      <a:pt x="48" y="12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1" y="8"/>
                    </a:lnTo>
                    <a:lnTo>
                      <a:pt x="39" y="6"/>
                    </a:lnTo>
                    <a:lnTo>
                      <a:pt x="37" y="4"/>
                    </a:lnTo>
                    <a:lnTo>
                      <a:pt x="33" y="4"/>
                    </a:lnTo>
                    <a:lnTo>
                      <a:pt x="29" y="6"/>
                    </a:lnTo>
                    <a:lnTo>
                      <a:pt x="25" y="6"/>
                    </a:lnTo>
                    <a:lnTo>
                      <a:pt x="17" y="4"/>
                    </a:lnTo>
                    <a:lnTo>
                      <a:pt x="17" y="0"/>
                    </a:lnTo>
                    <a:lnTo>
                      <a:pt x="8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5" name="Freeform 233"/>
              <p:cNvSpPr>
                <a:spLocks/>
              </p:cNvSpPr>
              <p:nvPr/>
            </p:nvSpPr>
            <p:spPr bwMode="gray">
              <a:xfrm>
                <a:off x="6062391" y="3805239"/>
                <a:ext cx="109525" cy="152400"/>
              </a:xfrm>
              <a:custGeom>
                <a:avLst/>
                <a:gdLst>
                  <a:gd name="T0" fmla="*/ 64 w 69"/>
                  <a:gd name="T1" fmla="*/ 96 h 96"/>
                  <a:gd name="T2" fmla="*/ 62 w 69"/>
                  <a:gd name="T3" fmla="*/ 93 h 96"/>
                  <a:gd name="T4" fmla="*/ 64 w 69"/>
                  <a:gd name="T5" fmla="*/ 89 h 96"/>
                  <a:gd name="T6" fmla="*/ 69 w 69"/>
                  <a:gd name="T7" fmla="*/ 91 h 96"/>
                  <a:gd name="T8" fmla="*/ 68 w 69"/>
                  <a:gd name="T9" fmla="*/ 85 h 96"/>
                  <a:gd name="T10" fmla="*/ 68 w 69"/>
                  <a:gd name="T11" fmla="*/ 81 h 96"/>
                  <a:gd name="T12" fmla="*/ 66 w 69"/>
                  <a:gd name="T13" fmla="*/ 75 h 96"/>
                  <a:gd name="T14" fmla="*/ 66 w 69"/>
                  <a:gd name="T15" fmla="*/ 70 h 96"/>
                  <a:gd name="T16" fmla="*/ 66 w 69"/>
                  <a:gd name="T17" fmla="*/ 64 h 96"/>
                  <a:gd name="T18" fmla="*/ 60 w 69"/>
                  <a:gd name="T19" fmla="*/ 54 h 96"/>
                  <a:gd name="T20" fmla="*/ 58 w 69"/>
                  <a:gd name="T21" fmla="*/ 60 h 96"/>
                  <a:gd name="T22" fmla="*/ 52 w 69"/>
                  <a:gd name="T23" fmla="*/ 60 h 96"/>
                  <a:gd name="T24" fmla="*/ 50 w 69"/>
                  <a:gd name="T25" fmla="*/ 56 h 96"/>
                  <a:gd name="T26" fmla="*/ 52 w 69"/>
                  <a:gd name="T27" fmla="*/ 47 h 96"/>
                  <a:gd name="T28" fmla="*/ 56 w 69"/>
                  <a:gd name="T29" fmla="*/ 41 h 96"/>
                  <a:gd name="T30" fmla="*/ 56 w 69"/>
                  <a:gd name="T31" fmla="*/ 37 h 96"/>
                  <a:gd name="T32" fmla="*/ 60 w 69"/>
                  <a:gd name="T33" fmla="*/ 33 h 96"/>
                  <a:gd name="T34" fmla="*/ 58 w 69"/>
                  <a:gd name="T35" fmla="*/ 27 h 96"/>
                  <a:gd name="T36" fmla="*/ 64 w 69"/>
                  <a:gd name="T37" fmla="*/ 24 h 96"/>
                  <a:gd name="T38" fmla="*/ 56 w 69"/>
                  <a:gd name="T39" fmla="*/ 24 h 96"/>
                  <a:gd name="T40" fmla="*/ 48 w 69"/>
                  <a:gd name="T41" fmla="*/ 25 h 96"/>
                  <a:gd name="T42" fmla="*/ 41 w 69"/>
                  <a:gd name="T43" fmla="*/ 25 h 96"/>
                  <a:gd name="T44" fmla="*/ 33 w 69"/>
                  <a:gd name="T45" fmla="*/ 25 h 96"/>
                  <a:gd name="T46" fmla="*/ 29 w 69"/>
                  <a:gd name="T47" fmla="*/ 25 h 96"/>
                  <a:gd name="T48" fmla="*/ 27 w 69"/>
                  <a:gd name="T49" fmla="*/ 16 h 96"/>
                  <a:gd name="T50" fmla="*/ 29 w 69"/>
                  <a:gd name="T51" fmla="*/ 8 h 96"/>
                  <a:gd name="T52" fmla="*/ 25 w 69"/>
                  <a:gd name="T53" fmla="*/ 4 h 96"/>
                  <a:gd name="T54" fmla="*/ 18 w 69"/>
                  <a:gd name="T55" fmla="*/ 6 h 96"/>
                  <a:gd name="T56" fmla="*/ 12 w 69"/>
                  <a:gd name="T57" fmla="*/ 0 h 96"/>
                  <a:gd name="T58" fmla="*/ 8 w 69"/>
                  <a:gd name="T59" fmla="*/ 6 h 96"/>
                  <a:gd name="T60" fmla="*/ 14 w 69"/>
                  <a:gd name="T61" fmla="*/ 12 h 96"/>
                  <a:gd name="T62" fmla="*/ 12 w 69"/>
                  <a:gd name="T63" fmla="*/ 18 h 96"/>
                  <a:gd name="T64" fmla="*/ 4 w 69"/>
                  <a:gd name="T65" fmla="*/ 22 h 96"/>
                  <a:gd name="T66" fmla="*/ 0 w 69"/>
                  <a:gd name="T67" fmla="*/ 24 h 96"/>
                  <a:gd name="T68" fmla="*/ 2 w 69"/>
                  <a:gd name="T69" fmla="*/ 33 h 96"/>
                  <a:gd name="T70" fmla="*/ 2 w 69"/>
                  <a:gd name="T71" fmla="*/ 37 h 96"/>
                  <a:gd name="T72" fmla="*/ 10 w 69"/>
                  <a:gd name="T73" fmla="*/ 41 h 96"/>
                  <a:gd name="T74" fmla="*/ 14 w 69"/>
                  <a:gd name="T75" fmla="*/ 45 h 96"/>
                  <a:gd name="T76" fmla="*/ 12 w 69"/>
                  <a:gd name="T77" fmla="*/ 54 h 96"/>
                  <a:gd name="T78" fmla="*/ 16 w 69"/>
                  <a:gd name="T79" fmla="*/ 58 h 96"/>
                  <a:gd name="T80" fmla="*/ 16 w 69"/>
                  <a:gd name="T81" fmla="*/ 68 h 96"/>
                  <a:gd name="T82" fmla="*/ 12 w 69"/>
                  <a:gd name="T83" fmla="*/ 73 h 96"/>
                  <a:gd name="T84" fmla="*/ 14 w 69"/>
                  <a:gd name="T85" fmla="*/ 83 h 96"/>
                  <a:gd name="T86" fmla="*/ 21 w 69"/>
                  <a:gd name="T87" fmla="*/ 79 h 96"/>
                  <a:gd name="T88" fmla="*/ 31 w 69"/>
                  <a:gd name="T89" fmla="*/ 73 h 96"/>
                  <a:gd name="T90" fmla="*/ 31 w 69"/>
                  <a:gd name="T91" fmla="*/ 75 h 96"/>
                  <a:gd name="T92" fmla="*/ 35 w 69"/>
                  <a:gd name="T93" fmla="*/ 75 h 96"/>
                  <a:gd name="T94" fmla="*/ 37 w 69"/>
                  <a:gd name="T95" fmla="*/ 66 h 96"/>
                  <a:gd name="T96" fmla="*/ 39 w 69"/>
                  <a:gd name="T97" fmla="*/ 56 h 96"/>
                  <a:gd name="T98" fmla="*/ 44 w 69"/>
                  <a:gd name="T99" fmla="*/ 60 h 96"/>
                  <a:gd name="T100" fmla="*/ 50 w 69"/>
                  <a:gd name="T101" fmla="*/ 64 h 96"/>
                  <a:gd name="T102" fmla="*/ 52 w 69"/>
                  <a:gd name="T103" fmla="*/ 68 h 96"/>
                  <a:gd name="T104" fmla="*/ 54 w 69"/>
                  <a:gd name="T105" fmla="*/ 71 h 96"/>
                  <a:gd name="T106" fmla="*/ 54 w 69"/>
                  <a:gd name="T107" fmla="*/ 81 h 96"/>
                  <a:gd name="T108" fmla="*/ 58 w 69"/>
                  <a:gd name="T109" fmla="*/ 93 h 96"/>
                  <a:gd name="T110" fmla="*/ 60 w 69"/>
                  <a:gd name="T111" fmla="*/ 95 h 96"/>
                  <a:gd name="T112" fmla="*/ 64 w 69"/>
                  <a:gd name="T113" fmla="*/ 9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9" h="96">
                    <a:moveTo>
                      <a:pt x="64" y="96"/>
                    </a:moveTo>
                    <a:lnTo>
                      <a:pt x="62" y="93"/>
                    </a:lnTo>
                    <a:lnTo>
                      <a:pt x="64" y="89"/>
                    </a:lnTo>
                    <a:lnTo>
                      <a:pt x="69" y="91"/>
                    </a:lnTo>
                    <a:lnTo>
                      <a:pt x="68" y="85"/>
                    </a:lnTo>
                    <a:lnTo>
                      <a:pt x="68" y="81"/>
                    </a:lnTo>
                    <a:lnTo>
                      <a:pt x="66" y="75"/>
                    </a:lnTo>
                    <a:lnTo>
                      <a:pt x="66" y="70"/>
                    </a:lnTo>
                    <a:lnTo>
                      <a:pt x="66" y="64"/>
                    </a:lnTo>
                    <a:lnTo>
                      <a:pt x="60" y="54"/>
                    </a:lnTo>
                    <a:lnTo>
                      <a:pt x="58" y="60"/>
                    </a:lnTo>
                    <a:lnTo>
                      <a:pt x="52" y="60"/>
                    </a:lnTo>
                    <a:lnTo>
                      <a:pt x="50" y="56"/>
                    </a:lnTo>
                    <a:lnTo>
                      <a:pt x="52" y="47"/>
                    </a:lnTo>
                    <a:lnTo>
                      <a:pt x="56" y="41"/>
                    </a:lnTo>
                    <a:lnTo>
                      <a:pt x="56" y="37"/>
                    </a:lnTo>
                    <a:lnTo>
                      <a:pt x="60" y="33"/>
                    </a:lnTo>
                    <a:lnTo>
                      <a:pt x="58" y="27"/>
                    </a:lnTo>
                    <a:lnTo>
                      <a:pt x="64" y="24"/>
                    </a:lnTo>
                    <a:lnTo>
                      <a:pt x="56" y="24"/>
                    </a:lnTo>
                    <a:lnTo>
                      <a:pt x="48" y="25"/>
                    </a:lnTo>
                    <a:lnTo>
                      <a:pt x="41" y="25"/>
                    </a:lnTo>
                    <a:lnTo>
                      <a:pt x="33" y="25"/>
                    </a:lnTo>
                    <a:lnTo>
                      <a:pt x="29" y="25"/>
                    </a:lnTo>
                    <a:lnTo>
                      <a:pt x="27" y="16"/>
                    </a:lnTo>
                    <a:lnTo>
                      <a:pt x="29" y="8"/>
                    </a:lnTo>
                    <a:lnTo>
                      <a:pt x="25" y="4"/>
                    </a:lnTo>
                    <a:lnTo>
                      <a:pt x="18" y="6"/>
                    </a:lnTo>
                    <a:lnTo>
                      <a:pt x="12" y="0"/>
                    </a:lnTo>
                    <a:lnTo>
                      <a:pt x="8" y="6"/>
                    </a:lnTo>
                    <a:lnTo>
                      <a:pt x="14" y="12"/>
                    </a:lnTo>
                    <a:lnTo>
                      <a:pt x="12" y="18"/>
                    </a:lnTo>
                    <a:lnTo>
                      <a:pt x="4" y="22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2" y="37"/>
                    </a:lnTo>
                    <a:lnTo>
                      <a:pt x="10" y="41"/>
                    </a:lnTo>
                    <a:lnTo>
                      <a:pt x="14" y="45"/>
                    </a:lnTo>
                    <a:lnTo>
                      <a:pt x="12" y="54"/>
                    </a:lnTo>
                    <a:lnTo>
                      <a:pt x="16" y="58"/>
                    </a:lnTo>
                    <a:lnTo>
                      <a:pt x="16" y="68"/>
                    </a:lnTo>
                    <a:lnTo>
                      <a:pt x="12" y="73"/>
                    </a:lnTo>
                    <a:lnTo>
                      <a:pt x="14" y="83"/>
                    </a:lnTo>
                    <a:lnTo>
                      <a:pt x="21" y="79"/>
                    </a:lnTo>
                    <a:lnTo>
                      <a:pt x="31" y="73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7" y="66"/>
                    </a:lnTo>
                    <a:lnTo>
                      <a:pt x="39" y="56"/>
                    </a:lnTo>
                    <a:lnTo>
                      <a:pt x="44" y="60"/>
                    </a:lnTo>
                    <a:lnTo>
                      <a:pt x="50" y="64"/>
                    </a:lnTo>
                    <a:lnTo>
                      <a:pt x="52" y="68"/>
                    </a:lnTo>
                    <a:lnTo>
                      <a:pt x="54" y="71"/>
                    </a:lnTo>
                    <a:lnTo>
                      <a:pt x="54" y="81"/>
                    </a:lnTo>
                    <a:lnTo>
                      <a:pt x="58" y="93"/>
                    </a:lnTo>
                    <a:lnTo>
                      <a:pt x="60" y="95"/>
                    </a:lnTo>
                    <a:lnTo>
                      <a:pt x="64" y="9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6" name="Freeform 234"/>
              <p:cNvSpPr>
                <a:spLocks/>
              </p:cNvSpPr>
              <p:nvPr/>
            </p:nvSpPr>
            <p:spPr bwMode="gray">
              <a:xfrm>
                <a:off x="2779806" y="3833814"/>
                <a:ext cx="7937" cy="11113"/>
              </a:xfrm>
              <a:custGeom>
                <a:avLst/>
                <a:gdLst>
                  <a:gd name="T0" fmla="*/ 0 w 5"/>
                  <a:gd name="T1" fmla="*/ 0 h 7"/>
                  <a:gd name="T2" fmla="*/ 0 w 5"/>
                  <a:gd name="T3" fmla="*/ 4 h 7"/>
                  <a:gd name="T4" fmla="*/ 0 w 5"/>
                  <a:gd name="T5" fmla="*/ 7 h 7"/>
                  <a:gd name="T6" fmla="*/ 5 w 5"/>
                  <a:gd name="T7" fmla="*/ 6 h 7"/>
                  <a:gd name="T8" fmla="*/ 5 w 5"/>
                  <a:gd name="T9" fmla="*/ 4 h 7"/>
                  <a:gd name="T10" fmla="*/ 3 w 5"/>
                  <a:gd name="T11" fmla="*/ 2 h 7"/>
                  <a:gd name="T12" fmla="*/ 0 w 5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0" y="0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7" name="Freeform 235"/>
              <p:cNvSpPr>
                <a:spLocks noEditPoints="1"/>
              </p:cNvSpPr>
              <p:nvPr/>
            </p:nvSpPr>
            <p:spPr bwMode="gray">
              <a:xfrm>
                <a:off x="5225871" y="3382964"/>
                <a:ext cx="100001" cy="93663"/>
              </a:xfrm>
              <a:custGeom>
                <a:avLst/>
                <a:gdLst>
                  <a:gd name="T0" fmla="*/ 0 w 63"/>
                  <a:gd name="T1" fmla="*/ 42 h 59"/>
                  <a:gd name="T2" fmla="*/ 3 w 63"/>
                  <a:gd name="T3" fmla="*/ 48 h 59"/>
                  <a:gd name="T4" fmla="*/ 9 w 63"/>
                  <a:gd name="T5" fmla="*/ 52 h 59"/>
                  <a:gd name="T6" fmla="*/ 15 w 63"/>
                  <a:gd name="T7" fmla="*/ 53 h 59"/>
                  <a:gd name="T8" fmla="*/ 15 w 63"/>
                  <a:gd name="T9" fmla="*/ 50 h 59"/>
                  <a:gd name="T10" fmla="*/ 9 w 63"/>
                  <a:gd name="T11" fmla="*/ 42 h 59"/>
                  <a:gd name="T12" fmla="*/ 7 w 63"/>
                  <a:gd name="T13" fmla="*/ 40 h 59"/>
                  <a:gd name="T14" fmla="*/ 0 w 63"/>
                  <a:gd name="T15" fmla="*/ 40 h 59"/>
                  <a:gd name="T16" fmla="*/ 42 w 63"/>
                  <a:gd name="T17" fmla="*/ 59 h 59"/>
                  <a:gd name="T18" fmla="*/ 48 w 63"/>
                  <a:gd name="T19" fmla="*/ 52 h 59"/>
                  <a:gd name="T20" fmla="*/ 55 w 63"/>
                  <a:gd name="T21" fmla="*/ 27 h 59"/>
                  <a:gd name="T22" fmla="*/ 63 w 63"/>
                  <a:gd name="T23" fmla="*/ 25 h 59"/>
                  <a:gd name="T24" fmla="*/ 53 w 63"/>
                  <a:gd name="T25" fmla="*/ 21 h 59"/>
                  <a:gd name="T26" fmla="*/ 48 w 63"/>
                  <a:gd name="T27" fmla="*/ 7 h 59"/>
                  <a:gd name="T28" fmla="*/ 44 w 63"/>
                  <a:gd name="T29" fmla="*/ 11 h 59"/>
                  <a:gd name="T30" fmla="*/ 36 w 63"/>
                  <a:gd name="T31" fmla="*/ 15 h 59"/>
                  <a:gd name="T32" fmla="*/ 32 w 63"/>
                  <a:gd name="T33" fmla="*/ 7 h 59"/>
                  <a:gd name="T34" fmla="*/ 25 w 63"/>
                  <a:gd name="T35" fmla="*/ 2 h 59"/>
                  <a:gd name="T36" fmla="*/ 21 w 63"/>
                  <a:gd name="T37" fmla="*/ 2 h 59"/>
                  <a:gd name="T38" fmla="*/ 23 w 63"/>
                  <a:gd name="T39" fmla="*/ 7 h 59"/>
                  <a:gd name="T40" fmla="*/ 19 w 63"/>
                  <a:gd name="T41" fmla="*/ 11 h 59"/>
                  <a:gd name="T42" fmla="*/ 15 w 63"/>
                  <a:gd name="T43" fmla="*/ 5 h 59"/>
                  <a:gd name="T44" fmla="*/ 7 w 63"/>
                  <a:gd name="T45" fmla="*/ 4 h 59"/>
                  <a:gd name="T46" fmla="*/ 2 w 63"/>
                  <a:gd name="T47" fmla="*/ 9 h 59"/>
                  <a:gd name="T48" fmla="*/ 0 w 63"/>
                  <a:gd name="T49" fmla="*/ 15 h 59"/>
                  <a:gd name="T50" fmla="*/ 5 w 63"/>
                  <a:gd name="T51" fmla="*/ 15 h 59"/>
                  <a:gd name="T52" fmla="*/ 9 w 63"/>
                  <a:gd name="T53" fmla="*/ 19 h 59"/>
                  <a:gd name="T54" fmla="*/ 7 w 63"/>
                  <a:gd name="T55" fmla="*/ 25 h 59"/>
                  <a:gd name="T56" fmla="*/ 13 w 63"/>
                  <a:gd name="T57" fmla="*/ 29 h 59"/>
                  <a:gd name="T58" fmla="*/ 17 w 63"/>
                  <a:gd name="T59" fmla="*/ 30 h 59"/>
                  <a:gd name="T60" fmla="*/ 15 w 63"/>
                  <a:gd name="T61" fmla="*/ 36 h 59"/>
                  <a:gd name="T62" fmla="*/ 21 w 63"/>
                  <a:gd name="T63" fmla="*/ 38 h 59"/>
                  <a:gd name="T64" fmla="*/ 23 w 63"/>
                  <a:gd name="T65" fmla="*/ 44 h 59"/>
                  <a:gd name="T66" fmla="*/ 26 w 63"/>
                  <a:gd name="T67" fmla="*/ 44 h 59"/>
                  <a:gd name="T68" fmla="*/ 32 w 63"/>
                  <a:gd name="T69" fmla="*/ 38 h 59"/>
                  <a:gd name="T70" fmla="*/ 38 w 63"/>
                  <a:gd name="T71" fmla="*/ 40 h 59"/>
                  <a:gd name="T72" fmla="*/ 40 w 63"/>
                  <a:gd name="T73" fmla="*/ 44 h 59"/>
                  <a:gd name="T74" fmla="*/ 34 w 63"/>
                  <a:gd name="T75" fmla="*/ 48 h 59"/>
                  <a:gd name="T76" fmla="*/ 36 w 63"/>
                  <a:gd name="T77" fmla="*/ 52 h 59"/>
                  <a:gd name="T78" fmla="*/ 40 w 63"/>
                  <a:gd name="T79" fmla="*/ 57 h 59"/>
                  <a:gd name="T80" fmla="*/ 28 w 63"/>
                  <a:gd name="T81" fmla="*/ 36 h 59"/>
                  <a:gd name="T82" fmla="*/ 19 w 63"/>
                  <a:gd name="T83" fmla="*/ 23 h 59"/>
                  <a:gd name="T84" fmla="*/ 26 w 63"/>
                  <a:gd name="T85" fmla="*/ 25 h 59"/>
                  <a:gd name="T86" fmla="*/ 26 w 63"/>
                  <a:gd name="T87" fmla="*/ 30 h 59"/>
                  <a:gd name="T88" fmla="*/ 32 w 63"/>
                  <a:gd name="T89" fmla="*/ 34 h 59"/>
                  <a:gd name="T90" fmla="*/ 28 w 63"/>
                  <a:gd name="T91" fmla="*/ 3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3" h="59">
                    <a:moveTo>
                      <a:pt x="0" y="40"/>
                    </a:moveTo>
                    <a:lnTo>
                      <a:pt x="0" y="42"/>
                    </a:lnTo>
                    <a:lnTo>
                      <a:pt x="2" y="46"/>
                    </a:lnTo>
                    <a:lnTo>
                      <a:pt x="3" y="48"/>
                    </a:lnTo>
                    <a:lnTo>
                      <a:pt x="5" y="52"/>
                    </a:lnTo>
                    <a:lnTo>
                      <a:pt x="9" y="52"/>
                    </a:lnTo>
                    <a:lnTo>
                      <a:pt x="11" y="53"/>
                    </a:lnTo>
                    <a:lnTo>
                      <a:pt x="15" y="53"/>
                    </a:lnTo>
                    <a:lnTo>
                      <a:pt x="17" y="53"/>
                    </a:lnTo>
                    <a:lnTo>
                      <a:pt x="15" y="50"/>
                    </a:lnTo>
                    <a:lnTo>
                      <a:pt x="13" y="46"/>
                    </a:lnTo>
                    <a:lnTo>
                      <a:pt x="9" y="42"/>
                    </a:lnTo>
                    <a:lnTo>
                      <a:pt x="7" y="42"/>
                    </a:lnTo>
                    <a:lnTo>
                      <a:pt x="7" y="40"/>
                    </a:lnTo>
                    <a:lnTo>
                      <a:pt x="3" y="40"/>
                    </a:lnTo>
                    <a:lnTo>
                      <a:pt x="0" y="40"/>
                    </a:lnTo>
                    <a:lnTo>
                      <a:pt x="0" y="40"/>
                    </a:lnTo>
                    <a:close/>
                    <a:moveTo>
                      <a:pt x="42" y="59"/>
                    </a:moveTo>
                    <a:lnTo>
                      <a:pt x="46" y="53"/>
                    </a:lnTo>
                    <a:lnTo>
                      <a:pt x="48" y="52"/>
                    </a:lnTo>
                    <a:lnTo>
                      <a:pt x="51" y="40"/>
                    </a:lnTo>
                    <a:lnTo>
                      <a:pt x="55" y="27"/>
                    </a:lnTo>
                    <a:lnTo>
                      <a:pt x="59" y="27"/>
                    </a:lnTo>
                    <a:lnTo>
                      <a:pt x="63" y="25"/>
                    </a:lnTo>
                    <a:lnTo>
                      <a:pt x="57" y="23"/>
                    </a:lnTo>
                    <a:lnTo>
                      <a:pt x="53" y="21"/>
                    </a:lnTo>
                    <a:lnTo>
                      <a:pt x="49" y="15"/>
                    </a:lnTo>
                    <a:lnTo>
                      <a:pt x="48" y="7"/>
                    </a:lnTo>
                    <a:lnTo>
                      <a:pt x="46" y="7"/>
                    </a:lnTo>
                    <a:lnTo>
                      <a:pt x="44" y="11"/>
                    </a:lnTo>
                    <a:lnTo>
                      <a:pt x="40" y="17"/>
                    </a:lnTo>
                    <a:lnTo>
                      <a:pt x="36" y="15"/>
                    </a:lnTo>
                    <a:lnTo>
                      <a:pt x="34" y="11"/>
                    </a:lnTo>
                    <a:lnTo>
                      <a:pt x="32" y="7"/>
                    </a:lnTo>
                    <a:lnTo>
                      <a:pt x="28" y="5"/>
                    </a:lnTo>
                    <a:lnTo>
                      <a:pt x="25" y="2"/>
                    </a:lnTo>
                    <a:lnTo>
                      <a:pt x="23" y="0"/>
                    </a:lnTo>
                    <a:lnTo>
                      <a:pt x="21" y="2"/>
                    </a:lnTo>
                    <a:lnTo>
                      <a:pt x="21" y="5"/>
                    </a:lnTo>
                    <a:lnTo>
                      <a:pt x="23" y="7"/>
                    </a:lnTo>
                    <a:lnTo>
                      <a:pt x="23" y="11"/>
                    </a:lnTo>
                    <a:lnTo>
                      <a:pt x="19" y="11"/>
                    </a:lnTo>
                    <a:lnTo>
                      <a:pt x="17" y="7"/>
                    </a:lnTo>
                    <a:lnTo>
                      <a:pt x="15" y="5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5" y="5"/>
                    </a:lnTo>
                    <a:lnTo>
                      <a:pt x="2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5" y="15"/>
                    </a:lnTo>
                    <a:lnTo>
                      <a:pt x="7" y="17"/>
                    </a:lnTo>
                    <a:lnTo>
                      <a:pt x="9" y="19"/>
                    </a:lnTo>
                    <a:lnTo>
                      <a:pt x="9" y="23"/>
                    </a:lnTo>
                    <a:lnTo>
                      <a:pt x="7" y="25"/>
                    </a:lnTo>
                    <a:lnTo>
                      <a:pt x="9" y="25"/>
                    </a:lnTo>
                    <a:lnTo>
                      <a:pt x="13" y="29"/>
                    </a:lnTo>
                    <a:lnTo>
                      <a:pt x="15" y="30"/>
                    </a:lnTo>
                    <a:lnTo>
                      <a:pt x="17" y="30"/>
                    </a:lnTo>
                    <a:lnTo>
                      <a:pt x="13" y="34"/>
                    </a:lnTo>
                    <a:lnTo>
                      <a:pt x="15" y="36"/>
                    </a:lnTo>
                    <a:lnTo>
                      <a:pt x="19" y="38"/>
                    </a:lnTo>
                    <a:lnTo>
                      <a:pt x="21" y="38"/>
                    </a:lnTo>
                    <a:lnTo>
                      <a:pt x="23" y="40"/>
                    </a:lnTo>
                    <a:lnTo>
                      <a:pt x="23" y="44"/>
                    </a:lnTo>
                    <a:lnTo>
                      <a:pt x="25" y="48"/>
                    </a:lnTo>
                    <a:lnTo>
                      <a:pt x="26" y="44"/>
                    </a:lnTo>
                    <a:lnTo>
                      <a:pt x="30" y="42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8" y="40"/>
                    </a:lnTo>
                    <a:lnTo>
                      <a:pt x="38" y="42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4" y="48"/>
                    </a:lnTo>
                    <a:lnTo>
                      <a:pt x="34" y="50"/>
                    </a:lnTo>
                    <a:lnTo>
                      <a:pt x="36" y="52"/>
                    </a:lnTo>
                    <a:lnTo>
                      <a:pt x="38" y="53"/>
                    </a:lnTo>
                    <a:lnTo>
                      <a:pt x="40" y="57"/>
                    </a:lnTo>
                    <a:lnTo>
                      <a:pt x="42" y="59"/>
                    </a:lnTo>
                    <a:close/>
                    <a:moveTo>
                      <a:pt x="28" y="36"/>
                    </a:moveTo>
                    <a:lnTo>
                      <a:pt x="23" y="30"/>
                    </a:lnTo>
                    <a:lnTo>
                      <a:pt x="19" y="23"/>
                    </a:lnTo>
                    <a:lnTo>
                      <a:pt x="25" y="21"/>
                    </a:lnTo>
                    <a:lnTo>
                      <a:pt x="26" y="25"/>
                    </a:lnTo>
                    <a:lnTo>
                      <a:pt x="25" y="25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4"/>
                    </a:lnTo>
                    <a:lnTo>
                      <a:pt x="30" y="36"/>
                    </a:lnTo>
                    <a:lnTo>
                      <a:pt x="28" y="3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8" name="Freeform 236"/>
              <p:cNvSpPr>
                <a:spLocks/>
              </p:cNvSpPr>
              <p:nvPr/>
            </p:nvSpPr>
            <p:spPr bwMode="gray">
              <a:xfrm>
                <a:off x="4530623" y="3175001"/>
                <a:ext cx="136510" cy="73025"/>
              </a:xfrm>
              <a:custGeom>
                <a:avLst/>
                <a:gdLst>
                  <a:gd name="T0" fmla="*/ 4 w 86"/>
                  <a:gd name="T1" fmla="*/ 41 h 46"/>
                  <a:gd name="T2" fmla="*/ 0 w 86"/>
                  <a:gd name="T3" fmla="*/ 37 h 46"/>
                  <a:gd name="T4" fmla="*/ 2 w 86"/>
                  <a:gd name="T5" fmla="*/ 33 h 46"/>
                  <a:gd name="T6" fmla="*/ 10 w 86"/>
                  <a:gd name="T7" fmla="*/ 29 h 46"/>
                  <a:gd name="T8" fmla="*/ 15 w 86"/>
                  <a:gd name="T9" fmla="*/ 25 h 46"/>
                  <a:gd name="T10" fmla="*/ 21 w 86"/>
                  <a:gd name="T11" fmla="*/ 23 h 46"/>
                  <a:gd name="T12" fmla="*/ 29 w 86"/>
                  <a:gd name="T13" fmla="*/ 25 h 46"/>
                  <a:gd name="T14" fmla="*/ 33 w 86"/>
                  <a:gd name="T15" fmla="*/ 29 h 46"/>
                  <a:gd name="T16" fmla="*/ 35 w 86"/>
                  <a:gd name="T17" fmla="*/ 25 h 46"/>
                  <a:gd name="T18" fmla="*/ 33 w 86"/>
                  <a:gd name="T19" fmla="*/ 19 h 46"/>
                  <a:gd name="T20" fmla="*/ 31 w 86"/>
                  <a:gd name="T21" fmla="*/ 18 h 46"/>
                  <a:gd name="T22" fmla="*/ 36 w 86"/>
                  <a:gd name="T23" fmla="*/ 14 h 46"/>
                  <a:gd name="T24" fmla="*/ 38 w 86"/>
                  <a:gd name="T25" fmla="*/ 14 h 46"/>
                  <a:gd name="T26" fmla="*/ 42 w 86"/>
                  <a:gd name="T27" fmla="*/ 6 h 46"/>
                  <a:gd name="T28" fmla="*/ 46 w 86"/>
                  <a:gd name="T29" fmla="*/ 6 h 46"/>
                  <a:gd name="T30" fmla="*/ 52 w 86"/>
                  <a:gd name="T31" fmla="*/ 8 h 46"/>
                  <a:gd name="T32" fmla="*/ 58 w 86"/>
                  <a:gd name="T33" fmla="*/ 2 h 46"/>
                  <a:gd name="T34" fmla="*/ 61 w 86"/>
                  <a:gd name="T35" fmla="*/ 0 h 46"/>
                  <a:gd name="T36" fmla="*/ 71 w 86"/>
                  <a:gd name="T37" fmla="*/ 4 h 46"/>
                  <a:gd name="T38" fmla="*/ 81 w 86"/>
                  <a:gd name="T39" fmla="*/ 4 h 46"/>
                  <a:gd name="T40" fmla="*/ 83 w 86"/>
                  <a:gd name="T41" fmla="*/ 6 h 46"/>
                  <a:gd name="T42" fmla="*/ 83 w 86"/>
                  <a:gd name="T43" fmla="*/ 10 h 46"/>
                  <a:gd name="T44" fmla="*/ 86 w 86"/>
                  <a:gd name="T45" fmla="*/ 18 h 46"/>
                  <a:gd name="T46" fmla="*/ 84 w 86"/>
                  <a:gd name="T47" fmla="*/ 19 h 46"/>
                  <a:gd name="T48" fmla="*/ 84 w 86"/>
                  <a:gd name="T49" fmla="*/ 23 h 46"/>
                  <a:gd name="T50" fmla="*/ 81 w 86"/>
                  <a:gd name="T51" fmla="*/ 31 h 46"/>
                  <a:gd name="T52" fmla="*/ 77 w 86"/>
                  <a:gd name="T53" fmla="*/ 35 h 46"/>
                  <a:gd name="T54" fmla="*/ 73 w 86"/>
                  <a:gd name="T55" fmla="*/ 37 h 46"/>
                  <a:gd name="T56" fmla="*/ 63 w 86"/>
                  <a:gd name="T57" fmla="*/ 37 h 46"/>
                  <a:gd name="T58" fmla="*/ 58 w 86"/>
                  <a:gd name="T59" fmla="*/ 39 h 46"/>
                  <a:gd name="T60" fmla="*/ 48 w 86"/>
                  <a:gd name="T61" fmla="*/ 42 h 46"/>
                  <a:gd name="T62" fmla="*/ 44 w 86"/>
                  <a:gd name="T63" fmla="*/ 41 h 46"/>
                  <a:gd name="T64" fmla="*/ 44 w 86"/>
                  <a:gd name="T65" fmla="*/ 44 h 46"/>
                  <a:gd name="T66" fmla="*/ 38 w 86"/>
                  <a:gd name="T67" fmla="*/ 46 h 46"/>
                  <a:gd name="T68" fmla="*/ 31 w 86"/>
                  <a:gd name="T69" fmla="*/ 46 h 46"/>
                  <a:gd name="T70" fmla="*/ 25 w 86"/>
                  <a:gd name="T71" fmla="*/ 46 h 46"/>
                  <a:gd name="T72" fmla="*/ 19 w 86"/>
                  <a:gd name="T73" fmla="*/ 44 h 46"/>
                  <a:gd name="T74" fmla="*/ 13 w 86"/>
                  <a:gd name="T75" fmla="*/ 42 h 46"/>
                  <a:gd name="T76" fmla="*/ 12 w 86"/>
                  <a:gd name="T77" fmla="*/ 42 h 46"/>
                  <a:gd name="T78" fmla="*/ 4 w 86"/>
                  <a:gd name="T79" fmla="*/ 4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6" h="46">
                    <a:moveTo>
                      <a:pt x="4" y="41"/>
                    </a:moveTo>
                    <a:lnTo>
                      <a:pt x="4" y="41"/>
                    </a:lnTo>
                    <a:lnTo>
                      <a:pt x="2" y="39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2" y="33"/>
                    </a:lnTo>
                    <a:lnTo>
                      <a:pt x="6" y="29"/>
                    </a:lnTo>
                    <a:lnTo>
                      <a:pt x="10" y="29"/>
                    </a:lnTo>
                    <a:lnTo>
                      <a:pt x="13" y="27"/>
                    </a:lnTo>
                    <a:lnTo>
                      <a:pt x="15" y="25"/>
                    </a:lnTo>
                    <a:lnTo>
                      <a:pt x="17" y="23"/>
                    </a:lnTo>
                    <a:lnTo>
                      <a:pt x="21" y="23"/>
                    </a:lnTo>
                    <a:lnTo>
                      <a:pt x="25" y="23"/>
                    </a:lnTo>
                    <a:lnTo>
                      <a:pt x="29" y="25"/>
                    </a:lnTo>
                    <a:lnTo>
                      <a:pt x="31" y="27"/>
                    </a:lnTo>
                    <a:lnTo>
                      <a:pt x="33" y="29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5" y="23"/>
                    </a:lnTo>
                    <a:lnTo>
                      <a:pt x="33" y="19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6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4" y="8"/>
                    </a:lnTo>
                    <a:lnTo>
                      <a:pt x="58" y="2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5" y="2"/>
                    </a:lnTo>
                    <a:lnTo>
                      <a:pt x="71" y="4"/>
                    </a:lnTo>
                    <a:lnTo>
                      <a:pt x="75" y="6"/>
                    </a:lnTo>
                    <a:lnTo>
                      <a:pt x="81" y="4"/>
                    </a:lnTo>
                    <a:lnTo>
                      <a:pt x="84" y="4"/>
                    </a:lnTo>
                    <a:lnTo>
                      <a:pt x="83" y="6"/>
                    </a:lnTo>
                    <a:lnTo>
                      <a:pt x="83" y="8"/>
                    </a:lnTo>
                    <a:lnTo>
                      <a:pt x="83" y="10"/>
                    </a:lnTo>
                    <a:lnTo>
                      <a:pt x="84" y="12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4" y="19"/>
                    </a:lnTo>
                    <a:lnTo>
                      <a:pt x="84" y="21"/>
                    </a:lnTo>
                    <a:lnTo>
                      <a:pt x="84" y="23"/>
                    </a:lnTo>
                    <a:lnTo>
                      <a:pt x="84" y="27"/>
                    </a:lnTo>
                    <a:lnTo>
                      <a:pt x="81" y="31"/>
                    </a:lnTo>
                    <a:lnTo>
                      <a:pt x="77" y="33"/>
                    </a:lnTo>
                    <a:lnTo>
                      <a:pt x="77" y="35"/>
                    </a:lnTo>
                    <a:lnTo>
                      <a:pt x="75" y="35"/>
                    </a:lnTo>
                    <a:lnTo>
                      <a:pt x="73" y="37"/>
                    </a:lnTo>
                    <a:lnTo>
                      <a:pt x="67" y="37"/>
                    </a:lnTo>
                    <a:lnTo>
                      <a:pt x="63" y="37"/>
                    </a:lnTo>
                    <a:lnTo>
                      <a:pt x="60" y="37"/>
                    </a:lnTo>
                    <a:lnTo>
                      <a:pt x="58" y="39"/>
                    </a:lnTo>
                    <a:lnTo>
                      <a:pt x="54" y="42"/>
                    </a:lnTo>
                    <a:lnTo>
                      <a:pt x="48" y="42"/>
                    </a:lnTo>
                    <a:lnTo>
                      <a:pt x="46" y="41"/>
                    </a:lnTo>
                    <a:lnTo>
                      <a:pt x="44" y="41"/>
                    </a:lnTo>
                    <a:lnTo>
                      <a:pt x="44" y="42"/>
                    </a:lnTo>
                    <a:lnTo>
                      <a:pt x="44" y="44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1" y="46"/>
                    </a:lnTo>
                    <a:lnTo>
                      <a:pt x="27" y="46"/>
                    </a:lnTo>
                    <a:lnTo>
                      <a:pt x="25" y="46"/>
                    </a:lnTo>
                    <a:lnTo>
                      <a:pt x="23" y="44"/>
                    </a:lnTo>
                    <a:lnTo>
                      <a:pt x="19" y="44"/>
                    </a:lnTo>
                    <a:lnTo>
                      <a:pt x="17" y="44"/>
                    </a:lnTo>
                    <a:lnTo>
                      <a:pt x="13" y="42"/>
                    </a:lnTo>
                    <a:lnTo>
                      <a:pt x="12" y="41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39" name="Freeform 237"/>
              <p:cNvSpPr>
                <a:spLocks/>
              </p:cNvSpPr>
              <p:nvPr/>
            </p:nvSpPr>
            <p:spPr bwMode="gray">
              <a:xfrm>
                <a:off x="6916371" y="4746626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0" name="Freeform 238"/>
              <p:cNvSpPr>
                <a:spLocks/>
              </p:cNvSpPr>
              <p:nvPr/>
            </p:nvSpPr>
            <p:spPr bwMode="gray">
              <a:xfrm>
                <a:off x="6906847" y="4749801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2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1" name="Freeform 239"/>
              <p:cNvSpPr>
                <a:spLocks/>
              </p:cNvSpPr>
              <p:nvPr/>
            </p:nvSpPr>
            <p:spPr bwMode="gray">
              <a:xfrm>
                <a:off x="6897323" y="4752976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2" name="Freeform 240"/>
              <p:cNvSpPr>
                <a:spLocks/>
              </p:cNvSpPr>
              <p:nvPr/>
            </p:nvSpPr>
            <p:spPr bwMode="gray">
              <a:xfrm>
                <a:off x="7019547" y="4802189"/>
                <a:ext cx="12699" cy="15875"/>
              </a:xfrm>
              <a:custGeom>
                <a:avLst/>
                <a:gdLst>
                  <a:gd name="T0" fmla="*/ 4 w 8"/>
                  <a:gd name="T1" fmla="*/ 0 h 10"/>
                  <a:gd name="T2" fmla="*/ 2 w 8"/>
                  <a:gd name="T3" fmla="*/ 2 h 10"/>
                  <a:gd name="T4" fmla="*/ 0 w 8"/>
                  <a:gd name="T5" fmla="*/ 2 h 10"/>
                  <a:gd name="T6" fmla="*/ 0 w 8"/>
                  <a:gd name="T7" fmla="*/ 6 h 10"/>
                  <a:gd name="T8" fmla="*/ 0 w 8"/>
                  <a:gd name="T9" fmla="*/ 10 h 10"/>
                  <a:gd name="T10" fmla="*/ 2 w 8"/>
                  <a:gd name="T11" fmla="*/ 10 h 10"/>
                  <a:gd name="T12" fmla="*/ 6 w 8"/>
                  <a:gd name="T13" fmla="*/ 8 h 10"/>
                  <a:gd name="T14" fmla="*/ 8 w 8"/>
                  <a:gd name="T15" fmla="*/ 6 h 10"/>
                  <a:gd name="T16" fmla="*/ 6 w 8"/>
                  <a:gd name="T17" fmla="*/ 2 h 10"/>
                  <a:gd name="T18" fmla="*/ 4 w 8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3" name="Freeform 241"/>
              <p:cNvSpPr>
                <a:spLocks/>
              </p:cNvSpPr>
              <p:nvPr/>
            </p:nvSpPr>
            <p:spPr bwMode="gray">
              <a:xfrm>
                <a:off x="7076690" y="4868864"/>
                <a:ext cx="6349" cy="9525"/>
              </a:xfrm>
              <a:custGeom>
                <a:avLst/>
                <a:gdLst>
                  <a:gd name="T0" fmla="*/ 2 w 4"/>
                  <a:gd name="T1" fmla="*/ 0 h 6"/>
                  <a:gd name="T2" fmla="*/ 0 w 4"/>
                  <a:gd name="T3" fmla="*/ 2 h 6"/>
                  <a:gd name="T4" fmla="*/ 0 w 4"/>
                  <a:gd name="T5" fmla="*/ 4 h 6"/>
                  <a:gd name="T6" fmla="*/ 2 w 4"/>
                  <a:gd name="T7" fmla="*/ 6 h 6"/>
                  <a:gd name="T8" fmla="*/ 4 w 4"/>
                  <a:gd name="T9" fmla="*/ 6 h 6"/>
                  <a:gd name="T10" fmla="*/ 4 w 4"/>
                  <a:gd name="T11" fmla="*/ 2 h 6"/>
                  <a:gd name="T12" fmla="*/ 2 w 4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4" name="Freeform 242"/>
              <p:cNvSpPr>
                <a:spLocks/>
              </p:cNvSpPr>
              <p:nvPr/>
            </p:nvSpPr>
            <p:spPr bwMode="gray">
              <a:xfrm>
                <a:off x="6562397" y="5103814"/>
                <a:ext cx="3175" cy="12700"/>
              </a:xfrm>
              <a:custGeom>
                <a:avLst/>
                <a:gdLst>
                  <a:gd name="T0" fmla="*/ 0 w 2"/>
                  <a:gd name="T1" fmla="*/ 0 h 8"/>
                  <a:gd name="T2" fmla="*/ 2 w 2"/>
                  <a:gd name="T3" fmla="*/ 8 h 8"/>
                  <a:gd name="T4" fmla="*/ 2 w 2"/>
                  <a:gd name="T5" fmla="*/ 4 h 8"/>
                  <a:gd name="T6" fmla="*/ 0 w 2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8">
                    <a:moveTo>
                      <a:pt x="0" y="0"/>
                    </a:moveTo>
                    <a:lnTo>
                      <a:pt x="2" y="8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5" name="Freeform 243"/>
              <p:cNvSpPr>
                <a:spLocks/>
              </p:cNvSpPr>
              <p:nvPr/>
            </p:nvSpPr>
            <p:spPr bwMode="gray">
              <a:xfrm>
                <a:off x="7040182" y="5232401"/>
                <a:ext cx="6349" cy="17463"/>
              </a:xfrm>
              <a:custGeom>
                <a:avLst/>
                <a:gdLst>
                  <a:gd name="T0" fmla="*/ 0 w 4"/>
                  <a:gd name="T1" fmla="*/ 0 h 11"/>
                  <a:gd name="T2" fmla="*/ 2 w 4"/>
                  <a:gd name="T3" fmla="*/ 2 h 11"/>
                  <a:gd name="T4" fmla="*/ 4 w 4"/>
                  <a:gd name="T5" fmla="*/ 7 h 11"/>
                  <a:gd name="T6" fmla="*/ 4 w 4"/>
                  <a:gd name="T7" fmla="*/ 9 h 11"/>
                  <a:gd name="T8" fmla="*/ 4 w 4"/>
                  <a:gd name="T9" fmla="*/ 9 h 11"/>
                  <a:gd name="T10" fmla="*/ 4 w 4"/>
                  <a:gd name="T11" fmla="*/ 11 h 11"/>
                  <a:gd name="T12" fmla="*/ 2 w 4"/>
                  <a:gd name="T13" fmla="*/ 9 h 11"/>
                  <a:gd name="T14" fmla="*/ 0 w 4"/>
                  <a:gd name="T15" fmla="*/ 3 h 11"/>
                  <a:gd name="T16" fmla="*/ 0 w 4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1">
                    <a:moveTo>
                      <a:pt x="0" y="0"/>
                    </a:moveTo>
                    <a:lnTo>
                      <a:pt x="2" y="2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2" y="9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6" name="Freeform 244"/>
              <p:cNvSpPr>
                <a:spLocks/>
              </p:cNvSpPr>
              <p:nvPr/>
            </p:nvSpPr>
            <p:spPr bwMode="gray">
              <a:xfrm>
                <a:off x="7006848" y="5240339"/>
                <a:ext cx="6349" cy="22225"/>
              </a:xfrm>
              <a:custGeom>
                <a:avLst/>
                <a:gdLst>
                  <a:gd name="T0" fmla="*/ 0 w 4"/>
                  <a:gd name="T1" fmla="*/ 0 h 14"/>
                  <a:gd name="T2" fmla="*/ 2 w 4"/>
                  <a:gd name="T3" fmla="*/ 4 h 14"/>
                  <a:gd name="T4" fmla="*/ 4 w 4"/>
                  <a:gd name="T5" fmla="*/ 10 h 14"/>
                  <a:gd name="T6" fmla="*/ 4 w 4"/>
                  <a:gd name="T7" fmla="*/ 12 h 14"/>
                  <a:gd name="T8" fmla="*/ 4 w 4"/>
                  <a:gd name="T9" fmla="*/ 14 h 14"/>
                  <a:gd name="T10" fmla="*/ 2 w 4"/>
                  <a:gd name="T11" fmla="*/ 14 h 14"/>
                  <a:gd name="T12" fmla="*/ 0 w 4"/>
                  <a:gd name="T13" fmla="*/ 14 h 14"/>
                  <a:gd name="T14" fmla="*/ 0 w 4"/>
                  <a:gd name="T15" fmla="*/ 6 h 14"/>
                  <a:gd name="T16" fmla="*/ 0 w 4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4">
                    <a:moveTo>
                      <a:pt x="0" y="0"/>
                    </a:moveTo>
                    <a:lnTo>
                      <a:pt x="2" y="4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4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7" name="Freeform 245"/>
              <p:cNvSpPr>
                <a:spLocks/>
              </p:cNvSpPr>
              <p:nvPr/>
            </p:nvSpPr>
            <p:spPr bwMode="gray">
              <a:xfrm>
                <a:off x="6995737" y="5243514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8" name="Freeform 246"/>
              <p:cNvSpPr>
                <a:spLocks/>
              </p:cNvSpPr>
              <p:nvPr/>
            </p:nvSpPr>
            <p:spPr bwMode="gray">
              <a:xfrm>
                <a:off x="7032245" y="5362576"/>
                <a:ext cx="14286" cy="9525"/>
              </a:xfrm>
              <a:custGeom>
                <a:avLst/>
                <a:gdLst>
                  <a:gd name="T0" fmla="*/ 2 w 9"/>
                  <a:gd name="T1" fmla="*/ 0 h 6"/>
                  <a:gd name="T2" fmla="*/ 0 w 9"/>
                  <a:gd name="T3" fmla="*/ 6 h 6"/>
                  <a:gd name="T4" fmla="*/ 5 w 9"/>
                  <a:gd name="T5" fmla="*/ 4 h 6"/>
                  <a:gd name="T6" fmla="*/ 9 w 9"/>
                  <a:gd name="T7" fmla="*/ 4 h 6"/>
                  <a:gd name="T8" fmla="*/ 9 w 9"/>
                  <a:gd name="T9" fmla="*/ 2 h 6"/>
                  <a:gd name="T10" fmla="*/ 2 w 9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6">
                    <a:moveTo>
                      <a:pt x="2" y="0"/>
                    </a:moveTo>
                    <a:lnTo>
                      <a:pt x="0" y="6"/>
                    </a:lnTo>
                    <a:lnTo>
                      <a:pt x="5" y="4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49" name="Freeform 247"/>
              <p:cNvSpPr>
                <a:spLocks/>
              </p:cNvSpPr>
              <p:nvPr/>
            </p:nvSpPr>
            <p:spPr bwMode="gray">
              <a:xfrm>
                <a:off x="7156056" y="5475289"/>
                <a:ext cx="6349" cy="12700"/>
              </a:xfrm>
              <a:custGeom>
                <a:avLst/>
                <a:gdLst>
                  <a:gd name="T0" fmla="*/ 0 w 4"/>
                  <a:gd name="T1" fmla="*/ 0 h 8"/>
                  <a:gd name="T2" fmla="*/ 0 w 4"/>
                  <a:gd name="T3" fmla="*/ 4 h 8"/>
                  <a:gd name="T4" fmla="*/ 2 w 4"/>
                  <a:gd name="T5" fmla="*/ 8 h 8"/>
                  <a:gd name="T6" fmla="*/ 2 w 4"/>
                  <a:gd name="T7" fmla="*/ 6 h 8"/>
                  <a:gd name="T8" fmla="*/ 4 w 4"/>
                  <a:gd name="T9" fmla="*/ 2 h 8"/>
                  <a:gd name="T10" fmla="*/ 4 w 4"/>
                  <a:gd name="T11" fmla="*/ 2 h 8"/>
                  <a:gd name="T12" fmla="*/ 4 w 4"/>
                  <a:gd name="T13" fmla="*/ 0 h 8"/>
                  <a:gd name="T14" fmla="*/ 2 w 4"/>
                  <a:gd name="T15" fmla="*/ 0 h 8"/>
                  <a:gd name="T16" fmla="*/ 0 w 4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0" y="4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0" name="Freeform 248"/>
              <p:cNvSpPr>
                <a:spLocks/>
              </p:cNvSpPr>
              <p:nvPr/>
            </p:nvSpPr>
            <p:spPr bwMode="gray">
              <a:xfrm>
                <a:off x="7238597" y="5481639"/>
                <a:ext cx="9524" cy="12700"/>
              </a:xfrm>
              <a:custGeom>
                <a:avLst/>
                <a:gdLst>
                  <a:gd name="T0" fmla="*/ 0 w 6"/>
                  <a:gd name="T1" fmla="*/ 0 h 8"/>
                  <a:gd name="T2" fmla="*/ 2 w 6"/>
                  <a:gd name="T3" fmla="*/ 4 h 8"/>
                  <a:gd name="T4" fmla="*/ 2 w 6"/>
                  <a:gd name="T5" fmla="*/ 8 h 8"/>
                  <a:gd name="T6" fmla="*/ 6 w 6"/>
                  <a:gd name="T7" fmla="*/ 8 h 8"/>
                  <a:gd name="T8" fmla="*/ 6 w 6"/>
                  <a:gd name="T9" fmla="*/ 6 h 8"/>
                  <a:gd name="T10" fmla="*/ 4 w 6"/>
                  <a:gd name="T11" fmla="*/ 4 h 8"/>
                  <a:gd name="T12" fmla="*/ 0 w 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2" y="4"/>
                    </a:lnTo>
                    <a:lnTo>
                      <a:pt x="2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1" name="Freeform 249"/>
              <p:cNvSpPr>
                <a:spLocks/>
              </p:cNvSpPr>
              <p:nvPr/>
            </p:nvSpPr>
            <p:spPr bwMode="gray">
              <a:xfrm>
                <a:off x="7171930" y="5502276"/>
                <a:ext cx="76192" cy="82550"/>
              </a:xfrm>
              <a:custGeom>
                <a:avLst/>
                <a:gdLst>
                  <a:gd name="T0" fmla="*/ 2 w 48"/>
                  <a:gd name="T1" fmla="*/ 0 h 52"/>
                  <a:gd name="T2" fmla="*/ 2 w 48"/>
                  <a:gd name="T3" fmla="*/ 4 h 52"/>
                  <a:gd name="T4" fmla="*/ 0 w 48"/>
                  <a:gd name="T5" fmla="*/ 6 h 52"/>
                  <a:gd name="T6" fmla="*/ 6 w 48"/>
                  <a:gd name="T7" fmla="*/ 16 h 52"/>
                  <a:gd name="T8" fmla="*/ 10 w 48"/>
                  <a:gd name="T9" fmla="*/ 25 h 52"/>
                  <a:gd name="T10" fmla="*/ 13 w 48"/>
                  <a:gd name="T11" fmla="*/ 27 h 52"/>
                  <a:gd name="T12" fmla="*/ 15 w 48"/>
                  <a:gd name="T13" fmla="*/ 27 h 52"/>
                  <a:gd name="T14" fmla="*/ 13 w 48"/>
                  <a:gd name="T15" fmla="*/ 31 h 52"/>
                  <a:gd name="T16" fmla="*/ 11 w 48"/>
                  <a:gd name="T17" fmla="*/ 33 h 52"/>
                  <a:gd name="T18" fmla="*/ 11 w 48"/>
                  <a:gd name="T19" fmla="*/ 35 h 52"/>
                  <a:gd name="T20" fmla="*/ 13 w 48"/>
                  <a:gd name="T21" fmla="*/ 39 h 52"/>
                  <a:gd name="T22" fmla="*/ 17 w 48"/>
                  <a:gd name="T23" fmla="*/ 43 h 52"/>
                  <a:gd name="T24" fmla="*/ 21 w 48"/>
                  <a:gd name="T25" fmla="*/ 46 h 52"/>
                  <a:gd name="T26" fmla="*/ 21 w 48"/>
                  <a:gd name="T27" fmla="*/ 50 h 52"/>
                  <a:gd name="T28" fmla="*/ 25 w 48"/>
                  <a:gd name="T29" fmla="*/ 52 h 52"/>
                  <a:gd name="T30" fmla="*/ 29 w 48"/>
                  <a:gd name="T31" fmla="*/ 52 h 52"/>
                  <a:gd name="T32" fmla="*/ 31 w 48"/>
                  <a:gd name="T33" fmla="*/ 52 h 52"/>
                  <a:gd name="T34" fmla="*/ 33 w 48"/>
                  <a:gd name="T35" fmla="*/ 50 h 52"/>
                  <a:gd name="T36" fmla="*/ 34 w 48"/>
                  <a:gd name="T37" fmla="*/ 46 h 52"/>
                  <a:gd name="T38" fmla="*/ 36 w 48"/>
                  <a:gd name="T39" fmla="*/ 41 h 52"/>
                  <a:gd name="T40" fmla="*/ 38 w 48"/>
                  <a:gd name="T41" fmla="*/ 43 h 52"/>
                  <a:gd name="T42" fmla="*/ 40 w 48"/>
                  <a:gd name="T43" fmla="*/ 45 h 52"/>
                  <a:gd name="T44" fmla="*/ 42 w 48"/>
                  <a:gd name="T45" fmla="*/ 46 h 52"/>
                  <a:gd name="T46" fmla="*/ 44 w 48"/>
                  <a:gd name="T47" fmla="*/ 45 h 52"/>
                  <a:gd name="T48" fmla="*/ 44 w 48"/>
                  <a:gd name="T49" fmla="*/ 41 h 52"/>
                  <a:gd name="T50" fmla="*/ 44 w 48"/>
                  <a:gd name="T51" fmla="*/ 39 h 52"/>
                  <a:gd name="T52" fmla="*/ 42 w 48"/>
                  <a:gd name="T53" fmla="*/ 33 h 52"/>
                  <a:gd name="T54" fmla="*/ 44 w 48"/>
                  <a:gd name="T55" fmla="*/ 31 h 52"/>
                  <a:gd name="T56" fmla="*/ 44 w 48"/>
                  <a:gd name="T57" fmla="*/ 25 h 52"/>
                  <a:gd name="T58" fmla="*/ 48 w 48"/>
                  <a:gd name="T59" fmla="*/ 25 h 52"/>
                  <a:gd name="T60" fmla="*/ 48 w 48"/>
                  <a:gd name="T61" fmla="*/ 16 h 52"/>
                  <a:gd name="T62" fmla="*/ 46 w 48"/>
                  <a:gd name="T63" fmla="*/ 4 h 52"/>
                  <a:gd name="T64" fmla="*/ 40 w 48"/>
                  <a:gd name="T65" fmla="*/ 8 h 52"/>
                  <a:gd name="T66" fmla="*/ 34 w 48"/>
                  <a:gd name="T67" fmla="*/ 8 h 52"/>
                  <a:gd name="T68" fmla="*/ 29 w 48"/>
                  <a:gd name="T69" fmla="*/ 8 h 52"/>
                  <a:gd name="T70" fmla="*/ 23 w 48"/>
                  <a:gd name="T71" fmla="*/ 8 h 52"/>
                  <a:gd name="T72" fmla="*/ 13 w 48"/>
                  <a:gd name="T73" fmla="*/ 4 h 52"/>
                  <a:gd name="T74" fmla="*/ 2 w 48"/>
                  <a:gd name="T75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" h="52">
                    <a:moveTo>
                      <a:pt x="2" y="0"/>
                    </a:moveTo>
                    <a:lnTo>
                      <a:pt x="2" y="4"/>
                    </a:lnTo>
                    <a:lnTo>
                      <a:pt x="0" y="6"/>
                    </a:lnTo>
                    <a:lnTo>
                      <a:pt x="6" y="16"/>
                    </a:lnTo>
                    <a:lnTo>
                      <a:pt x="10" y="25"/>
                    </a:lnTo>
                    <a:lnTo>
                      <a:pt x="13" y="27"/>
                    </a:lnTo>
                    <a:lnTo>
                      <a:pt x="15" y="27"/>
                    </a:lnTo>
                    <a:lnTo>
                      <a:pt x="13" y="31"/>
                    </a:lnTo>
                    <a:lnTo>
                      <a:pt x="11" y="33"/>
                    </a:lnTo>
                    <a:lnTo>
                      <a:pt x="11" y="35"/>
                    </a:lnTo>
                    <a:lnTo>
                      <a:pt x="13" y="39"/>
                    </a:lnTo>
                    <a:lnTo>
                      <a:pt x="17" y="43"/>
                    </a:lnTo>
                    <a:lnTo>
                      <a:pt x="21" y="46"/>
                    </a:lnTo>
                    <a:lnTo>
                      <a:pt x="21" y="50"/>
                    </a:lnTo>
                    <a:lnTo>
                      <a:pt x="25" y="52"/>
                    </a:lnTo>
                    <a:lnTo>
                      <a:pt x="29" y="52"/>
                    </a:lnTo>
                    <a:lnTo>
                      <a:pt x="31" y="52"/>
                    </a:lnTo>
                    <a:lnTo>
                      <a:pt x="33" y="50"/>
                    </a:lnTo>
                    <a:lnTo>
                      <a:pt x="34" y="46"/>
                    </a:lnTo>
                    <a:lnTo>
                      <a:pt x="36" y="41"/>
                    </a:lnTo>
                    <a:lnTo>
                      <a:pt x="38" y="43"/>
                    </a:lnTo>
                    <a:lnTo>
                      <a:pt x="40" y="45"/>
                    </a:lnTo>
                    <a:lnTo>
                      <a:pt x="42" y="46"/>
                    </a:lnTo>
                    <a:lnTo>
                      <a:pt x="44" y="45"/>
                    </a:lnTo>
                    <a:lnTo>
                      <a:pt x="44" y="41"/>
                    </a:lnTo>
                    <a:lnTo>
                      <a:pt x="44" y="39"/>
                    </a:lnTo>
                    <a:lnTo>
                      <a:pt x="42" y="33"/>
                    </a:lnTo>
                    <a:lnTo>
                      <a:pt x="44" y="31"/>
                    </a:lnTo>
                    <a:lnTo>
                      <a:pt x="44" y="25"/>
                    </a:lnTo>
                    <a:lnTo>
                      <a:pt x="48" y="25"/>
                    </a:lnTo>
                    <a:lnTo>
                      <a:pt x="48" y="16"/>
                    </a:lnTo>
                    <a:lnTo>
                      <a:pt x="46" y="4"/>
                    </a:lnTo>
                    <a:lnTo>
                      <a:pt x="40" y="8"/>
                    </a:lnTo>
                    <a:lnTo>
                      <a:pt x="34" y="8"/>
                    </a:lnTo>
                    <a:lnTo>
                      <a:pt x="29" y="8"/>
                    </a:lnTo>
                    <a:lnTo>
                      <a:pt x="23" y="8"/>
                    </a:lnTo>
                    <a:lnTo>
                      <a:pt x="13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2" name="Freeform 250"/>
              <p:cNvSpPr>
                <a:spLocks/>
              </p:cNvSpPr>
              <p:nvPr/>
            </p:nvSpPr>
            <p:spPr bwMode="gray">
              <a:xfrm>
                <a:off x="6562397" y="4738689"/>
                <a:ext cx="788900" cy="723900"/>
              </a:xfrm>
              <a:custGeom>
                <a:avLst/>
                <a:gdLst>
                  <a:gd name="T0" fmla="*/ 29 w 497"/>
                  <a:gd name="T1" fmla="*/ 309 h 456"/>
                  <a:gd name="T2" fmla="*/ 23 w 497"/>
                  <a:gd name="T3" fmla="*/ 362 h 456"/>
                  <a:gd name="T4" fmla="*/ 54 w 497"/>
                  <a:gd name="T5" fmla="*/ 380 h 456"/>
                  <a:gd name="T6" fmla="*/ 77 w 497"/>
                  <a:gd name="T7" fmla="*/ 362 h 456"/>
                  <a:gd name="T8" fmla="*/ 119 w 497"/>
                  <a:gd name="T9" fmla="*/ 359 h 456"/>
                  <a:gd name="T10" fmla="*/ 150 w 497"/>
                  <a:gd name="T11" fmla="*/ 341 h 456"/>
                  <a:gd name="T12" fmla="*/ 180 w 497"/>
                  <a:gd name="T13" fmla="*/ 334 h 456"/>
                  <a:gd name="T14" fmla="*/ 253 w 497"/>
                  <a:gd name="T15" fmla="*/ 334 h 456"/>
                  <a:gd name="T16" fmla="*/ 257 w 497"/>
                  <a:gd name="T17" fmla="*/ 345 h 456"/>
                  <a:gd name="T18" fmla="*/ 278 w 497"/>
                  <a:gd name="T19" fmla="*/ 372 h 456"/>
                  <a:gd name="T20" fmla="*/ 305 w 497"/>
                  <a:gd name="T21" fmla="*/ 349 h 456"/>
                  <a:gd name="T22" fmla="*/ 292 w 497"/>
                  <a:gd name="T23" fmla="*/ 380 h 456"/>
                  <a:gd name="T24" fmla="*/ 307 w 497"/>
                  <a:gd name="T25" fmla="*/ 368 h 456"/>
                  <a:gd name="T26" fmla="*/ 323 w 497"/>
                  <a:gd name="T27" fmla="*/ 389 h 456"/>
                  <a:gd name="T28" fmla="*/ 351 w 497"/>
                  <a:gd name="T29" fmla="*/ 441 h 456"/>
                  <a:gd name="T30" fmla="*/ 378 w 497"/>
                  <a:gd name="T31" fmla="*/ 449 h 456"/>
                  <a:gd name="T32" fmla="*/ 394 w 497"/>
                  <a:gd name="T33" fmla="*/ 433 h 456"/>
                  <a:gd name="T34" fmla="*/ 401 w 497"/>
                  <a:gd name="T35" fmla="*/ 449 h 456"/>
                  <a:gd name="T36" fmla="*/ 424 w 497"/>
                  <a:gd name="T37" fmla="*/ 441 h 456"/>
                  <a:gd name="T38" fmla="*/ 451 w 497"/>
                  <a:gd name="T39" fmla="*/ 418 h 456"/>
                  <a:gd name="T40" fmla="*/ 466 w 497"/>
                  <a:gd name="T41" fmla="*/ 362 h 456"/>
                  <a:gd name="T42" fmla="*/ 486 w 497"/>
                  <a:gd name="T43" fmla="*/ 337 h 456"/>
                  <a:gd name="T44" fmla="*/ 491 w 497"/>
                  <a:gd name="T45" fmla="*/ 311 h 456"/>
                  <a:gd name="T46" fmla="*/ 491 w 497"/>
                  <a:gd name="T47" fmla="*/ 265 h 456"/>
                  <a:gd name="T48" fmla="*/ 466 w 497"/>
                  <a:gd name="T49" fmla="*/ 201 h 456"/>
                  <a:gd name="T50" fmla="*/ 443 w 497"/>
                  <a:gd name="T51" fmla="*/ 151 h 456"/>
                  <a:gd name="T52" fmla="*/ 409 w 497"/>
                  <a:gd name="T53" fmla="*/ 109 h 456"/>
                  <a:gd name="T54" fmla="*/ 394 w 497"/>
                  <a:gd name="T55" fmla="*/ 55 h 456"/>
                  <a:gd name="T56" fmla="*/ 380 w 497"/>
                  <a:gd name="T57" fmla="*/ 53 h 456"/>
                  <a:gd name="T58" fmla="*/ 355 w 497"/>
                  <a:gd name="T59" fmla="*/ 19 h 456"/>
                  <a:gd name="T60" fmla="*/ 347 w 497"/>
                  <a:gd name="T61" fmla="*/ 86 h 456"/>
                  <a:gd name="T62" fmla="*/ 330 w 497"/>
                  <a:gd name="T63" fmla="*/ 103 h 456"/>
                  <a:gd name="T64" fmla="*/ 290 w 497"/>
                  <a:gd name="T65" fmla="*/ 73 h 456"/>
                  <a:gd name="T66" fmla="*/ 282 w 497"/>
                  <a:gd name="T67" fmla="*/ 44 h 456"/>
                  <a:gd name="T68" fmla="*/ 288 w 497"/>
                  <a:gd name="T69" fmla="*/ 30 h 456"/>
                  <a:gd name="T70" fmla="*/ 280 w 497"/>
                  <a:gd name="T71" fmla="*/ 15 h 456"/>
                  <a:gd name="T72" fmla="*/ 248 w 497"/>
                  <a:gd name="T73" fmla="*/ 11 h 456"/>
                  <a:gd name="T74" fmla="*/ 234 w 497"/>
                  <a:gd name="T75" fmla="*/ 7 h 456"/>
                  <a:gd name="T76" fmla="*/ 232 w 497"/>
                  <a:gd name="T77" fmla="*/ 21 h 456"/>
                  <a:gd name="T78" fmla="*/ 213 w 497"/>
                  <a:gd name="T79" fmla="*/ 34 h 456"/>
                  <a:gd name="T80" fmla="*/ 204 w 497"/>
                  <a:gd name="T81" fmla="*/ 55 h 456"/>
                  <a:gd name="T82" fmla="*/ 188 w 497"/>
                  <a:gd name="T83" fmla="*/ 61 h 456"/>
                  <a:gd name="T84" fmla="*/ 177 w 497"/>
                  <a:gd name="T85" fmla="*/ 42 h 456"/>
                  <a:gd name="T86" fmla="*/ 156 w 497"/>
                  <a:gd name="T87" fmla="*/ 52 h 456"/>
                  <a:gd name="T88" fmla="*/ 152 w 497"/>
                  <a:gd name="T89" fmla="*/ 67 h 456"/>
                  <a:gd name="T90" fmla="*/ 140 w 497"/>
                  <a:gd name="T91" fmla="*/ 76 h 456"/>
                  <a:gd name="T92" fmla="*/ 133 w 497"/>
                  <a:gd name="T93" fmla="*/ 90 h 456"/>
                  <a:gd name="T94" fmla="*/ 121 w 497"/>
                  <a:gd name="T95" fmla="*/ 84 h 456"/>
                  <a:gd name="T96" fmla="*/ 104 w 497"/>
                  <a:gd name="T97" fmla="*/ 123 h 456"/>
                  <a:gd name="T98" fmla="*/ 67 w 497"/>
                  <a:gd name="T99" fmla="*/ 144 h 456"/>
                  <a:gd name="T100" fmla="*/ 40 w 497"/>
                  <a:gd name="T101" fmla="*/ 151 h 456"/>
                  <a:gd name="T102" fmla="*/ 10 w 497"/>
                  <a:gd name="T103" fmla="*/ 174 h 456"/>
                  <a:gd name="T104" fmla="*/ 4 w 497"/>
                  <a:gd name="T105" fmla="*/ 199 h 456"/>
                  <a:gd name="T106" fmla="*/ 12 w 497"/>
                  <a:gd name="T107" fmla="*/ 236 h 456"/>
                  <a:gd name="T108" fmla="*/ 12 w 497"/>
                  <a:gd name="T109" fmla="*/ 242 h 456"/>
                  <a:gd name="T110" fmla="*/ 14 w 497"/>
                  <a:gd name="T111" fmla="*/ 261 h 4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97" h="456">
                    <a:moveTo>
                      <a:pt x="21" y="272"/>
                    </a:moveTo>
                    <a:lnTo>
                      <a:pt x="21" y="276"/>
                    </a:lnTo>
                    <a:lnTo>
                      <a:pt x="19" y="278"/>
                    </a:lnTo>
                    <a:lnTo>
                      <a:pt x="23" y="284"/>
                    </a:lnTo>
                    <a:lnTo>
                      <a:pt x="25" y="289"/>
                    </a:lnTo>
                    <a:lnTo>
                      <a:pt x="25" y="297"/>
                    </a:lnTo>
                    <a:lnTo>
                      <a:pt x="25" y="307"/>
                    </a:lnTo>
                    <a:lnTo>
                      <a:pt x="29" y="309"/>
                    </a:lnTo>
                    <a:lnTo>
                      <a:pt x="31" y="318"/>
                    </a:lnTo>
                    <a:lnTo>
                      <a:pt x="31" y="326"/>
                    </a:lnTo>
                    <a:lnTo>
                      <a:pt x="33" y="326"/>
                    </a:lnTo>
                    <a:lnTo>
                      <a:pt x="33" y="341"/>
                    </a:lnTo>
                    <a:lnTo>
                      <a:pt x="31" y="359"/>
                    </a:lnTo>
                    <a:lnTo>
                      <a:pt x="25" y="359"/>
                    </a:lnTo>
                    <a:lnTo>
                      <a:pt x="21" y="359"/>
                    </a:lnTo>
                    <a:lnTo>
                      <a:pt x="23" y="362"/>
                    </a:lnTo>
                    <a:lnTo>
                      <a:pt x="25" y="366"/>
                    </a:lnTo>
                    <a:lnTo>
                      <a:pt x="31" y="368"/>
                    </a:lnTo>
                    <a:lnTo>
                      <a:pt x="35" y="370"/>
                    </a:lnTo>
                    <a:lnTo>
                      <a:pt x="35" y="374"/>
                    </a:lnTo>
                    <a:lnTo>
                      <a:pt x="37" y="376"/>
                    </a:lnTo>
                    <a:lnTo>
                      <a:pt x="42" y="378"/>
                    </a:lnTo>
                    <a:lnTo>
                      <a:pt x="48" y="376"/>
                    </a:lnTo>
                    <a:lnTo>
                      <a:pt x="54" y="380"/>
                    </a:lnTo>
                    <a:lnTo>
                      <a:pt x="60" y="380"/>
                    </a:lnTo>
                    <a:lnTo>
                      <a:pt x="63" y="376"/>
                    </a:lnTo>
                    <a:lnTo>
                      <a:pt x="67" y="372"/>
                    </a:lnTo>
                    <a:lnTo>
                      <a:pt x="69" y="366"/>
                    </a:lnTo>
                    <a:lnTo>
                      <a:pt x="73" y="370"/>
                    </a:lnTo>
                    <a:lnTo>
                      <a:pt x="77" y="372"/>
                    </a:lnTo>
                    <a:lnTo>
                      <a:pt x="77" y="368"/>
                    </a:lnTo>
                    <a:lnTo>
                      <a:pt x="77" y="362"/>
                    </a:lnTo>
                    <a:lnTo>
                      <a:pt x="81" y="364"/>
                    </a:lnTo>
                    <a:lnTo>
                      <a:pt x="85" y="364"/>
                    </a:lnTo>
                    <a:lnTo>
                      <a:pt x="96" y="362"/>
                    </a:lnTo>
                    <a:lnTo>
                      <a:pt x="108" y="359"/>
                    </a:lnTo>
                    <a:lnTo>
                      <a:pt x="109" y="360"/>
                    </a:lnTo>
                    <a:lnTo>
                      <a:pt x="111" y="362"/>
                    </a:lnTo>
                    <a:lnTo>
                      <a:pt x="115" y="360"/>
                    </a:lnTo>
                    <a:lnTo>
                      <a:pt x="119" y="359"/>
                    </a:lnTo>
                    <a:lnTo>
                      <a:pt x="123" y="360"/>
                    </a:lnTo>
                    <a:lnTo>
                      <a:pt x="129" y="360"/>
                    </a:lnTo>
                    <a:lnTo>
                      <a:pt x="133" y="355"/>
                    </a:lnTo>
                    <a:lnTo>
                      <a:pt x="136" y="347"/>
                    </a:lnTo>
                    <a:lnTo>
                      <a:pt x="142" y="347"/>
                    </a:lnTo>
                    <a:lnTo>
                      <a:pt x="146" y="347"/>
                    </a:lnTo>
                    <a:lnTo>
                      <a:pt x="146" y="343"/>
                    </a:lnTo>
                    <a:lnTo>
                      <a:pt x="150" y="341"/>
                    </a:lnTo>
                    <a:lnTo>
                      <a:pt x="154" y="341"/>
                    </a:lnTo>
                    <a:lnTo>
                      <a:pt x="154" y="339"/>
                    </a:lnTo>
                    <a:lnTo>
                      <a:pt x="156" y="336"/>
                    </a:lnTo>
                    <a:lnTo>
                      <a:pt x="157" y="336"/>
                    </a:lnTo>
                    <a:lnTo>
                      <a:pt x="157" y="334"/>
                    </a:lnTo>
                    <a:lnTo>
                      <a:pt x="163" y="334"/>
                    </a:lnTo>
                    <a:lnTo>
                      <a:pt x="169" y="336"/>
                    </a:lnTo>
                    <a:lnTo>
                      <a:pt x="180" y="334"/>
                    </a:lnTo>
                    <a:lnTo>
                      <a:pt x="198" y="328"/>
                    </a:lnTo>
                    <a:lnTo>
                      <a:pt x="213" y="322"/>
                    </a:lnTo>
                    <a:lnTo>
                      <a:pt x="227" y="322"/>
                    </a:lnTo>
                    <a:lnTo>
                      <a:pt x="230" y="328"/>
                    </a:lnTo>
                    <a:lnTo>
                      <a:pt x="234" y="332"/>
                    </a:lnTo>
                    <a:lnTo>
                      <a:pt x="244" y="332"/>
                    </a:lnTo>
                    <a:lnTo>
                      <a:pt x="253" y="332"/>
                    </a:lnTo>
                    <a:lnTo>
                      <a:pt x="253" y="334"/>
                    </a:lnTo>
                    <a:lnTo>
                      <a:pt x="255" y="337"/>
                    </a:lnTo>
                    <a:lnTo>
                      <a:pt x="253" y="339"/>
                    </a:lnTo>
                    <a:lnTo>
                      <a:pt x="257" y="339"/>
                    </a:lnTo>
                    <a:lnTo>
                      <a:pt x="259" y="339"/>
                    </a:lnTo>
                    <a:lnTo>
                      <a:pt x="261" y="341"/>
                    </a:lnTo>
                    <a:lnTo>
                      <a:pt x="259" y="343"/>
                    </a:lnTo>
                    <a:lnTo>
                      <a:pt x="259" y="345"/>
                    </a:lnTo>
                    <a:lnTo>
                      <a:pt x="257" y="345"/>
                    </a:lnTo>
                    <a:lnTo>
                      <a:pt x="259" y="347"/>
                    </a:lnTo>
                    <a:lnTo>
                      <a:pt x="259" y="349"/>
                    </a:lnTo>
                    <a:lnTo>
                      <a:pt x="265" y="351"/>
                    </a:lnTo>
                    <a:lnTo>
                      <a:pt x="269" y="351"/>
                    </a:lnTo>
                    <a:lnTo>
                      <a:pt x="269" y="360"/>
                    </a:lnTo>
                    <a:lnTo>
                      <a:pt x="273" y="370"/>
                    </a:lnTo>
                    <a:lnTo>
                      <a:pt x="275" y="370"/>
                    </a:lnTo>
                    <a:lnTo>
                      <a:pt x="278" y="372"/>
                    </a:lnTo>
                    <a:lnTo>
                      <a:pt x="284" y="364"/>
                    </a:lnTo>
                    <a:lnTo>
                      <a:pt x="290" y="357"/>
                    </a:lnTo>
                    <a:lnTo>
                      <a:pt x="294" y="357"/>
                    </a:lnTo>
                    <a:lnTo>
                      <a:pt x="296" y="357"/>
                    </a:lnTo>
                    <a:lnTo>
                      <a:pt x="299" y="351"/>
                    </a:lnTo>
                    <a:lnTo>
                      <a:pt x="301" y="347"/>
                    </a:lnTo>
                    <a:lnTo>
                      <a:pt x="303" y="347"/>
                    </a:lnTo>
                    <a:lnTo>
                      <a:pt x="305" y="349"/>
                    </a:lnTo>
                    <a:lnTo>
                      <a:pt x="303" y="353"/>
                    </a:lnTo>
                    <a:lnTo>
                      <a:pt x="303" y="357"/>
                    </a:lnTo>
                    <a:lnTo>
                      <a:pt x="299" y="364"/>
                    </a:lnTo>
                    <a:lnTo>
                      <a:pt x="298" y="368"/>
                    </a:lnTo>
                    <a:lnTo>
                      <a:pt x="299" y="374"/>
                    </a:lnTo>
                    <a:lnTo>
                      <a:pt x="299" y="378"/>
                    </a:lnTo>
                    <a:lnTo>
                      <a:pt x="296" y="380"/>
                    </a:lnTo>
                    <a:lnTo>
                      <a:pt x="292" y="380"/>
                    </a:lnTo>
                    <a:lnTo>
                      <a:pt x="292" y="384"/>
                    </a:lnTo>
                    <a:lnTo>
                      <a:pt x="294" y="384"/>
                    </a:lnTo>
                    <a:lnTo>
                      <a:pt x="296" y="382"/>
                    </a:lnTo>
                    <a:lnTo>
                      <a:pt x="301" y="380"/>
                    </a:lnTo>
                    <a:lnTo>
                      <a:pt x="303" y="378"/>
                    </a:lnTo>
                    <a:lnTo>
                      <a:pt x="303" y="374"/>
                    </a:lnTo>
                    <a:lnTo>
                      <a:pt x="303" y="368"/>
                    </a:lnTo>
                    <a:lnTo>
                      <a:pt x="307" y="368"/>
                    </a:lnTo>
                    <a:lnTo>
                      <a:pt x="309" y="368"/>
                    </a:lnTo>
                    <a:lnTo>
                      <a:pt x="307" y="370"/>
                    </a:lnTo>
                    <a:lnTo>
                      <a:pt x="307" y="372"/>
                    </a:lnTo>
                    <a:lnTo>
                      <a:pt x="311" y="380"/>
                    </a:lnTo>
                    <a:lnTo>
                      <a:pt x="313" y="387"/>
                    </a:lnTo>
                    <a:lnTo>
                      <a:pt x="311" y="393"/>
                    </a:lnTo>
                    <a:lnTo>
                      <a:pt x="317" y="391"/>
                    </a:lnTo>
                    <a:lnTo>
                      <a:pt x="323" y="389"/>
                    </a:lnTo>
                    <a:lnTo>
                      <a:pt x="326" y="407"/>
                    </a:lnTo>
                    <a:lnTo>
                      <a:pt x="328" y="424"/>
                    </a:lnTo>
                    <a:lnTo>
                      <a:pt x="332" y="426"/>
                    </a:lnTo>
                    <a:lnTo>
                      <a:pt x="336" y="428"/>
                    </a:lnTo>
                    <a:lnTo>
                      <a:pt x="338" y="431"/>
                    </a:lnTo>
                    <a:lnTo>
                      <a:pt x="340" y="435"/>
                    </a:lnTo>
                    <a:lnTo>
                      <a:pt x="346" y="439"/>
                    </a:lnTo>
                    <a:lnTo>
                      <a:pt x="351" y="441"/>
                    </a:lnTo>
                    <a:lnTo>
                      <a:pt x="353" y="439"/>
                    </a:lnTo>
                    <a:lnTo>
                      <a:pt x="355" y="437"/>
                    </a:lnTo>
                    <a:lnTo>
                      <a:pt x="359" y="443"/>
                    </a:lnTo>
                    <a:lnTo>
                      <a:pt x="363" y="447"/>
                    </a:lnTo>
                    <a:lnTo>
                      <a:pt x="369" y="451"/>
                    </a:lnTo>
                    <a:lnTo>
                      <a:pt x="372" y="451"/>
                    </a:lnTo>
                    <a:lnTo>
                      <a:pt x="376" y="451"/>
                    </a:lnTo>
                    <a:lnTo>
                      <a:pt x="378" y="449"/>
                    </a:lnTo>
                    <a:lnTo>
                      <a:pt x="380" y="443"/>
                    </a:lnTo>
                    <a:lnTo>
                      <a:pt x="384" y="439"/>
                    </a:lnTo>
                    <a:lnTo>
                      <a:pt x="388" y="439"/>
                    </a:lnTo>
                    <a:lnTo>
                      <a:pt x="386" y="437"/>
                    </a:lnTo>
                    <a:lnTo>
                      <a:pt x="386" y="435"/>
                    </a:lnTo>
                    <a:lnTo>
                      <a:pt x="390" y="433"/>
                    </a:lnTo>
                    <a:lnTo>
                      <a:pt x="394" y="430"/>
                    </a:lnTo>
                    <a:lnTo>
                      <a:pt x="394" y="433"/>
                    </a:lnTo>
                    <a:lnTo>
                      <a:pt x="395" y="435"/>
                    </a:lnTo>
                    <a:lnTo>
                      <a:pt x="392" y="437"/>
                    </a:lnTo>
                    <a:lnTo>
                      <a:pt x="390" y="441"/>
                    </a:lnTo>
                    <a:lnTo>
                      <a:pt x="395" y="439"/>
                    </a:lnTo>
                    <a:lnTo>
                      <a:pt x="399" y="439"/>
                    </a:lnTo>
                    <a:lnTo>
                      <a:pt x="401" y="439"/>
                    </a:lnTo>
                    <a:lnTo>
                      <a:pt x="395" y="445"/>
                    </a:lnTo>
                    <a:lnTo>
                      <a:pt x="401" y="449"/>
                    </a:lnTo>
                    <a:lnTo>
                      <a:pt x="407" y="451"/>
                    </a:lnTo>
                    <a:lnTo>
                      <a:pt x="409" y="455"/>
                    </a:lnTo>
                    <a:lnTo>
                      <a:pt x="409" y="456"/>
                    </a:lnTo>
                    <a:lnTo>
                      <a:pt x="411" y="455"/>
                    </a:lnTo>
                    <a:lnTo>
                      <a:pt x="411" y="451"/>
                    </a:lnTo>
                    <a:lnTo>
                      <a:pt x="415" y="451"/>
                    </a:lnTo>
                    <a:lnTo>
                      <a:pt x="417" y="451"/>
                    </a:lnTo>
                    <a:lnTo>
                      <a:pt x="424" y="441"/>
                    </a:lnTo>
                    <a:lnTo>
                      <a:pt x="426" y="431"/>
                    </a:lnTo>
                    <a:lnTo>
                      <a:pt x="440" y="431"/>
                    </a:lnTo>
                    <a:lnTo>
                      <a:pt x="449" y="431"/>
                    </a:lnTo>
                    <a:lnTo>
                      <a:pt x="451" y="430"/>
                    </a:lnTo>
                    <a:lnTo>
                      <a:pt x="453" y="428"/>
                    </a:lnTo>
                    <a:lnTo>
                      <a:pt x="453" y="424"/>
                    </a:lnTo>
                    <a:lnTo>
                      <a:pt x="455" y="420"/>
                    </a:lnTo>
                    <a:lnTo>
                      <a:pt x="451" y="418"/>
                    </a:lnTo>
                    <a:lnTo>
                      <a:pt x="449" y="412"/>
                    </a:lnTo>
                    <a:lnTo>
                      <a:pt x="453" y="410"/>
                    </a:lnTo>
                    <a:lnTo>
                      <a:pt x="455" y="408"/>
                    </a:lnTo>
                    <a:lnTo>
                      <a:pt x="457" y="401"/>
                    </a:lnTo>
                    <a:lnTo>
                      <a:pt x="457" y="391"/>
                    </a:lnTo>
                    <a:lnTo>
                      <a:pt x="463" y="382"/>
                    </a:lnTo>
                    <a:lnTo>
                      <a:pt x="466" y="372"/>
                    </a:lnTo>
                    <a:lnTo>
                      <a:pt x="466" y="362"/>
                    </a:lnTo>
                    <a:lnTo>
                      <a:pt x="466" y="355"/>
                    </a:lnTo>
                    <a:lnTo>
                      <a:pt x="468" y="355"/>
                    </a:lnTo>
                    <a:lnTo>
                      <a:pt x="472" y="355"/>
                    </a:lnTo>
                    <a:lnTo>
                      <a:pt x="472" y="353"/>
                    </a:lnTo>
                    <a:lnTo>
                      <a:pt x="472" y="349"/>
                    </a:lnTo>
                    <a:lnTo>
                      <a:pt x="478" y="345"/>
                    </a:lnTo>
                    <a:lnTo>
                      <a:pt x="486" y="341"/>
                    </a:lnTo>
                    <a:lnTo>
                      <a:pt x="486" y="337"/>
                    </a:lnTo>
                    <a:lnTo>
                      <a:pt x="486" y="336"/>
                    </a:lnTo>
                    <a:lnTo>
                      <a:pt x="486" y="332"/>
                    </a:lnTo>
                    <a:lnTo>
                      <a:pt x="489" y="332"/>
                    </a:lnTo>
                    <a:lnTo>
                      <a:pt x="491" y="328"/>
                    </a:lnTo>
                    <a:lnTo>
                      <a:pt x="491" y="326"/>
                    </a:lnTo>
                    <a:lnTo>
                      <a:pt x="491" y="318"/>
                    </a:lnTo>
                    <a:lnTo>
                      <a:pt x="491" y="314"/>
                    </a:lnTo>
                    <a:lnTo>
                      <a:pt x="491" y="311"/>
                    </a:lnTo>
                    <a:lnTo>
                      <a:pt x="491" y="301"/>
                    </a:lnTo>
                    <a:lnTo>
                      <a:pt x="491" y="289"/>
                    </a:lnTo>
                    <a:lnTo>
                      <a:pt x="495" y="289"/>
                    </a:lnTo>
                    <a:lnTo>
                      <a:pt x="497" y="286"/>
                    </a:lnTo>
                    <a:lnTo>
                      <a:pt x="497" y="282"/>
                    </a:lnTo>
                    <a:lnTo>
                      <a:pt x="497" y="274"/>
                    </a:lnTo>
                    <a:lnTo>
                      <a:pt x="495" y="270"/>
                    </a:lnTo>
                    <a:lnTo>
                      <a:pt x="491" y="265"/>
                    </a:lnTo>
                    <a:lnTo>
                      <a:pt x="489" y="257"/>
                    </a:lnTo>
                    <a:lnTo>
                      <a:pt x="491" y="242"/>
                    </a:lnTo>
                    <a:lnTo>
                      <a:pt x="489" y="224"/>
                    </a:lnTo>
                    <a:lnTo>
                      <a:pt x="478" y="217"/>
                    </a:lnTo>
                    <a:lnTo>
                      <a:pt x="478" y="213"/>
                    </a:lnTo>
                    <a:lnTo>
                      <a:pt x="478" y="209"/>
                    </a:lnTo>
                    <a:lnTo>
                      <a:pt x="472" y="205"/>
                    </a:lnTo>
                    <a:lnTo>
                      <a:pt x="466" y="201"/>
                    </a:lnTo>
                    <a:lnTo>
                      <a:pt x="465" y="194"/>
                    </a:lnTo>
                    <a:lnTo>
                      <a:pt x="465" y="182"/>
                    </a:lnTo>
                    <a:lnTo>
                      <a:pt x="457" y="178"/>
                    </a:lnTo>
                    <a:lnTo>
                      <a:pt x="449" y="174"/>
                    </a:lnTo>
                    <a:lnTo>
                      <a:pt x="449" y="169"/>
                    </a:lnTo>
                    <a:lnTo>
                      <a:pt x="449" y="161"/>
                    </a:lnTo>
                    <a:lnTo>
                      <a:pt x="447" y="155"/>
                    </a:lnTo>
                    <a:lnTo>
                      <a:pt x="443" y="151"/>
                    </a:lnTo>
                    <a:lnTo>
                      <a:pt x="440" y="151"/>
                    </a:lnTo>
                    <a:lnTo>
                      <a:pt x="441" y="147"/>
                    </a:lnTo>
                    <a:lnTo>
                      <a:pt x="443" y="146"/>
                    </a:lnTo>
                    <a:lnTo>
                      <a:pt x="443" y="144"/>
                    </a:lnTo>
                    <a:lnTo>
                      <a:pt x="441" y="140"/>
                    </a:lnTo>
                    <a:lnTo>
                      <a:pt x="424" y="132"/>
                    </a:lnTo>
                    <a:lnTo>
                      <a:pt x="411" y="123"/>
                    </a:lnTo>
                    <a:lnTo>
                      <a:pt x="409" y="109"/>
                    </a:lnTo>
                    <a:lnTo>
                      <a:pt x="409" y="96"/>
                    </a:lnTo>
                    <a:lnTo>
                      <a:pt x="405" y="88"/>
                    </a:lnTo>
                    <a:lnTo>
                      <a:pt x="399" y="80"/>
                    </a:lnTo>
                    <a:lnTo>
                      <a:pt x="399" y="69"/>
                    </a:lnTo>
                    <a:lnTo>
                      <a:pt x="399" y="57"/>
                    </a:lnTo>
                    <a:lnTo>
                      <a:pt x="397" y="57"/>
                    </a:lnTo>
                    <a:lnTo>
                      <a:pt x="394" y="57"/>
                    </a:lnTo>
                    <a:lnTo>
                      <a:pt x="394" y="55"/>
                    </a:lnTo>
                    <a:lnTo>
                      <a:pt x="392" y="53"/>
                    </a:lnTo>
                    <a:lnTo>
                      <a:pt x="390" y="53"/>
                    </a:lnTo>
                    <a:lnTo>
                      <a:pt x="390" y="52"/>
                    </a:lnTo>
                    <a:lnTo>
                      <a:pt x="390" y="48"/>
                    </a:lnTo>
                    <a:lnTo>
                      <a:pt x="388" y="50"/>
                    </a:lnTo>
                    <a:lnTo>
                      <a:pt x="384" y="50"/>
                    </a:lnTo>
                    <a:lnTo>
                      <a:pt x="384" y="53"/>
                    </a:lnTo>
                    <a:lnTo>
                      <a:pt x="380" y="53"/>
                    </a:lnTo>
                    <a:lnTo>
                      <a:pt x="378" y="52"/>
                    </a:lnTo>
                    <a:lnTo>
                      <a:pt x="376" y="34"/>
                    </a:lnTo>
                    <a:lnTo>
                      <a:pt x="374" y="23"/>
                    </a:lnTo>
                    <a:lnTo>
                      <a:pt x="369" y="11"/>
                    </a:lnTo>
                    <a:lnTo>
                      <a:pt x="363" y="0"/>
                    </a:lnTo>
                    <a:lnTo>
                      <a:pt x="361" y="0"/>
                    </a:lnTo>
                    <a:lnTo>
                      <a:pt x="357" y="0"/>
                    </a:lnTo>
                    <a:lnTo>
                      <a:pt x="355" y="19"/>
                    </a:lnTo>
                    <a:lnTo>
                      <a:pt x="355" y="36"/>
                    </a:lnTo>
                    <a:lnTo>
                      <a:pt x="353" y="38"/>
                    </a:lnTo>
                    <a:lnTo>
                      <a:pt x="351" y="38"/>
                    </a:lnTo>
                    <a:lnTo>
                      <a:pt x="351" y="59"/>
                    </a:lnTo>
                    <a:lnTo>
                      <a:pt x="351" y="78"/>
                    </a:lnTo>
                    <a:lnTo>
                      <a:pt x="349" y="80"/>
                    </a:lnTo>
                    <a:lnTo>
                      <a:pt x="347" y="80"/>
                    </a:lnTo>
                    <a:lnTo>
                      <a:pt x="347" y="86"/>
                    </a:lnTo>
                    <a:lnTo>
                      <a:pt x="347" y="90"/>
                    </a:lnTo>
                    <a:lnTo>
                      <a:pt x="344" y="94"/>
                    </a:lnTo>
                    <a:lnTo>
                      <a:pt x="344" y="98"/>
                    </a:lnTo>
                    <a:lnTo>
                      <a:pt x="344" y="101"/>
                    </a:lnTo>
                    <a:lnTo>
                      <a:pt x="342" y="101"/>
                    </a:lnTo>
                    <a:lnTo>
                      <a:pt x="340" y="103"/>
                    </a:lnTo>
                    <a:lnTo>
                      <a:pt x="336" y="103"/>
                    </a:lnTo>
                    <a:lnTo>
                      <a:pt x="330" y="103"/>
                    </a:lnTo>
                    <a:lnTo>
                      <a:pt x="326" y="98"/>
                    </a:lnTo>
                    <a:lnTo>
                      <a:pt x="324" y="92"/>
                    </a:lnTo>
                    <a:lnTo>
                      <a:pt x="323" y="92"/>
                    </a:lnTo>
                    <a:lnTo>
                      <a:pt x="319" y="92"/>
                    </a:lnTo>
                    <a:lnTo>
                      <a:pt x="311" y="84"/>
                    </a:lnTo>
                    <a:lnTo>
                      <a:pt x="305" y="76"/>
                    </a:lnTo>
                    <a:lnTo>
                      <a:pt x="298" y="75"/>
                    </a:lnTo>
                    <a:lnTo>
                      <a:pt x="290" y="73"/>
                    </a:lnTo>
                    <a:lnTo>
                      <a:pt x="290" y="69"/>
                    </a:lnTo>
                    <a:lnTo>
                      <a:pt x="284" y="67"/>
                    </a:lnTo>
                    <a:lnTo>
                      <a:pt x="278" y="63"/>
                    </a:lnTo>
                    <a:lnTo>
                      <a:pt x="278" y="57"/>
                    </a:lnTo>
                    <a:lnTo>
                      <a:pt x="278" y="50"/>
                    </a:lnTo>
                    <a:lnTo>
                      <a:pt x="280" y="50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84" y="40"/>
                    </a:lnTo>
                    <a:lnTo>
                      <a:pt x="282" y="38"/>
                    </a:lnTo>
                    <a:lnTo>
                      <a:pt x="280" y="36"/>
                    </a:lnTo>
                    <a:lnTo>
                      <a:pt x="284" y="36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88" y="30"/>
                    </a:lnTo>
                    <a:lnTo>
                      <a:pt x="288" y="27"/>
                    </a:lnTo>
                    <a:lnTo>
                      <a:pt x="290" y="25"/>
                    </a:lnTo>
                    <a:lnTo>
                      <a:pt x="294" y="23"/>
                    </a:lnTo>
                    <a:lnTo>
                      <a:pt x="294" y="23"/>
                    </a:lnTo>
                    <a:lnTo>
                      <a:pt x="292" y="15"/>
                    </a:lnTo>
                    <a:lnTo>
                      <a:pt x="290" y="17"/>
                    </a:lnTo>
                    <a:lnTo>
                      <a:pt x="282" y="19"/>
                    </a:lnTo>
                    <a:lnTo>
                      <a:pt x="280" y="15"/>
                    </a:lnTo>
                    <a:lnTo>
                      <a:pt x="271" y="15"/>
                    </a:lnTo>
                    <a:lnTo>
                      <a:pt x="259" y="13"/>
                    </a:lnTo>
                    <a:lnTo>
                      <a:pt x="257" y="13"/>
                    </a:lnTo>
                    <a:lnTo>
                      <a:pt x="257" y="13"/>
                    </a:lnTo>
                    <a:lnTo>
                      <a:pt x="253" y="11"/>
                    </a:lnTo>
                    <a:lnTo>
                      <a:pt x="251" y="7"/>
                    </a:lnTo>
                    <a:lnTo>
                      <a:pt x="250" y="9"/>
                    </a:lnTo>
                    <a:lnTo>
                      <a:pt x="248" y="11"/>
                    </a:lnTo>
                    <a:lnTo>
                      <a:pt x="244" y="11"/>
                    </a:lnTo>
                    <a:lnTo>
                      <a:pt x="244" y="9"/>
                    </a:lnTo>
                    <a:lnTo>
                      <a:pt x="240" y="7"/>
                    </a:lnTo>
                    <a:lnTo>
                      <a:pt x="236" y="4"/>
                    </a:lnTo>
                    <a:lnTo>
                      <a:pt x="232" y="4"/>
                    </a:lnTo>
                    <a:lnTo>
                      <a:pt x="230" y="4"/>
                    </a:lnTo>
                    <a:lnTo>
                      <a:pt x="232" y="5"/>
                    </a:lnTo>
                    <a:lnTo>
                      <a:pt x="234" y="7"/>
                    </a:lnTo>
                    <a:lnTo>
                      <a:pt x="242" y="13"/>
                    </a:lnTo>
                    <a:lnTo>
                      <a:pt x="246" y="15"/>
                    </a:lnTo>
                    <a:lnTo>
                      <a:pt x="246" y="17"/>
                    </a:lnTo>
                    <a:lnTo>
                      <a:pt x="246" y="19"/>
                    </a:lnTo>
                    <a:lnTo>
                      <a:pt x="244" y="21"/>
                    </a:lnTo>
                    <a:lnTo>
                      <a:pt x="242" y="19"/>
                    </a:lnTo>
                    <a:lnTo>
                      <a:pt x="242" y="23"/>
                    </a:lnTo>
                    <a:lnTo>
                      <a:pt x="232" y="21"/>
                    </a:lnTo>
                    <a:lnTo>
                      <a:pt x="223" y="17"/>
                    </a:lnTo>
                    <a:lnTo>
                      <a:pt x="221" y="21"/>
                    </a:lnTo>
                    <a:lnTo>
                      <a:pt x="221" y="23"/>
                    </a:lnTo>
                    <a:lnTo>
                      <a:pt x="217" y="21"/>
                    </a:lnTo>
                    <a:lnTo>
                      <a:pt x="215" y="19"/>
                    </a:lnTo>
                    <a:lnTo>
                      <a:pt x="213" y="25"/>
                    </a:lnTo>
                    <a:lnTo>
                      <a:pt x="213" y="28"/>
                    </a:lnTo>
                    <a:lnTo>
                      <a:pt x="213" y="34"/>
                    </a:lnTo>
                    <a:lnTo>
                      <a:pt x="215" y="36"/>
                    </a:lnTo>
                    <a:lnTo>
                      <a:pt x="211" y="36"/>
                    </a:lnTo>
                    <a:lnTo>
                      <a:pt x="207" y="36"/>
                    </a:lnTo>
                    <a:lnTo>
                      <a:pt x="207" y="40"/>
                    </a:lnTo>
                    <a:lnTo>
                      <a:pt x="207" y="46"/>
                    </a:lnTo>
                    <a:lnTo>
                      <a:pt x="204" y="48"/>
                    </a:lnTo>
                    <a:lnTo>
                      <a:pt x="200" y="50"/>
                    </a:lnTo>
                    <a:lnTo>
                      <a:pt x="204" y="55"/>
                    </a:lnTo>
                    <a:lnTo>
                      <a:pt x="205" y="57"/>
                    </a:lnTo>
                    <a:lnTo>
                      <a:pt x="204" y="59"/>
                    </a:lnTo>
                    <a:lnTo>
                      <a:pt x="198" y="61"/>
                    </a:lnTo>
                    <a:lnTo>
                      <a:pt x="198" y="61"/>
                    </a:lnTo>
                    <a:lnTo>
                      <a:pt x="194" y="59"/>
                    </a:lnTo>
                    <a:lnTo>
                      <a:pt x="192" y="57"/>
                    </a:lnTo>
                    <a:lnTo>
                      <a:pt x="188" y="57"/>
                    </a:lnTo>
                    <a:lnTo>
                      <a:pt x="188" y="61"/>
                    </a:lnTo>
                    <a:lnTo>
                      <a:pt x="188" y="65"/>
                    </a:lnTo>
                    <a:lnTo>
                      <a:pt x="182" y="67"/>
                    </a:lnTo>
                    <a:lnTo>
                      <a:pt x="184" y="61"/>
                    </a:lnTo>
                    <a:lnTo>
                      <a:pt x="184" y="55"/>
                    </a:lnTo>
                    <a:lnTo>
                      <a:pt x="182" y="52"/>
                    </a:lnTo>
                    <a:lnTo>
                      <a:pt x="179" y="48"/>
                    </a:lnTo>
                    <a:lnTo>
                      <a:pt x="179" y="46"/>
                    </a:lnTo>
                    <a:lnTo>
                      <a:pt x="177" y="42"/>
                    </a:lnTo>
                    <a:lnTo>
                      <a:pt x="169" y="44"/>
                    </a:lnTo>
                    <a:lnTo>
                      <a:pt x="163" y="44"/>
                    </a:lnTo>
                    <a:lnTo>
                      <a:pt x="163" y="48"/>
                    </a:lnTo>
                    <a:lnTo>
                      <a:pt x="161" y="53"/>
                    </a:lnTo>
                    <a:lnTo>
                      <a:pt x="159" y="53"/>
                    </a:lnTo>
                    <a:lnTo>
                      <a:pt x="159" y="50"/>
                    </a:lnTo>
                    <a:lnTo>
                      <a:pt x="156" y="50"/>
                    </a:lnTo>
                    <a:lnTo>
                      <a:pt x="156" y="52"/>
                    </a:lnTo>
                    <a:lnTo>
                      <a:pt x="157" y="53"/>
                    </a:lnTo>
                    <a:lnTo>
                      <a:pt x="154" y="53"/>
                    </a:lnTo>
                    <a:lnTo>
                      <a:pt x="156" y="57"/>
                    </a:lnTo>
                    <a:lnTo>
                      <a:pt x="156" y="61"/>
                    </a:lnTo>
                    <a:lnTo>
                      <a:pt x="152" y="61"/>
                    </a:lnTo>
                    <a:lnTo>
                      <a:pt x="150" y="61"/>
                    </a:lnTo>
                    <a:lnTo>
                      <a:pt x="152" y="63"/>
                    </a:lnTo>
                    <a:lnTo>
                      <a:pt x="152" y="67"/>
                    </a:lnTo>
                    <a:lnTo>
                      <a:pt x="150" y="65"/>
                    </a:lnTo>
                    <a:lnTo>
                      <a:pt x="146" y="63"/>
                    </a:lnTo>
                    <a:lnTo>
                      <a:pt x="144" y="65"/>
                    </a:lnTo>
                    <a:lnTo>
                      <a:pt x="142" y="67"/>
                    </a:lnTo>
                    <a:lnTo>
                      <a:pt x="142" y="73"/>
                    </a:lnTo>
                    <a:lnTo>
                      <a:pt x="142" y="75"/>
                    </a:lnTo>
                    <a:lnTo>
                      <a:pt x="142" y="78"/>
                    </a:lnTo>
                    <a:lnTo>
                      <a:pt x="140" y="76"/>
                    </a:lnTo>
                    <a:lnTo>
                      <a:pt x="134" y="75"/>
                    </a:lnTo>
                    <a:lnTo>
                      <a:pt x="133" y="75"/>
                    </a:lnTo>
                    <a:lnTo>
                      <a:pt x="131" y="76"/>
                    </a:lnTo>
                    <a:lnTo>
                      <a:pt x="131" y="82"/>
                    </a:lnTo>
                    <a:lnTo>
                      <a:pt x="131" y="88"/>
                    </a:lnTo>
                    <a:lnTo>
                      <a:pt x="133" y="88"/>
                    </a:lnTo>
                    <a:lnTo>
                      <a:pt x="133" y="88"/>
                    </a:lnTo>
                    <a:lnTo>
                      <a:pt x="133" y="90"/>
                    </a:lnTo>
                    <a:lnTo>
                      <a:pt x="133" y="92"/>
                    </a:lnTo>
                    <a:lnTo>
                      <a:pt x="133" y="94"/>
                    </a:lnTo>
                    <a:lnTo>
                      <a:pt x="131" y="96"/>
                    </a:lnTo>
                    <a:lnTo>
                      <a:pt x="129" y="94"/>
                    </a:lnTo>
                    <a:lnTo>
                      <a:pt x="125" y="90"/>
                    </a:lnTo>
                    <a:lnTo>
                      <a:pt x="123" y="84"/>
                    </a:lnTo>
                    <a:lnTo>
                      <a:pt x="123" y="82"/>
                    </a:lnTo>
                    <a:lnTo>
                      <a:pt x="121" y="84"/>
                    </a:lnTo>
                    <a:lnTo>
                      <a:pt x="115" y="88"/>
                    </a:lnTo>
                    <a:lnTo>
                      <a:pt x="115" y="96"/>
                    </a:lnTo>
                    <a:lnTo>
                      <a:pt x="113" y="101"/>
                    </a:lnTo>
                    <a:lnTo>
                      <a:pt x="113" y="107"/>
                    </a:lnTo>
                    <a:lnTo>
                      <a:pt x="115" y="109"/>
                    </a:lnTo>
                    <a:lnTo>
                      <a:pt x="109" y="113"/>
                    </a:lnTo>
                    <a:lnTo>
                      <a:pt x="104" y="119"/>
                    </a:lnTo>
                    <a:lnTo>
                      <a:pt x="104" y="123"/>
                    </a:lnTo>
                    <a:lnTo>
                      <a:pt x="102" y="126"/>
                    </a:lnTo>
                    <a:lnTo>
                      <a:pt x="92" y="130"/>
                    </a:lnTo>
                    <a:lnTo>
                      <a:pt x="81" y="132"/>
                    </a:lnTo>
                    <a:lnTo>
                      <a:pt x="79" y="136"/>
                    </a:lnTo>
                    <a:lnTo>
                      <a:pt x="75" y="136"/>
                    </a:lnTo>
                    <a:lnTo>
                      <a:pt x="73" y="134"/>
                    </a:lnTo>
                    <a:lnTo>
                      <a:pt x="71" y="140"/>
                    </a:lnTo>
                    <a:lnTo>
                      <a:pt x="67" y="144"/>
                    </a:lnTo>
                    <a:lnTo>
                      <a:pt x="63" y="144"/>
                    </a:lnTo>
                    <a:lnTo>
                      <a:pt x="60" y="144"/>
                    </a:lnTo>
                    <a:lnTo>
                      <a:pt x="58" y="147"/>
                    </a:lnTo>
                    <a:lnTo>
                      <a:pt x="50" y="147"/>
                    </a:lnTo>
                    <a:lnTo>
                      <a:pt x="46" y="146"/>
                    </a:lnTo>
                    <a:lnTo>
                      <a:pt x="44" y="149"/>
                    </a:lnTo>
                    <a:lnTo>
                      <a:pt x="44" y="151"/>
                    </a:lnTo>
                    <a:lnTo>
                      <a:pt x="40" y="151"/>
                    </a:lnTo>
                    <a:lnTo>
                      <a:pt x="37" y="151"/>
                    </a:lnTo>
                    <a:lnTo>
                      <a:pt x="37" y="153"/>
                    </a:lnTo>
                    <a:lnTo>
                      <a:pt x="27" y="161"/>
                    </a:lnTo>
                    <a:lnTo>
                      <a:pt x="19" y="169"/>
                    </a:lnTo>
                    <a:lnTo>
                      <a:pt x="17" y="171"/>
                    </a:lnTo>
                    <a:lnTo>
                      <a:pt x="14" y="172"/>
                    </a:lnTo>
                    <a:lnTo>
                      <a:pt x="14" y="174"/>
                    </a:lnTo>
                    <a:lnTo>
                      <a:pt x="10" y="174"/>
                    </a:lnTo>
                    <a:lnTo>
                      <a:pt x="12" y="169"/>
                    </a:lnTo>
                    <a:lnTo>
                      <a:pt x="10" y="171"/>
                    </a:lnTo>
                    <a:lnTo>
                      <a:pt x="8" y="171"/>
                    </a:lnTo>
                    <a:lnTo>
                      <a:pt x="8" y="174"/>
                    </a:lnTo>
                    <a:lnTo>
                      <a:pt x="6" y="176"/>
                    </a:lnTo>
                    <a:lnTo>
                      <a:pt x="8" y="186"/>
                    </a:lnTo>
                    <a:lnTo>
                      <a:pt x="8" y="195"/>
                    </a:lnTo>
                    <a:lnTo>
                      <a:pt x="4" y="199"/>
                    </a:lnTo>
                    <a:lnTo>
                      <a:pt x="0" y="201"/>
                    </a:lnTo>
                    <a:lnTo>
                      <a:pt x="2" y="205"/>
                    </a:lnTo>
                    <a:lnTo>
                      <a:pt x="4" y="207"/>
                    </a:lnTo>
                    <a:lnTo>
                      <a:pt x="4" y="209"/>
                    </a:lnTo>
                    <a:lnTo>
                      <a:pt x="10" y="217"/>
                    </a:lnTo>
                    <a:lnTo>
                      <a:pt x="12" y="226"/>
                    </a:lnTo>
                    <a:lnTo>
                      <a:pt x="12" y="232"/>
                    </a:lnTo>
                    <a:lnTo>
                      <a:pt x="12" y="236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30"/>
                    </a:lnTo>
                    <a:lnTo>
                      <a:pt x="4" y="234"/>
                    </a:lnTo>
                    <a:lnTo>
                      <a:pt x="10" y="240"/>
                    </a:lnTo>
                    <a:lnTo>
                      <a:pt x="12" y="242"/>
                    </a:lnTo>
                    <a:lnTo>
                      <a:pt x="12" y="243"/>
                    </a:lnTo>
                    <a:lnTo>
                      <a:pt x="12" y="243"/>
                    </a:lnTo>
                    <a:lnTo>
                      <a:pt x="6" y="242"/>
                    </a:lnTo>
                    <a:lnTo>
                      <a:pt x="2" y="240"/>
                    </a:lnTo>
                    <a:lnTo>
                      <a:pt x="2" y="243"/>
                    </a:lnTo>
                    <a:lnTo>
                      <a:pt x="8" y="249"/>
                    </a:lnTo>
                    <a:lnTo>
                      <a:pt x="14" y="255"/>
                    </a:lnTo>
                    <a:lnTo>
                      <a:pt x="14" y="261"/>
                    </a:lnTo>
                    <a:lnTo>
                      <a:pt x="14" y="266"/>
                    </a:lnTo>
                    <a:lnTo>
                      <a:pt x="17" y="270"/>
                    </a:lnTo>
                    <a:lnTo>
                      <a:pt x="21" y="27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3" name="Freeform 251"/>
              <p:cNvSpPr>
                <a:spLocks noEditPoints="1"/>
              </p:cNvSpPr>
              <p:nvPr/>
            </p:nvSpPr>
            <p:spPr bwMode="gray">
              <a:xfrm>
                <a:off x="5194125" y="3397251"/>
                <a:ext cx="68255" cy="69850"/>
              </a:xfrm>
              <a:custGeom>
                <a:avLst/>
                <a:gdLst>
                  <a:gd name="T0" fmla="*/ 4 w 43"/>
                  <a:gd name="T1" fmla="*/ 2 h 44"/>
                  <a:gd name="T2" fmla="*/ 4 w 43"/>
                  <a:gd name="T3" fmla="*/ 6 h 44"/>
                  <a:gd name="T4" fmla="*/ 4 w 43"/>
                  <a:gd name="T5" fmla="*/ 12 h 44"/>
                  <a:gd name="T6" fmla="*/ 2 w 43"/>
                  <a:gd name="T7" fmla="*/ 14 h 44"/>
                  <a:gd name="T8" fmla="*/ 0 w 43"/>
                  <a:gd name="T9" fmla="*/ 18 h 44"/>
                  <a:gd name="T10" fmla="*/ 6 w 43"/>
                  <a:gd name="T11" fmla="*/ 21 h 44"/>
                  <a:gd name="T12" fmla="*/ 14 w 43"/>
                  <a:gd name="T13" fmla="*/ 25 h 44"/>
                  <a:gd name="T14" fmla="*/ 18 w 43"/>
                  <a:gd name="T15" fmla="*/ 29 h 44"/>
                  <a:gd name="T16" fmla="*/ 18 w 43"/>
                  <a:gd name="T17" fmla="*/ 33 h 44"/>
                  <a:gd name="T18" fmla="*/ 20 w 43"/>
                  <a:gd name="T19" fmla="*/ 31 h 44"/>
                  <a:gd name="T20" fmla="*/ 23 w 43"/>
                  <a:gd name="T21" fmla="*/ 31 h 44"/>
                  <a:gd name="T22" fmla="*/ 27 w 43"/>
                  <a:gd name="T23" fmla="*/ 31 h 44"/>
                  <a:gd name="T24" fmla="*/ 27 w 43"/>
                  <a:gd name="T25" fmla="*/ 33 h 44"/>
                  <a:gd name="T26" fmla="*/ 29 w 43"/>
                  <a:gd name="T27" fmla="*/ 33 h 44"/>
                  <a:gd name="T28" fmla="*/ 33 w 43"/>
                  <a:gd name="T29" fmla="*/ 37 h 44"/>
                  <a:gd name="T30" fmla="*/ 35 w 43"/>
                  <a:gd name="T31" fmla="*/ 41 h 44"/>
                  <a:gd name="T32" fmla="*/ 37 w 43"/>
                  <a:gd name="T33" fmla="*/ 44 h 44"/>
                  <a:gd name="T34" fmla="*/ 37 w 43"/>
                  <a:gd name="T35" fmla="*/ 43 h 44"/>
                  <a:gd name="T36" fmla="*/ 41 w 43"/>
                  <a:gd name="T37" fmla="*/ 41 h 44"/>
                  <a:gd name="T38" fmla="*/ 43 w 43"/>
                  <a:gd name="T39" fmla="*/ 39 h 44"/>
                  <a:gd name="T40" fmla="*/ 43 w 43"/>
                  <a:gd name="T41" fmla="*/ 39 h 44"/>
                  <a:gd name="T42" fmla="*/ 43 w 43"/>
                  <a:gd name="T43" fmla="*/ 35 h 44"/>
                  <a:gd name="T44" fmla="*/ 43 w 43"/>
                  <a:gd name="T45" fmla="*/ 31 h 44"/>
                  <a:gd name="T46" fmla="*/ 41 w 43"/>
                  <a:gd name="T47" fmla="*/ 29 h 44"/>
                  <a:gd name="T48" fmla="*/ 39 w 43"/>
                  <a:gd name="T49" fmla="*/ 29 h 44"/>
                  <a:gd name="T50" fmla="*/ 35 w 43"/>
                  <a:gd name="T51" fmla="*/ 27 h 44"/>
                  <a:gd name="T52" fmla="*/ 33 w 43"/>
                  <a:gd name="T53" fmla="*/ 25 h 44"/>
                  <a:gd name="T54" fmla="*/ 37 w 43"/>
                  <a:gd name="T55" fmla="*/ 21 h 44"/>
                  <a:gd name="T56" fmla="*/ 35 w 43"/>
                  <a:gd name="T57" fmla="*/ 21 h 44"/>
                  <a:gd name="T58" fmla="*/ 33 w 43"/>
                  <a:gd name="T59" fmla="*/ 20 h 44"/>
                  <a:gd name="T60" fmla="*/ 29 w 43"/>
                  <a:gd name="T61" fmla="*/ 16 h 44"/>
                  <a:gd name="T62" fmla="*/ 27 w 43"/>
                  <a:gd name="T63" fmla="*/ 16 h 44"/>
                  <a:gd name="T64" fmla="*/ 29 w 43"/>
                  <a:gd name="T65" fmla="*/ 14 h 44"/>
                  <a:gd name="T66" fmla="*/ 29 w 43"/>
                  <a:gd name="T67" fmla="*/ 10 h 44"/>
                  <a:gd name="T68" fmla="*/ 27 w 43"/>
                  <a:gd name="T69" fmla="*/ 8 h 44"/>
                  <a:gd name="T70" fmla="*/ 25 w 43"/>
                  <a:gd name="T71" fmla="*/ 6 h 44"/>
                  <a:gd name="T72" fmla="*/ 22 w 43"/>
                  <a:gd name="T73" fmla="*/ 6 h 44"/>
                  <a:gd name="T74" fmla="*/ 20 w 43"/>
                  <a:gd name="T75" fmla="*/ 6 h 44"/>
                  <a:gd name="T76" fmla="*/ 20 w 43"/>
                  <a:gd name="T77" fmla="*/ 2 h 44"/>
                  <a:gd name="T78" fmla="*/ 18 w 43"/>
                  <a:gd name="T79" fmla="*/ 2 h 44"/>
                  <a:gd name="T80" fmla="*/ 14 w 43"/>
                  <a:gd name="T81" fmla="*/ 0 h 44"/>
                  <a:gd name="T82" fmla="*/ 8 w 43"/>
                  <a:gd name="T83" fmla="*/ 2 h 44"/>
                  <a:gd name="T84" fmla="*/ 4 w 43"/>
                  <a:gd name="T85" fmla="*/ 2 h 44"/>
                  <a:gd name="T86" fmla="*/ 18 w 43"/>
                  <a:gd name="T87" fmla="*/ 20 h 44"/>
                  <a:gd name="T88" fmla="*/ 22 w 43"/>
                  <a:gd name="T89" fmla="*/ 21 h 44"/>
                  <a:gd name="T90" fmla="*/ 23 w 43"/>
                  <a:gd name="T91" fmla="*/ 23 h 44"/>
                  <a:gd name="T92" fmla="*/ 22 w 43"/>
                  <a:gd name="T93" fmla="*/ 23 h 44"/>
                  <a:gd name="T94" fmla="*/ 18 w 43"/>
                  <a:gd name="T95" fmla="*/ 23 h 44"/>
                  <a:gd name="T96" fmla="*/ 18 w 43"/>
                  <a:gd name="T97" fmla="*/ 23 h 44"/>
                  <a:gd name="T98" fmla="*/ 16 w 43"/>
                  <a:gd name="T99" fmla="*/ 21 h 44"/>
                  <a:gd name="T100" fmla="*/ 16 w 43"/>
                  <a:gd name="T101" fmla="*/ 20 h 44"/>
                  <a:gd name="T102" fmla="*/ 18 w 43"/>
                  <a:gd name="T103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3" h="44">
                    <a:moveTo>
                      <a:pt x="4" y="2"/>
                    </a:moveTo>
                    <a:lnTo>
                      <a:pt x="4" y="6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6" y="21"/>
                    </a:lnTo>
                    <a:lnTo>
                      <a:pt x="14" y="25"/>
                    </a:lnTo>
                    <a:lnTo>
                      <a:pt x="18" y="29"/>
                    </a:lnTo>
                    <a:lnTo>
                      <a:pt x="18" y="33"/>
                    </a:lnTo>
                    <a:lnTo>
                      <a:pt x="20" y="31"/>
                    </a:lnTo>
                    <a:lnTo>
                      <a:pt x="23" y="31"/>
                    </a:lnTo>
                    <a:lnTo>
                      <a:pt x="27" y="31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33" y="37"/>
                    </a:lnTo>
                    <a:lnTo>
                      <a:pt x="35" y="41"/>
                    </a:lnTo>
                    <a:lnTo>
                      <a:pt x="37" y="44"/>
                    </a:lnTo>
                    <a:lnTo>
                      <a:pt x="37" y="43"/>
                    </a:lnTo>
                    <a:lnTo>
                      <a:pt x="41" y="41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3" y="35"/>
                    </a:lnTo>
                    <a:lnTo>
                      <a:pt x="43" y="31"/>
                    </a:lnTo>
                    <a:lnTo>
                      <a:pt x="41" y="29"/>
                    </a:lnTo>
                    <a:lnTo>
                      <a:pt x="39" y="29"/>
                    </a:lnTo>
                    <a:lnTo>
                      <a:pt x="35" y="27"/>
                    </a:lnTo>
                    <a:lnTo>
                      <a:pt x="33" y="25"/>
                    </a:lnTo>
                    <a:lnTo>
                      <a:pt x="37" y="21"/>
                    </a:lnTo>
                    <a:lnTo>
                      <a:pt x="35" y="21"/>
                    </a:lnTo>
                    <a:lnTo>
                      <a:pt x="33" y="20"/>
                    </a:lnTo>
                    <a:lnTo>
                      <a:pt x="29" y="16"/>
                    </a:lnTo>
                    <a:lnTo>
                      <a:pt x="27" y="16"/>
                    </a:lnTo>
                    <a:lnTo>
                      <a:pt x="29" y="14"/>
                    </a:lnTo>
                    <a:lnTo>
                      <a:pt x="29" y="10"/>
                    </a:lnTo>
                    <a:lnTo>
                      <a:pt x="27" y="8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2"/>
                    </a:lnTo>
                    <a:close/>
                    <a:moveTo>
                      <a:pt x="18" y="20"/>
                    </a:moveTo>
                    <a:lnTo>
                      <a:pt x="22" y="21"/>
                    </a:lnTo>
                    <a:lnTo>
                      <a:pt x="23" y="23"/>
                    </a:lnTo>
                    <a:lnTo>
                      <a:pt x="22" y="23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16" y="21"/>
                    </a:lnTo>
                    <a:lnTo>
                      <a:pt x="16" y="20"/>
                    </a:lnTo>
                    <a:lnTo>
                      <a:pt x="18" y="2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4" name="Freeform 252"/>
              <p:cNvSpPr>
                <a:spLocks/>
              </p:cNvSpPr>
              <p:nvPr/>
            </p:nvSpPr>
            <p:spPr bwMode="gray">
              <a:xfrm>
                <a:off x="3049651" y="5902326"/>
                <a:ext cx="15873" cy="9525"/>
              </a:xfrm>
              <a:custGeom>
                <a:avLst/>
                <a:gdLst>
                  <a:gd name="T0" fmla="*/ 4 w 10"/>
                  <a:gd name="T1" fmla="*/ 0 h 6"/>
                  <a:gd name="T2" fmla="*/ 2 w 10"/>
                  <a:gd name="T3" fmla="*/ 2 h 6"/>
                  <a:gd name="T4" fmla="*/ 0 w 10"/>
                  <a:gd name="T5" fmla="*/ 4 h 6"/>
                  <a:gd name="T6" fmla="*/ 2 w 10"/>
                  <a:gd name="T7" fmla="*/ 6 h 6"/>
                  <a:gd name="T8" fmla="*/ 4 w 10"/>
                  <a:gd name="T9" fmla="*/ 6 h 6"/>
                  <a:gd name="T10" fmla="*/ 8 w 10"/>
                  <a:gd name="T11" fmla="*/ 6 h 6"/>
                  <a:gd name="T12" fmla="*/ 10 w 10"/>
                  <a:gd name="T13" fmla="*/ 4 h 6"/>
                  <a:gd name="T14" fmla="*/ 8 w 10"/>
                  <a:gd name="T15" fmla="*/ 2 h 6"/>
                  <a:gd name="T16" fmla="*/ 4 w 10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4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5" name="Freeform 253"/>
              <p:cNvSpPr>
                <a:spLocks/>
              </p:cNvSpPr>
              <p:nvPr/>
            </p:nvSpPr>
            <p:spPr bwMode="gray">
              <a:xfrm>
                <a:off x="2873458" y="4994276"/>
                <a:ext cx="387307" cy="838200"/>
              </a:xfrm>
              <a:custGeom>
                <a:avLst/>
                <a:gdLst>
                  <a:gd name="T0" fmla="*/ 111 w 244"/>
                  <a:gd name="T1" fmla="*/ 10 h 528"/>
                  <a:gd name="T2" fmla="*/ 104 w 244"/>
                  <a:gd name="T3" fmla="*/ 4 h 528"/>
                  <a:gd name="T4" fmla="*/ 75 w 244"/>
                  <a:gd name="T5" fmla="*/ 11 h 528"/>
                  <a:gd name="T6" fmla="*/ 81 w 244"/>
                  <a:gd name="T7" fmla="*/ 31 h 528"/>
                  <a:gd name="T8" fmla="*/ 63 w 244"/>
                  <a:gd name="T9" fmla="*/ 54 h 528"/>
                  <a:gd name="T10" fmla="*/ 63 w 244"/>
                  <a:gd name="T11" fmla="*/ 81 h 528"/>
                  <a:gd name="T12" fmla="*/ 52 w 244"/>
                  <a:gd name="T13" fmla="*/ 107 h 528"/>
                  <a:gd name="T14" fmla="*/ 48 w 244"/>
                  <a:gd name="T15" fmla="*/ 144 h 528"/>
                  <a:gd name="T16" fmla="*/ 44 w 244"/>
                  <a:gd name="T17" fmla="*/ 175 h 528"/>
                  <a:gd name="T18" fmla="*/ 42 w 244"/>
                  <a:gd name="T19" fmla="*/ 201 h 528"/>
                  <a:gd name="T20" fmla="*/ 38 w 244"/>
                  <a:gd name="T21" fmla="*/ 236 h 528"/>
                  <a:gd name="T22" fmla="*/ 27 w 244"/>
                  <a:gd name="T23" fmla="*/ 251 h 528"/>
                  <a:gd name="T24" fmla="*/ 27 w 244"/>
                  <a:gd name="T25" fmla="*/ 274 h 528"/>
                  <a:gd name="T26" fmla="*/ 17 w 244"/>
                  <a:gd name="T27" fmla="*/ 305 h 528"/>
                  <a:gd name="T28" fmla="*/ 21 w 244"/>
                  <a:gd name="T29" fmla="*/ 330 h 528"/>
                  <a:gd name="T30" fmla="*/ 17 w 244"/>
                  <a:gd name="T31" fmla="*/ 357 h 528"/>
                  <a:gd name="T32" fmla="*/ 23 w 244"/>
                  <a:gd name="T33" fmla="*/ 380 h 528"/>
                  <a:gd name="T34" fmla="*/ 23 w 244"/>
                  <a:gd name="T35" fmla="*/ 397 h 528"/>
                  <a:gd name="T36" fmla="*/ 21 w 244"/>
                  <a:gd name="T37" fmla="*/ 414 h 528"/>
                  <a:gd name="T38" fmla="*/ 17 w 244"/>
                  <a:gd name="T39" fmla="*/ 436 h 528"/>
                  <a:gd name="T40" fmla="*/ 13 w 244"/>
                  <a:gd name="T41" fmla="*/ 455 h 528"/>
                  <a:gd name="T42" fmla="*/ 2 w 244"/>
                  <a:gd name="T43" fmla="*/ 468 h 528"/>
                  <a:gd name="T44" fmla="*/ 2 w 244"/>
                  <a:gd name="T45" fmla="*/ 495 h 528"/>
                  <a:gd name="T46" fmla="*/ 10 w 244"/>
                  <a:gd name="T47" fmla="*/ 505 h 528"/>
                  <a:gd name="T48" fmla="*/ 29 w 244"/>
                  <a:gd name="T49" fmla="*/ 526 h 528"/>
                  <a:gd name="T50" fmla="*/ 52 w 244"/>
                  <a:gd name="T51" fmla="*/ 520 h 528"/>
                  <a:gd name="T52" fmla="*/ 61 w 244"/>
                  <a:gd name="T53" fmla="*/ 493 h 528"/>
                  <a:gd name="T54" fmla="*/ 63 w 244"/>
                  <a:gd name="T55" fmla="*/ 487 h 528"/>
                  <a:gd name="T56" fmla="*/ 73 w 244"/>
                  <a:gd name="T57" fmla="*/ 476 h 528"/>
                  <a:gd name="T58" fmla="*/ 94 w 244"/>
                  <a:gd name="T59" fmla="*/ 443 h 528"/>
                  <a:gd name="T60" fmla="*/ 81 w 244"/>
                  <a:gd name="T61" fmla="*/ 428 h 528"/>
                  <a:gd name="T62" fmla="*/ 90 w 244"/>
                  <a:gd name="T63" fmla="*/ 395 h 528"/>
                  <a:gd name="T64" fmla="*/ 98 w 244"/>
                  <a:gd name="T65" fmla="*/ 391 h 528"/>
                  <a:gd name="T66" fmla="*/ 106 w 244"/>
                  <a:gd name="T67" fmla="*/ 363 h 528"/>
                  <a:gd name="T68" fmla="*/ 107 w 244"/>
                  <a:gd name="T69" fmla="*/ 355 h 528"/>
                  <a:gd name="T70" fmla="*/ 119 w 244"/>
                  <a:gd name="T71" fmla="*/ 353 h 528"/>
                  <a:gd name="T72" fmla="*/ 125 w 244"/>
                  <a:gd name="T73" fmla="*/ 345 h 528"/>
                  <a:gd name="T74" fmla="*/ 109 w 244"/>
                  <a:gd name="T75" fmla="*/ 341 h 528"/>
                  <a:gd name="T76" fmla="*/ 107 w 244"/>
                  <a:gd name="T77" fmla="*/ 320 h 528"/>
                  <a:gd name="T78" fmla="*/ 123 w 244"/>
                  <a:gd name="T79" fmla="*/ 328 h 528"/>
                  <a:gd name="T80" fmla="*/ 140 w 244"/>
                  <a:gd name="T81" fmla="*/ 320 h 528"/>
                  <a:gd name="T82" fmla="*/ 136 w 244"/>
                  <a:gd name="T83" fmla="*/ 288 h 528"/>
                  <a:gd name="T84" fmla="*/ 150 w 244"/>
                  <a:gd name="T85" fmla="*/ 286 h 528"/>
                  <a:gd name="T86" fmla="*/ 203 w 244"/>
                  <a:gd name="T87" fmla="*/ 253 h 528"/>
                  <a:gd name="T88" fmla="*/ 200 w 244"/>
                  <a:gd name="T89" fmla="*/ 226 h 528"/>
                  <a:gd name="T90" fmla="*/ 184 w 244"/>
                  <a:gd name="T91" fmla="*/ 196 h 528"/>
                  <a:gd name="T92" fmla="*/ 188 w 244"/>
                  <a:gd name="T93" fmla="*/ 180 h 528"/>
                  <a:gd name="T94" fmla="*/ 192 w 244"/>
                  <a:gd name="T95" fmla="*/ 157 h 528"/>
                  <a:gd name="T96" fmla="*/ 198 w 244"/>
                  <a:gd name="T97" fmla="*/ 132 h 528"/>
                  <a:gd name="T98" fmla="*/ 213 w 244"/>
                  <a:gd name="T99" fmla="*/ 113 h 528"/>
                  <a:gd name="T100" fmla="*/ 230 w 244"/>
                  <a:gd name="T101" fmla="*/ 96 h 528"/>
                  <a:gd name="T102" fmla="*/ 244 w 244"/>
                  <a:gd name="T103" fmla="*/ 81 h 528"/>
                  <a:gd name="T104" fmla="*/ 238 w 244"/>
                  <a:gd name="T105" fmla="*/ 63 h 528"/>
                  <a:gd name="T106" fmla="*/ 230 w 244"/>
                  <a:gd name="T107" fmla="*/ 75 h 528"/>
                  <a:gd name="T108" fmla="*/ 221 w 244"/>
                  <a:gd name="T109" fmla="*/ 92 h 528"/>
                  <a:gd name="T110" fmla="*/ 200 w 244"/>
                  <a:gd name="T111" fmla="*/ 92 h 528"/>
                  <a:gd name="T112" fmla="*/ 182 w 244"/>
                  <a:gd name="T113" fmla="*/ 88 h 528"/>
                  <a:gd name="T114" fmla="*/ 194 w 244"/>
                  <a:gd name="T115" fmla="*/ 61 h 528"/>
                  <a:gd name="T116" fmla="*/ 178 w 244"/>
                  <a:gd name="T117" fmla="*/ 44 h 528"/>
                  <a:gd name="T118" fmla="*/ 159 w 244"/>
                  <a:gd name="T119" fmla="*/ 31 h 528"/>
                  <a:gd name="T120" fmla="*/ 148 w 244"/>
                  <a:gd name="T121" fmla="*/ 13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4" h="528">
                    <a:moveTo>
                      <a:pt x="136" y="2"/>
                    </a:moveTo>
                    <a:lnTo>
                      <a:pt x="117" y="4"/>
                    </a:lnTo>
                    <a:lnTo>
                      <a:pt x="117" y="2"/>
                    </a:lnTo>
                    <a:lnTo>
                      <a:pt x="113" y="6"/>
                    </a:lnTo>
                    <a:lnTo>
                      <a:pt x="111" y="10"/>
                    </a:lnTo>
                    <a:lnTo>
                      <a:pt x="109" y="11"/>
                    </a:lnTo>
                    <a:lnTo>
                      <a:pt x="109" y="11"/>
                    </a:lnTo>
                    <a:lnTo>
                      <a:pt x="109" y="11"/>
                    </a:lnTo>
                    <a:lnTo>
                      <a:pt x="106" y="6"/>
                    </a:lnTo>
                    <a:lnTo>
                      <a:pt x="104" y="4"/>
                    </a:lnTo>
                    <a:lnTo>
                      <a:pt x="96" y="4"/>
                    </a:lnTo>
                    <a:lnTo>
                      <a:pt x="88" y="2"/>
                    </a:lnTo>
                    <a:lnTo>
                      <a:pt x="84" y="0"/>
                    </a:lnTo>
                    <a:lnTo>
                      <a:pt x="75" y="8"/>
                    </a:lnTo>
                    <a:lnTo>
                      <a:pt x="75" y="11"/>
                    </a:lnTo>
                    <a:lnTo>
                      <a:pt x="79" y="19"/>
                    </a:lnTo>
                    <a:lnTo>
                      <a:pt x="81" y="21"/>
                    </a:lnTo>
                    <a:lnTo>
                      <a:pt x="81" y="25"/>
                    </a:lnTo>
                    <a:lnTo>
                      <a:pt x="81" y="29"/>
                    </a:lnTo>
                    <a:lnTo>
                      <a:pt x="81" y="31"/>
                    </a:lnTo>
                    <a:lnTo>
                      <a:pt x="77" y="34"/>
                    </a:lnTo>
                    <a:lnTo>
                      <a:pt x="71" y="38"/>
                    </a:lnTo>
                    <a:lnTo>
                      <a:pt x="67" y="42"/>
                    </a:lnTo>
                    <a:lnTo>
                      <a:pt x="63" y="46"/>
                    </a:lnTo>
                    <a:lnTo>
                      <a:pt x="63" y="54"/>
                    </a:lnTo>
                    <a:lnTo>
                      <a:pt x="63" y="61"/>
                    </a:lnTo>
                    <a:lnTo>
                      <a:pt x="65" y="67"/>
                    </a:lnTo>
                    <a:lnTo>
                      <a:pt x="65" y="71"/>
                    </a:lnTo>
                    <a:lnTo>
                      <a:pt x="63" y="75"/>
                    </a:lnTo>
                    <a:lnTo>
                      <a:pt x="63" y="81"/>
                    </a:lnTo>
                    <a:lnTo>
                      <a:pt x="63" y="84"/>
                    </a:lnTo>
                    <a:lnTo>
                      <a:pt x="63" y="90"/>
                    </a:lnTo>
                    <a:lnTo>
                      <a:pt x="60" y="96"/>
                    </a:lnTo>
                    <a:lnTo>
                      <a:pt x="58" y="102"/>
                    </a:lnTo>
                    <a:lnTo>
                      <a:pt x="52" y="107"/>
                    </a:lnTo>
                    <a:lnTo>
                      <a:pt x="50" y="113"/>
                    </a:lnTo>
                    <a:lnTo>
                      <a:pt x="48" y="123"/>
                    </a:lnTo>
                    <a:lnTo>
                      <a:pt x="48" y="130"/>
                    </a:lnTo>
                    <a:lnTo>
                      <a:pt x="48" y="138"/>
                    </a:lnTo>
                    <a:lnTo>
                      <a:pt x="48" y="144"/>
                    </a:lnTo>
                    <a:lnTo>
                      <a:pt x="46" y="148"/>
                    </a:lnTo>
                    <a:lnTo>
                      <a:pt x="44" y="155"/>
                    </a:lnTo>
                    <a:lnTo>
                      <a:pt x="44" y="163"/>
                    </a:lnTo>
                    <a:lnTo>
                      <a:pt x="44" y="169"/>
                    </a:lnTo>
                    <a:lnTo>
                      <a:pt x="44" y="175"/>
                    </a:lnTo>
                    <a:lnTo>
                      <a:pt x="44" y="180"/>
                    </a:lnTo>
                    <a:lnTo>
                      <a:pt x="40" y="186"/>
                    </a:lnTo>
                    <a:lnTo>
                      <a:pt x="42" y="190"/>
                    </a:lnTo>
                    <a:lnTo>
                      <a:pt x="42" y="196"/>
                    </a:lnTo>
                    <a:lnTo>
                      <a:pt x="42" y="201"/>
                    </a:lnTo>
                    <a:lnTo>
                      <a:pt x="40" y="213"/>
                    </a:lnTo>
                    <a:lnTo>
                      <a:pt x="36" y="221"/>
                    </a:lnTo>
                    <a:lnTo>
                      <a:pt x="36" y="226"/>
                    </a:lnTo>
                    <a:lnTo>
                      <a:pt x="36" y="230"/>
                    </a:lnTo>
                    <a:lnTo>
                      <a:pt x="38" y="236"/>
                    </a:lnTo>
                    <a:lnTo>
                      <a:pt x="36" y="240"/>
                    </a:lnTo>
                    <a:lnTo>
                      <a:pt x="35" y="242"/>
                    </a:lnTo>
                    <a:lnTo>
                      <a:pt x="31" y="242"/>
                    </a:lnTo>
                    <a:lnTo>
                      <a:pt x="29" y="246"/>
                    </a:lnTo>
                    <a:lnTo>
                      <a:pt x="27" y="251"/>
                    </a:lnTo>
                    <a:lnTo>
                      <a:pt x="27" y="257"/>
                    </a:lnTo>
                    <a:lnTo>
                      <a:pt x="25" y="263"/>
                    </a:lnTo>
                    <a:lnTo>
                      <a:pt x="27" y="269"/>
                    </a:lnTo>
                    <a:lnTo>
                      <a:pt x="29" y="272"/>
                    </a:lnTo>
                    <a:lnTo>
                      <a:pt x="27" y="274"/>
                    </a:lnTo>
                    <a:lnTo>
                      <a:pt x="25" y="276"/>
                    </a:lnTo>
                    <a:lnTo>
                      <a:pt x="21" y="286"/>
                    </a:lnTo>
                    <a:lnTo>
                      <a:pt x="21" y="295"/>
                    </a:lnTo>
                    <a:lnTo>
                      <a:pt x="19" y="301"/>
                    </a:lnTo>
                    <a:lnTo>
                      <a:pt x="17" y="305"/>
                    </a:lnTo>
                    <a:lnTo>
                      <a:pt x="15" y="311"/>
                    </a:lnTo>
                    <a:lnTo>
                      <a:pt x="17" y="317"/>
                    </a:lnTo>
                    <a:lnTo>
                      <a:pt x="17" y="324"/>
                    </a:lnTo>
                    <a:lnTo>
                      <a:pt x="19" y="328"/>
                    </a:lnTo>
                    <a:lnTo>
                      <a:pt x="21" y="330"/>
                    </a:lnTo>
                    <a:lnTo>
                      <a:pt x="21" y="332"/>
                    </a:lnTo>
                    <a:lnTo>
                      <a:pt x="23" y="338"/>
                    </a:lnTo>
                    <a:lnTo>
                      <a:pt x="21" y="343"/>
                    </a:lnTo>
                    <a:lnTo>
                      <a:pt x="19" y="351"/>
                    </a:lnTo>
                    <a:lnTo>
                      <a:pt x="17" y="357"/>
                    </a:lnTo>
                    <a:lnTo>
                      <a:pt x="21" y="363"/>
                    </a:lnTo>
                    <a:lnTo>
                      <a:pt x="21" y="366"/>
                    </a:lnTo>
                    <a:lnTo>
                      <a:pt x="21" y="370"/>
                    </a:lnTo>
                    <a:lnTo>
                      <a:pt x="23" y="374"/>
                    </a:lnTo>
                    <a:lnTo>
                      <a:pt x="23" y="380"/>
                    </a:lnTo>
                    <a:lnTo>
                      <a:pt x="23" y="384"/>
                    </a:lnTo>
                    <a:lnTo>
                      <a:pt x="21" y="388"/>
                    </a:lnTo>
                    <a:lnTo>
                      <a:pt x="21" y="393"/>
                    </a:lnTo>
                    <a:lnTo>
                      <a:pt x="23" y="395"/>
                    </a:lnTo>
                    <a:lnTo>
                      <a:pt x="23" y="397"/>
                    </a:lnTo>
                    <a:lnTo>
                      <a:pt x="19" y="399"/>
                    </a:lnTo>
                    <a:lnTo>
                      <a:pt x="19" y="403"/>
                    </a:lnTo>
                    <a:lnTo>
                      <a:pt x="17" y="405"/>
                    </a:lnTo>
                    <a:lnTo>
                      <a:pt x="19" y="411"/>
                    </a:lnTo>
                    <a:lnTo>
                      <a:pt x="21" y="414"/>
                    </a:lnTo>
                    <a:lnTo>
                      <a:pt x="19" y="420"/>
                    </a:lnTo>
                    <a:lnTo>
                      <a:pt x="19" y="426"/>
                    </a:lnTo>
                    <a:lnTo>
                      <a:pt x="19" y="432"/>
                    </a:lnTo>
                    <a:lnTo>
                      <a:pt x="19" y="436"/>
                    </a:lnTo>
                    <a:lnTo>
                      <a:pt x="17" y="436"/>
                    </a:lnTo>
                    <a:lnTo>
                      <a:pt x="17" y="437"/>
                    </a:lnTo>
                    <a:lnTo>
                      <a:pt x="13" y="441"/>
                    </a:lnTo>
                    <a:lnTo>
                      <a:pt x="13" y="445"/>
                    </a:lnTo>
                    <a:lnTo>
                      <a:pt x="13" y="451"/>
                    </a:lnTo>
                    <a:lnTo>
                      <a:pt x="13" y="455"/>
                    </a:lnTo>
                    <a:lnTo>
                      <a:pt x="12" y="459"/>
                    </a:lnTo>
                    <a:lnTo>
                      <a:pt x="8" y="460"/>
                    </a:lnTo>
                    <a:lnTo>
                      <a:pt x="6" y="462"/>
                    </a:lnTo>
                    <a:lnTo>
                      <a:pt x="2" y="464"/>
                    </a:lnTo>
                    <a:lnTo>
                      <a:pt x="2" y="468"/>
                    </a:lnTo>
                    <a:lnTo>
                      <a:pt x="4" y="474"/>
                    </a:lnTo>
                    <a:lnTo>
                      <a:pt x="4" y="480"/>
                    </a:lnTo>
                    <a:lnTo>
                      <a:pt x="2" y="484"/>
                    </a:lnTo>
                    <a:lnTo>
                      <a:pt x="0" y="489"/>
                    </a:lnTo>
                    <a:lnTo>
                      <a:pt x="2" y="495"/>
                    </a:lnTo>
                    <a:lnTo>
                      <a:pt x="4" y="497"/>
                    </a:lnTo>
                    <a:lnTo>
                      <a:pt x="8" y="495"/>
                    </a:lnTo>
                    <a:lnTo>
                      <a:pt x="10" y="495"/>
                    </a:lnTo>
                    <a:lnTo>
                      <a:pt x="12" y="501"/>
                    </a:lnTo>
                    <a:lnTo>
                      <a:pt x="10" y="505"/>
                    </a:lnTo>
                    <a:lnTo>
                      <a:pt x="10" y="508"/>
                    </a:lnTo>
                    <a:lnTo>
                      <a:pt x="12" y="514"/>
                    </a:lnTo>
                    <a:lnTo>
                      <a:pt x="17" y="522"/>
                    </a:lnTo>
                    <a:lnTo>
                      <a:pt x="21" y="526"/>
                    </a:lnTo>
                    <a:lnTo>
                      <a:pt x="29" y="526"/>
                    </a:lnTo>
                    <a:lnTo>
                      <a:pt x="38" y="526"/>
                    </a:lnTo>
                    <a:lnTo>
                      <a:pt x="50" y="526"/>
                    </a:lnTo>
                    <a:lnTo>
                      <a:pt x="60" y="528"/>
                    </a:lnTo>
                    <a:lnTo>
                      <a:pt x="60" y="520"/>
                    </a:lnTo>
                    <a:lnTo>
                      <a:pt x="52" y="520"/>
                    </a:lnTo>
                    <a:lnTo>
                      <a:pt x="54" y="512"/>
                    </a:lnTo>
                    <a:lnTo>
                      <a:pt x="56" y="501"/>
                    </a:lnTo>
                    <a:lnTo>
                      <a:pt x="60" y="499"/>
                    </a:lnTo>
                    <a:lnTo>
                      <a:pt x="63" y="497"/>
                    </a:lnTo>
                    <a:lnTo>
                      <a:pt x="61" y="493"/>
                    </a:lnTo>
                    <a:lnTo>
                      <a:pt x="58" y="491"/>
                    </a:lnTo>
                    <a:lnTo>
                      <a:pt x="60" y="487"/>
                    </a:lnTo>
                    <a:lnTo>
                      <a:pt x="60" y="484"/>
                    </a:lnTo>
                    <a:lnTo>
                      <a:pt x="61" y="485"/>
                    </a:lnTo>
                    <a:lnTo>
                      <a:pt x="63" y="487"/>
                    </a:lnTo>
                    <a:lnTo>
                      <a:pt x="63" y="491"/>
                    </a:lnTo>
                    <a:lnTo>
                      <a:pt x="67" y="489"/>
                    </a:lnTo>
                    <a:lnTo>
                      <a:pt x="73" y="489"/>
                    </a:lnTo>
                    <a:lnTo>
                      <a:pt x="73" y="482"/>
                    </a:lnTo>
                    <a:lnTo>
                      <a:pt x="73" y="476"/>
                    </a:lnTo>
                    <a:lnTo>
                      <a:pt x="75" y="472"/>
                    </a:lnTo>
                    <a:lnTo>
                      <a:pt x="79" y="466"/>
                    </a:lnTo>
                    <a:lnTo>
                      <a:pt x="86" y="460"/>
                    </a:lnTo>
                    <a:lnTo>
                      <a:pt x="98" y="451"/>
                    </a:lnTo>
                    <a:lnTo>
                      <a:pt x="94" y="443"/>
                    </a:lnTo>
                    <a:lnTo>
                      <a:pt x="92" y="434"/>
                    </a:lnTo>
                    <a:lnTo>
                      <a:pt x="88" y="434"/>
                    </a:lnTo>
                    <a:lnTo>
                      <a:pt x="84" y="434"/>
                    </a:lnTo>
                    <a:lnTo>
                      <a:pt x="83" y="432"/>
                    </a:lnTo>
                    <a:lnTo>
                      <a:pt x="81" y="428"/>
                    </a:lnTo>
                    <a:lnTo>
                      <a:pt x="73" y="422"/>
                    </a:lnTo>
                    <a:lnTo>
                      <a:pt x="73" y="418"/>
                    </a:lnTo>
                    <a:lnTo>
                      <a:pt x="75" y="413"/>
                    </a:lnTo>
                    <a:lnTo>
                      <a:pt x="81" y="407"/>
                    </a:lnTo>
                    <a:lnTo>
                      <a:pt x="90" y="395"/>
                    </a:lnTo>
                    <a:lnTo>
                      <a:pt x="96" y="397"/>
                    </a:lnTo>
                    <a:lnTo>
                      <a:pt x="100" y="397"/>
                    </a:lnTo>
                    <a:lnTo>
                      <a:pt x="100" y="395"/>
                    </a:lnTo>
                    <a:lnTo>
                      <a:pt x="100" y="391"/>
                    </a:lnTo>
                    <a:lnTo>
                      <a:pt x="98" y="391"/>
                    </a:lnTo>
                    <a:lnTo>
                      <a:pt x="98" y="388"/>
                    </a:lnTo>
                    <a:lnTo>
                      <a:pt x="100" y="388"/>
                    </a:lnTo>
                    <a:lnTo>
                      <a:pt x="104" y="386"/>
                    </a:lnTo>
                    <a:lnTo>
                      <a:pt x="104" y="374"/>
                    </a:lnTo>
                    <a:lnTo>
                      <a:pt x="106" y="363"/>
                    </a:lnTo>
                    <a:lnTo>
                      <a:pt x="109" y="361"/>
                    </a:lnTo>
                    <a:lnTo>
                      <a:pt x="111" y="361"/>
                    </a:lnTo>
                    <a:lnTo>
                      <a:pt x="113" y="359"/>
                    </a:lnTo>
                    <a:lnTo>
                      <a:pt x="113" y="357"/>
                    </a:lnTo>
                    <a:lnTo>
                      <a:pt x="107" y="355"/>
                    </a:lnTo>
                    <a:lnTo>
                      <a:pt x="107" y="353"/>
                    </a:lnTo>
                    <a:lnTo>
                      <a:pt x="109" y="351"/>
                    </a:lnTo>
                    <a:lnTo>
                      <a:pt x="113" y="351"/>
                    </a:lnTo>
                    <a:lnTo>
                      <a:pt x="117" y="351"/>
                    </a:lnTo>
                    <a:lnTo>
                      <a:pt x="119" y="353"/>
                    </a:lnTo>
                    <a:lnTo>
                      <a:pt x="119" y="355"/>
                    </a:lnTo>
                    <a:lnTo>
                      <a:pt x="121" y="357"/>
                    </a:lnTo>
                    <a:lnTo>
                      <a:pt x="125" y="355"/>
                    </a:lnTo>
                    <a:lnTo>
                      <a:pt x="125" y="351"/>
                    </a:lnTo>
                    <a:lnTo>
                      <a:pt x="125" y="345"/>
                    </a:lnTo>
                    <a:lnTo>
                      <a:pt x="119" y="347"/>
                    </a:lnTo>
                    <a:lnTo>
                      <a:pt x="117" y="347"/>
                    </a:lnTo>
                    <a:lnTo>
                      <a:pt x="113" y="347"/>
                    </a:lnTo>
                    <a:lnTo>
                      <a:pt x="109" y="345"/>
                    </a:lnTo>
                    <a:lnTo>
                      <a:pt x="109" y="341"/>
                    </a:lnTo>
                    <a:lnTo>
                      <a:pt x="109" y="336"/>
                    </a:lnTo>
                    <a:lnTo>
                      <a:pt x="106" y="336"/>
                    </a:lnTo>
                    <a:lnTo>
                      <a:pt x="104" y="334"/>
                    </a:lnTo>
                    <a:lnTo>
                      <a:pt x="106" y="328"/>
                    </a:lnTo>
                    <a:lnTo>
                      <a:pt x="107" y="320"/>
                    </a:lnTo>
                    <a:lnTo>
                      <a:pt x="111" y="322"/>
                    </a:lnTo>
                    <a:lnTo>
                      <a:pt x="115" y="322"/>
                    </a:lnTo>
                    <a:lnTo>
                      <a:pt x="115" y="324"/>
                    </a:lnTo>
                    <a:lnTo>
                      <a:pt x="117" y="328"/>
                    </a:lnTo>
                    <a:lnTo>
                      <a:pt x="123" y="328"/>
                    </a:lnTo>
                    <a:lnTo>
                      <a:pt x="127" y="328"/>
                    </a:lnTo>
                    <a:lnTo>
                      <a:pt x="131" y="328"/>
                    </a:lnTo>
                    <a:lnTo>
                      <a:pt x="134" y="324"/>
                    </a:lnTo>
                    <a:lnTo>
                      <a:pt x="136" y="322"/>
                    </a:lnTo>
                    <a:lnTo>
                      <a:pt x="140" y="320"/>
                    </a:lnTo>
                    <a:lnTo>
                      <a:pt x="140" y="309"/>
                    </a:lnTo>
                    <a:lnTo>
                      <a:pt x="142" y="295"/>
                    </a:lnTo>
                    <a:lnTo>
                      <a:pt x="138" y="294"/>
                    </a:lnTo>
                    <a:lnTo>
                      <a:pt x="136" y="292"/>
                    </a:lnTo>
                    <a:lnTo>
                      <a:pt x="136" y="288"/>
                    </a:lnTo>
                    <a:lnTo>
                      <a:pt x="138" y="284"/>
                    </a:lnTo>
                    <a:lnTo>
                      <a:pt x="140" y="288"/>
                    </a:lnTo>
                    <a:lnTo>
                      <a:pt x="144" y="290"/>
                    </a:lnTo>
                    <a:lnTo>
                      <a:pt x="146" y="288"/>
                    </a:lnTo>
                    <a:lnTo>
                      <a:pt x="150" y="286"/>
                    </a:lnTo>
                    <a:lnTo>
                      <a:pt x="171" y="282"/>
                    </a:lnTo>
                    <a:lnTo>
                      <a:pt x="190" y="276"/>
                    </a:lnTo>
                    <a:lnTo>
                      <a:pt x="196" y="270"/>
                    </a:lnTo>
                    <a:lnTo>
                      <a:pt x="202" y="263"/>
                    </a:lnTo>
                    <a:lnTo>
                      <a:pt x="203" y="253"/>
                    </a:lnTo>
                    <a:lnTo>
                      <a:pt x="207" y="242"/>
                    </a:lnTo>
                    <a:lnTo>
                      <a:pt x="202" y="242"/>
                    </a:lnTo>
                    <a:lnTo>
                      <a:pt x="198" y="238"/>
                    </a:lnTo>
                    <a:lnTo>
                      <a:pt x="198" y="232"/>
                    </a:lnTo>
                    <a:lnTo>
                      <a:pt x="200" y="226"/>
                    </a:lnTo>
                    <a:lnTo>
                      <a:pt x="194" y="221"/>
                    </a:lnTo>
                    <a:lnTo>
                      <a:pt x="188" y="213"/>
                    </a:lnTo>
                    <a:lnTo>
                      <a:pt x="184" y="207"/>
                    </a:lnTo>
                    <a:lnTo>
                      <a:pt x="182" y="199"/>
                    </a:lnTo>
                    <a:lnTo>
                      <a:pt x="184" y="196"/>
                    </a:lnTo>
                    <a:lnTo>
                      <a:pt x="184" y="190"/>
                    </a:lnTo>
                    <a:lnTo>
                      <a:pt x="184" y="188"/>
                    </a:lnTo>
                    <a:lnTo>
                      <a:pt x="186" y="186"/>
                    </a:lnTo>
                    <a:lnTo>
                      <a:pt x="186" y="182"/>
                    </a:lnTo>
                    <a:lnTo>
                      <a:pt x="188" y="180"/>
                    </a:lnTo>
                    <a:lnTo>
                      <a:pt x="188" y="178"/>
                    </a:lnTo>
                    <a:lnTo>
                      <a:pt x="188" y="173"/>
                    </a:lnTo>
                    <a:lnTo>
                      <a:pt x="188" y="169"/>
                    </a:lnTo>
                    <a:lnTo>
                      <a:pt x="190" y="161"/>
                    </a:lnTo>
                    <a:lnTo>
                      <a:pt x="192" y="157"/>
                    </a:lnTo>
                    <a:lnTo>
                      <a:pt x="194" y="152"/>
                    </a:lnTo>
                    <a:lnTo>
                      <a:pt x="194" y="146"/>
                    </a:lnTo>
                    <a:lnTo>
                      <a:pt x="196" y="142"/>
                    </a:lnTo>
                    <a:lnTo>
                      <a:pt x="198" y="138"/>
                    </a:lnTo>
                    <a:lnTo>
                      <a:pt x="198" y="132"/>
                    </a:lnTo>
                    <a:lnTo>
                      <a:pt x="202" y="130"/>
                    </a:lnTo>
                    <a:lnTo>
                      <a:pt x="205" y="127"/>
                    </a:lnTo>
                    <a:lnTo>
                      <a:pt x="207" y="123"/>
                    </a:lnTo>
                    <a:lnTo>
                      <a:pt x="209" y="117"/>
                    </a:lnTo>
                    <a:lnTo>
                      <a:pt x="213" y="113"/>
                    </a:lnTo>
                    <a:lnTo>
                      <a:pt x="217" y="111"/>
                    </a:lnTo>
                    <a:lnTo>
                      <a:pt x="219" y="107"/>
                    </a:lnTo>
                    <a:lnTo>
                      <a:pt x="223" y="105"/>
                    </a:lnTo>
                    <a:lnTo>
                      <a:pt x="226" y="102"/>
                    </a:lnTo>
                    <a:lnTo>
                      <a:pt x="230" y="96"/>
                    </a:lnTo>
                    <a:lnTo>
                      <a:pt x="234" y="94"/>
                    </a:lnTo>
                    <a:lnTo>
                      <a:pt x="240" y="92"/>
                    </a:lnTo>
                    <a:lnTo>
                      <a:pt x="244" y="88"/>
                    </a:lnTo>
                    <a:lnTo>
                      <a:pt x="244" y="86"/>
                    </a:lnTo>
                    <a:lnTo>
                      <a:pt x="244" y="81"/>
                    </a:lnTo>
                    <a:lnTo>
                      <a:pt x="244" y="75"/>
                    </a:lnTo>
                    <a:lnTo>
                      <a:pt x="244" y="67"/>
                    </a:lnTo>
                    <a:lnTo>
                      <a:pt x="244" y="63"/>
                    </a:lnTo>
                    <a:lnTo>
                      <a:pt x="240" y="61"/>
                    </a:lnTo>
                    <a:lnTo>
                      <a:pt x="238" y="63"/>
                    </a:lnTo>
                    <a:lnTo>
                      <a:pt x="236" y="63"/>
                    </a:lnTo>
                    <a:lnTo>
                      <a:pt x="232" y="61"/>
                    </a:lnTo>
                    <a:lnTo>
                      <a:pt x="230" y="65"/>
                    </a:lnTo>
                    <a:lnTo>
                      <a:pt x="230" y="69"/>
                    </a:lnTo>
                    <a:lnTo>
                      <a:pt x="230" y="75"/>
                    </a:lnTo>
                    <a:lnTo>
                      <a:pt x="228" y="81"/>
                    </a:lnTo>
                    <a:lnTo>
                      <a:pt x="225" y="84"/>
                    </a:lnTo>
                    <a:lnTo>
                      <a:pt x="223" y="88"/>
                    </a:lnTo>
                    <a:lnTo>
                      <a:pt x="221" y="90"/>
                    </a:lnTo>
                    <a:lnTo>
                      <a:pt x="221" y="92"/>
                    </a:lnTo>
                    <a:lnTo>
                      <a:pt x="219" y="92"/>
                    </a:lnTo>
                    <a:lnTo>
                      <a:pt x="213" y="92"/>
                    </a:lnTo>
                    <a:lnTo>
                      <a:pt x="209" y="90"/>
                    </a:lnTo>
                    <a:lnTo>
                      <a:pt x="203" y="90"/>
                    </a:lnTo>
                    <a:lnTo>
                      <a:pt x="200" y="92"/>
                    </a:lnTo>
                    <a:lnTo>
                      <a:pt x="196" y="90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2" y="88"/>
                    </a:lnTo>
                    <a:lnTo>
                      <a:pt x="182" y="88"/>
                    </a:lnTo>
                    <a:lnTo>
                      <a:pt x="182" y="84"/>
                    </a:lnTo>
                    <a:lnTo>
                      <a:pt x="186" y="79"/>
                    </a:lnTo>
                    <a:lnTo>
                      <a:pt x="190" y="73"/>
                    </a:lnTo>
                    <a:lnTo>
                      <a:pt x="192" y="67"/>
                    </a:lnTo>
                    <a:lnTo>
                      <a:pt x="194" y="61"/>
                    </a:lnTo>
                    <a:lnTo>
                      <a:pt x="192" y="57"/>
                    </a:lnTo>
                    <a:lnTo>
                      <a:pt x="186" y="52"/>
                    </a:lnTo>
                    <a:lnTo>
                      <a:pt x="184" y="48"/>
                    </a:lnTo>
                    <a:lnTo>
                      <a:pt x="180" y="46"/>
                    </a:lnTo>
                    <a:lnTo>
                      <a:pt x="178" y="44"/>
                    </a:lnTo>
                    <a:lnTo>
                      <a:pt x="175" y="42"/>
                    </a:lnTo>
                    <a:lnTo>
                      <a:pt x="171" y="40"/>
                    </a:lnTo>
                    <a:lnTo>
                      <a:pt x="167" y="34"/>
                    </a:lnTo>
                    <a:lnTo>
                      <a:pt x="163" y="34"/>
                    </a:lnTo>
                    <a:lnTo>
                      <a:pt x="159" y="31"/>
                    </a:lnTo>
                    <a:lnTo>
                      <a:pt x="157" y="25"/>
                    </a:lnTo>
                    <a:lnTo>
                      <a:pt x="155" y="21"/>
                    </a:lnTo>
                    <a:lnTo>
                      <a:pt x="152" y="19"/>
                    </a:lnTo>
                    <a:lnTo>
                      <a:pt x="150" y="17"/>
                    </a:lnTo>
                    <a:lnTo>
                      <a:pt x="148" y="13"/>
                    </a:lnTo>
                    <a:lnTo>
                      <a:pt x="144" y="8"/>
                    </a:lnTo>
                    <a:lnTo>
                      <a:pt x="136" y="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6" name="Freeform 254"/>
              <p:cNvSpPr>
                <a:spLocks/>
              </p:cNvSpPr>
              <p:nvPr/>
            </p:nvSpPr>
            <p:spPr bwMode="gray">
              <a:xfrm>
                <a:off x="2965523" y="5849939"/>
                <a:ext cx="66668" cy="63500"/>
              </a:xfrm>
              <a:custGeom>
                <a:avLst/>
                <a:gdLst>
                  <a:gd name="T0" fmla="*/ 0 w 42"/>
                  <a:gd name="T1" fmla="*/ 0 h 40"/>
                  <a:gd name="T2" fmla="*/ 2 w 42"/>
                  <a:gd name="T3" fmla="*/ 39 h 40"/>
                  <a:gd name="T4" fmla="*/ 3 w 42"/>
                  <a:gd name="T5" fmla="*/ 37 h 40"/>
                  <a:gd name="T6" fmla="*/ 11 w 42"/>
                  <a:gd name="T7" fmla="*/ 39 h 40"/>
                  <a:gd name="T8" fmla="*/ 28 w 42"/>
                  <a:gd name="T9" fmla="*/ 40 h 40"/>
                  <a:gd name="T10" fmla="*/ 42 w 42"/>
                  <a:gd name="T11" fmla="*/ 40 h 40"/>
                  <a:gd name="T12" fmla="*/ 40 w 42"/>
                  <a:gd name="T13" fmla="*/ 39 h 40"/>
                  <a:gd name="T14" fmla="*/ 40 w 42"/>
                  <a:gd name="T15" fmla="*/ 35 h 40"/>
                  <a:gd name="T16" fmla="*/ 32 w 42"/>
                  <a:gd name="T17" fmla="*/ 35 h 40"/>
                  <a:gd name="T18" fmla="*/ 25 w 42"/>
                  <a:gd name="T19" fmla="*/ 33 h 40"/>
                  <a:gd name="T20" fmla="*/ 5 w 42"/>
                  <a:gd name="T21" fmla="*/ 16 h 40"/>
                  <a:gd name="T22" fmla="*/ 5 w 42"/>
                  <a:gd name="T23" fmla="*/ 8 h 40"/>
                  <a:gd name="T24" fmla="*/ 5 w 42"/>
                  <a:gd name="T25" fmla="*/ 2 h 40"/>
                  <a:gd name="T26" fmla="*/ 2 w 42"/>
                  <a:gd name="T27" fmla="*/ 0 h 40"/>
                  <a:gd name="T28" fmla="*/ 0 w 42"/>
                  <a:gd name="T29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2" h="40">
                    <a:moveTo>
                      <a:pt x="0" y="0"/>
                    </a:moveTo>
                    <a:lnTo>
                      <a:pt x="2" y="39"/>
                    </a:lnTo>
                    <a:lnTo>
                      <a:pt x="3" y="37"/>
                    </a:lnTo>
                    <a:lnTo>
                      <a:pt x="11" y="39"/>
                    </a:lnTo>
                    <a:lnTo>
                      <a:pt x="28" y="40"/>
                    </a:lnTo>
                    <a:lnTo>
                      <a:pt x="42" y="40"/>
                    </a:lnTo>
                    <a:lnTo>
                      <a:pt x="40" y="39"/>
                    </a:lnTo>
                    <a:lnTo>
                      <a:pt x="40" y="35"/>
                    </a:lnTo>
                    <a:lnTo>
                      <a:pt x="32" y="35"/>
                    </a:lnTo>
                    <a:lnTo>
                      <a:pt x="25" y="33"/>
                    </a:lnTo>
                    <a:lnTo>
                      <a:pt x="5" y="16"/>
                    </a:lnTo>
                    <a:lnTo>
                      <a:pt x="5" y="8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7" name="Freeform 255"/>
              <p:cNvSpPr>
                <a:spLocks noEditPoints="1"/>
              </p:cNvSpPr>
              <p:nvPr/>
            </p:nvSpPr>
            <p:spPr bwMode="gray">
              <a:xfrm>
                <a:off x="4554433" y="4556126"/>
                <a:ext cx="257146" cy="346075"/>
              </a:xfrm>
              <a:custGeom>
                <a:avLst/>
                <a:gdLst>
                  <a:gd name="T0" fmla="*/ 14 w 162"/>
                  <a:gd name="T1" fmla="*/ 11 h 218"/>
                  <a:gd name="T2" fmla="*/ 20 w 162"/>
                  <a:gd name="T3" fmla="*/ 1 h 218"/>
                  <a:gd name="T4" fmla="*/ 12 w 162"/>
                  <a:gd name="T5" fmla="*/ 1 h 218"/>
                  <a:gd name="T6" fmla="*/ 10 w 162"/>
                  <a:gd name="T7" fmla="*/ 3 h 218"/>
                  <a:gd name="T8" fmla="*/ 6 w 162"/>
                  <a:gd name="T9" fmla="*/ 13 h 218"/>
                  <a:gd name="T10" fmla="*/ 10 w 162"/>
                  <a:gd name="T11" fmla="*/ 32 h 218"/>
                  <a:gd name="T12" fmla="*/ 25 w 162"/>
                  <a:gd name="T13" fmla="*/ 23 h 218"/>
                  <a:gd name="T14" fmla="*/ 50 w 162"/>
                  <a:gd name="T15" fmla="*/ 23 h 218"/>
                  <a:gd name="T16" fmla="*/ 77 w 162"/>
                  <a:gd name="T17" fmla="*/ 30 h 218"/>
                  <a:gd name="T18" fmla="*/ 79 w 162"/>
                  <a:gd name="T19" fmla="*/ 42 h 218"/>
                  <a:gd name="T20" fmla="*/ 83 w 162"/>
                  <a:gd name="T21" fmla="*/ 55 h 218"/>
                  <a:gd name="T22" fmla="*/ 96 w 162"/>
                  <a:gd name="T23" fmla="*/ 55 h 218"/>
                  <a:gd name="T24" fmla="*/ 104 w 162"/>
                  <a:gd name="T25" fmla="*/ 51 h 218"/>
                  <a:gd name="T26" fmla="*/ 106 w 162"/>
                  <a:gd name="T27" fmla="*/ 42 h 218"/>
                  <a:gd name="T28" fmla="*/ 117 w 162"/>
                  <a:gd name="T29" fmla="*/ 42 h 218"/>
                  <a:gd name="T30" fmla="*/ 129 w 162"/>
                  <a:gd name="T31" fmla="*/ 49 h 218"/>
                  <a:gd name="T32" fmla="*/ 133 w 162"/>
                  <a:gd name="T33" fmla="*/ 61 h 218"/>
                  <a:gd name="T34" fmla="*/ 135 w 162"/>
                  <a:gd name="T35" fmla="*/ 74 h 218"/>
                  <a:gd name="T36" fmla="*/ 139 w 162"/>
                  <a:gd name="T37" fmla="*/ 84 h 218"/>
                  <a:gd name="T38" fmla="*/ 137 w 162"/>
                  <a:gd name="T39" fmla="*/ 96 h 218"/>
                  <a:gd name="T40" fmla="*/ 142 w 162"/>
                  <a:gd name="T41" fmla="*/ 107 h 218"/>
                  <a:gd name="T42" fmla="*/ 150 w 162"/>
                  <a:gd name="T43" fmla="*/ 103 h 218"/>
                  <a:gd name="T44" fmla="*/ 160 w 162"/>
                  <a:gd name="T45" fmla="*/ 107 h 218"/>
                  <a:gd name="T46" fmla="*/ 160 w 162"/>
                  <a:gd name="T47" fmla="*/ 120 h 218"/>
                  <a:gd name="T48" fmla="*/ 160 w 162"/>
                  <a:gd name="T49" fmla="*/ 130 h 218"/>
                  <a:gd name="T50" fmla="*/ 131 w 162"/>
                  <a:gd name="T51" fmla="*/ 188 h 218"/>
                  <a:gd name="T52" fmla="*/ 137 w 162"/>
                  <a:gd name="T53" fmla="*/ 199 h 218"/>
                  <a:gd name="T54" fmla="*/ 148 w 162"/>
                  <a:gd name="T55" fmla="*/ 213 h 218"/>
                  <a:gd name="T56" fmla="*/ 116 w 162"/>
                  <a:gd name="T57" fmla="*/ 216 h 218"/>
                  <a:gd name="T58" fmla="*/ 104 w 162"/>
                  <a:gd name="T59" fmla="*/ 216 h 218"/>
                  <a:gd name="T60" fmla="*/ 91 w 162"/>
                  <a:gd name="T61" fmla="*/ 213 h 218"/>
                  <a:gd name="T62" fmla="*/ 83 w 162"/>
                  <a:gd name="T63" fmla="*/ 205 h 218"/>
                  <a:gd name="T64" fmla="*/ 21 w 162"/>
                  <a:gd name="T65" fmla="*/ 201 h 218"/>
                  <a:gd name="T66" fmla="*/ 6 w 162"/>
                  <a:gd name="T67" fmla="*/ 205 h 218"/>
                  <a:gd name="T68" fmla="*/ 0 w 162"/>
                  <a:gd name="T69" fmla="*/ 180 h 218"/>
                  <a:gd name="T70" fmla="*/ 10 w 162"/>
                  <a:gd name="T71" fmla="*/ 155 h 218"/>
                  <a:gd name="T72" fmla="*/ 18 w 162"/>
                  <a:gd name="T73" fmla="*/ 142 h 218"/>
                  <a:gd name="T74" fmla="*/ 21 w 162"/>
                  <a:gd name="T75" fmla="*/ 132 h 218"/>
                  <a:gd name="T76" fmla="*/ 27 w 162"/>
                  <a:gd name="T77" fmla="*/ 111 h 218"/>
                  <a:gd name="T78" fmla="*/ 21 w 162"/>
                  <a:gd name="T79" fmla="*/ 96 h 218"/>
                  <a:gd name="T80" fmla="*/ 23 w 162"/>
                  <a:gd name="T81" fmla="*/ 67 h 218"/>
                  <a:gd name="T82" fmla="*/ 18 w 162"/>
                  <a:gd name="T83" fmla="*/ 46 h 218"/>
                  <a:gd name="T84" fmla="*/ 10 w 162"/>
                  <a:gd name="T85" fmla="*/ 3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2" h="218">
                    <a:moveTo>
                      <a:pt x="4" y="17"/>
                    </a:moveTo>
                    <a:lnTo>
                      <a:pt x="16" y="11"/>
                    </a:lnTo>
                    <a:lnTo>
                      <a:pt x="14" y="11"/>
                    </a:lnTo>
                    <a:lnTo>
                      <a:pt x="16" y="7"/>
                    </a:lnTo>
                    <a:lnTo>
                      <a:pt x="18" y="3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4" y="3"/>
                    </a:lnTo>
                    <a:lnTo>
                      <a:pt x="12" y="3"/>
                    </a:lnTo>
                    <a:lnTo>
                      <a:pt x="10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6" y="13"/>
                    </a:lnTo>
                    <a:lnTo>
                      <a:pt x="6" y="15"/>
                    </a:lnTo>
                    <a:lnTo>
                      <a:pt x="4" y="17"/>
                    </a:lnTo>
                    <a:close/>
                    <a:moveTo>
                      <a:pt x="10" y="32"/>
                    </a:moveTo>
                    <a:lnTo>
                      <a:pt x="14" y="30"/>
                    </a:lnTo>
                    <a:lnTo>
                      <a:pt x="21" y="26"/>
                    </a:lnTo>
                    <a:lnTo>
                      <a:pt x="25" y="23"/>
                    </a:lnTo>
                    <a:lnTo>
                      <a:pt x="33" y="23"/>
                    </a:lnTo>
                    <a:lnTo>
                      <a:pt x="45" y="23"/>
                    </a:lnTo>
                    <a:lnTo>
                      <a:pt x="50" y="23"/>
                    </a:lnTo>
                    <a:lnTo>
                      <a:pt x="75" y="23"/>
                    </a:lnTo>
                    <a:lnTo>
                      <a:pt x="75" y="26"/>
                    </a:lnTo>
                    <a:lnTo>
                      <a:pt x="77" y="30"/>
                    </a:lnTo>
                    <a:lnTo>
                      <a:pt x="77" y="34"/>
                    </a:lnTo>
                    <a:lnTo>
                      <a:pt x="77" y="38"/>
                    </a:lnTo>
                    <a:lnTo>
                      <a:pt x="79" y="42"/>
                    </a:lnTo>
                    <a:lnTo>
                      <a:pt x="79" y="48"/>
                    </a:lnTo>
                    <a:lnTo>
                      <a:pt x="81" y="51"/>
                    </a:lnTo>
                    <a:lnTo>
                      <a:pt x="83" y="55"/>
                    </a:lnTo>
                    <a:lnTo>
                      <a:pt x="87" y="57"/>
                    </a:lnTo>
                    <a:lnTo>
                      <a:pt x="92" y="57"/>
                    </a:lnTo>
                    <a:lnTo>
                      <a:pt x="96" y="55"/>
                    </a:lnTo>
                    <a:lnTo>
                      <a:pt x="98" y="53"/>
                    </a:lnTo>
                    <a:lnTo>
                      <a:pt x="102" y="53"/>
                    </a:lnTo>
                    <a:lnTo>
                      <a:pt x="104" y="51"/>
                    </a:lnTo>
                    <a:lnTo>
                      <a:pt x="102" y="4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10" y="42"/>
                    </a:lnTo>
                    <a:lnTo>
                      <a:pt x="116" y="42"/>
                    </a:lnTo>
                    <a:lnTo>
                      <a:pt x="117" y="42"/>
                    </a:lnTo>
                    <a:lnTo>
                      <a:pt x="117" y="46"/>
                    </a:lnTo>
                    <a:lnTo>
                      <a:pt x="123" y="46"/>
                    </a:lnTo>
                    <a:lnTo>
                      <a:pt x="129" y="49"/>
                    </a:lnTo>
                    <a:lnTo>
                      <a:pt x="129" y="55"/>
                    </a:lnTo>
                    <a:lnTo>
                      <a:pt x="131" y="57"/>
                    </a:lnTo>
                    <a:lnTo>
                      <a:pt x="133" y="61"/>
                    </a:lnTo>
                    <a:lnTo>
                      <a:pt x="131" y="65"/>
                    </a:lnTo>
                    <a:lnTo>
                      <a:pt x="133" y="71"/>
                    </a:lnTo>
                    <a:lnTo>
                      <a:pt x="135" y="74"/>
                    </a:lnTo>
                    <a:lnTo>
                      <a:pt x="135" y="78"/>
                    </a:lnTo>
                    <a:lnTo>
                      <a:pt x="137" y="82"/>
                    </a:lnTo>
                    <a:lnTo>
                      <a:pt x="139" y="84"/>
                    </a:lnTo>
                    <a:lnTo>
                      <a:pt x="137" y="88"/>
                    </a:lnTo>
                    <a:lnTo>
                      <a:pt x="137" y="92"/>
                    </a:lnTo>
                    <a:lnTo>
                      <a:pt x="137" y="96"/>
                    </a:lnTo>
                    <a:lnTo>
                      <a:pt x="137" y="101"/>
                    </a:lnTo>
                    <a:lnTo>
                      <a:pt x="139" y="105"/>
                    </a:lnTo>
                    <a:lnTo>
                      <a:pt x="142" y="107"/>
                    </a:lnTo>
                    <a:lnTo>
                      <a:pt x="144" y="105"/>
                    </a:lnTo>
                    <a:lnTo>
                      <a:pt x="148" y="103"/>
                    </a:lnTo>
                    <a:lnTo>
                      <a:pt x="150" y="103"/>
                    </a:lnTo>
                    <a:lnTo>
                      <a:pt x="156" y="103"/>
                    </a:lnTo>
                    <a:lnTo>
                      <a:pt x="160" y="103"/>
                    </a:lnTo>
                    <a:lnTo>
                      <a:pt x="160" y="107"/>
                    </a:lnTo>
                    <a:lnTo>
                      <a:pt x="162" y="113"/>
                    </a:lnTo>
                    <a:lnTo>
                      <a:pt x="160" y="117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2"/>
                    </a:lnTo>
                    <a:lnTo>
                      <a:pt x="133" y="132"/>
                    </a:lnTo>
                    <a:lnTo>
                      <a:pt x="131" y="188"/>
                    </a:lnTo>
                    <a:lnTo>
                      <a:pt x="133" y="190"/>
                    </a:lnTo>
                    <a:lnTo>
                      <a:pt x="135" y="193"/>
                    </a:lnTo>
                    <a:lnTo>
                      <a:pt x="137" y="199"/>
                    </a:lnTo>
                    <a:lnTo>
                      <a:pt x="140" y="203"/>
                    </a:lnTo>
                    <a:lnTo>
                      <a:pt x="144" y="211"/>
                    </a:lnTo>
                    <a:lnTo>
                      <a:pt x="148" y="213"/>
                    </a:lnTo>
                    <a:lnTo>
                      <a:pt x="146" y="214"/>
                    </a:lnTo>
                    <a:lnTo>
                      <a:pt x="119" y="218"/>
                    </a:lnTo>
                    <a:lnTo>
                      <a:pt x="116" y="216"/>
                    </a:lnTo>
                    <a:lnTo>
                      <a:pt x="110" y="216"/>
                    </a:lnTo>
                    <a:lnTo>
                      <a:pt x="108" y="214"/>
                    </a:lnTo>
                    <a:lnTo>
                      <a:pt x="104" y="216"/>
                    </a:lnTo>
                    <a:lnTo>
                      <a:pt x="100" y="214"/>
                    </a:lnTo>
                    <a:lnTo>
                      <a:pt x="94" y="213"/>
                    </a:lnTo>
                    <a:lnTo>
                      <a:pt x="91" y="213"/>
                    </a:lnTo>
                    <a:lnTo>
                      <a:pt x="89" y="211"/>
                    </a:lnTo>
                    <a:lnTo>
                      <a:pt x="85" y="209"/>
                    </a:lnTo>
                    <a:lnTo>
                      <a:pt x="83" y="205"/>
                    </a:lnTo>
                    <a:lnTo>
                      <a:pt x="27" y="205"/>
                    </a:lnTo>
                    <a:lnTo>
                      <a:pt x="25" y="203"/>
                    </a:lnTo>
                    <a:lnTo>
                      <a:pt x="21" y="201"/>
                    </a:lnTo>
                    <a:lnTo>
                      <a:pt x="18" y="203"/>
                    </a:lnTo>
                    <a:lnTo>
                      <a:pt x="14" y="205"/>
                    </a:lnTo>
                    <a:lnTo>
                      <a:pt x="6" y="205"/>
                    </a:lnTo>
                    <a:lnTo>
                      <a:pt x="0" y="205"/>
                    </a:lnTo>
                    <a:lnTo>
                      <a:pt x="0" y="190"/>
                    </a:lnTo>
                    <a:lnTo>
                      <a:pt x="0" y="180"/>
                    </a:lnTo>
                    <a:lnTo>
                      <a:pt x="4" y="172"/>
                    </a:lnTo>
                    <a:lnTo>
                      <a:pt x="10" y="165"/>
                    </a:lnTo>
                    <a:lnTo>
                      <a:pt x="10" y="155"/>
                    </a:lnTo>
                    <a:lnTo>
                      <a:pt x="12" y="143"/>
                    </a:lnTo>
                    <a:lnTo>
                      <a:pt x="14" y="143"/>
                    </a:lnTo>
                    <a:lnTo>
                      <a:pt x="18" y="142"/>
                    </a:lnTo>
                    <a:lnTo>
                      <a:pt x="18" y="140"/>
                    </a:lnTo>
                    <a:lnTo>
                      <a:pt x="18" y="136"/>
                    </a:lnTo>
                    <a:lnTo>
                      <a:pt x="21" y="132"/>
                    </a:lnTo>
                    <a:lnTo>
                      <a:pt x="25" y="126"/>
                    </a:lnTo>
                    <a:lnTo>
                      <a:pt x="27" y="119"/>
                    </a:lnTo>
                    <a:lnTo>
                      <a:pt x="27" y="111"/>
                    </a:lnTo>
                    <a:lnTo>
                      <a:pt x="25" y="103"/>
                    </a:lnTo>
                    <a:lnTo>
                      <a:pt x="23" y="96"/>
                    </a:lnTo>
                    <a:lnTo>
                      <a:pt x="21" y="96"/>
                    </a:lnTo>
                    <a:lnTo>
                      <a:pt x="20" y="94"/>
                    </a:lnTo>
                    <a:lnTo>
                      <a:pt x="21" y="82"/>
                    </a:lnTo>
                    <a:lnTo>
                      <a:pt x="23" y="67"/>
                    </a:lnTo>
                    <a:lnTo>
                      <a:pt x="20" y="63"/>
                    </a:lnTo>
                    <a:lnTo>
                      <a:pt x="20" y="55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0" y="36"/>
                    </a:lnTo>
                    <a:lnTo>
                      <a:pt x="10" y="3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8" name="Freeform 256"/>
              <p:cNvSpPr>
                <a:spLocks/>
              </p:cNvSpPr>
              <p:nvPr/>
            </p:nvSpPr>
            <p:spPr bwMode="gray">
              <a:xfrm>
                <a:off x="4360780" y="3367089"/>
                <a:ext cx="7937" cy="6350"/>
              </a:xfrm>
              <a:custGeom>
                <a:avLst/>
                <a:gdLst>
                  <a:gd name="T0" fmla="*/ 5 w 5"/>
                  <a:gd name="T1" fmla="*/ 2 h 4"/>
                  <a:gd name="T2" fmla="*/ 1 w 5"/>
                  <a:gd name="T3" fmla="*/ 4 h 4"/>
                  <a:gd name="T4" fmla="*/ 0 w 5"/>
                  <a:gd name="T5" fmla="*/ 0 h 4"/>
                  <a:gd name="T6" fmla="*/ 1 w 5"/>
                  <a:gd name="T7" fmla="*/ 0 h 4"/>
                  <a:gd name="T8" fmla="*/ 3 w 5"/>
                  <a:gd name="T9" fmla="*/ 0 h 4"/>
                  <a:gd name="T10" fmla="*/ 5 w 5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5" y="2"/>
                    </a:moveTo>
                    <a:lnTo>
                      <a:pt x="1" y="4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59" name="Freeform 257"/>
              <p:cNvSpPr>
                <a:spLocks/>
              </p:cNvSpPr>
              <p:nvPr/>
            </p:nvSpPr>
            <p:spPr bwMode="gray">
              <a:xfrm>
                <a:off x="4168714" y="3516314"/>
                <a:ext cx="385720" cy="460375"/>
              </a:xfrm>
              <a:custGeom>
                <a:avLst/>
                <a:gdLst>
                  <a:gd name="T0" fmla="*/ 0 w 243"/>
                  <a:gd name="T1" fmla="*/ 167 h 290"/>
                  <a:gd name="T2" fmla="*/ 121 w 243"/>
                  <a:gd name="T3" fmla="*/ 259 h 290"/>
                  <a:gd name="T4" fmla="*/ 124 w 243"/>
                  <a:gd name="T5" fmla="*/ 265 h 290"/>
                  <a:gd name="T6" fmla="*/ 134 w 243"/>
                  <a:gd name="T7" fmla="*/ 269 h 290"/>
                  <a:gd name="T8" fmla="*/ 138 w 243"/>
                  <a:gd name="T9" fmla="*/ 277 h 290"/>
                  <a:gd name="T10" fmla="*/ 138 w 243"/>
                  <a:gd name="T11" fmla="*/ 284 h 290"/>
                  <a:gd name="T12" fmla="*/ 138 w 243"/>
                  <a:gd name="T13" fmla="*/ 290 h 290"/>
                  <a:gd name="T14" fmla="*/ 151 w 243"/>
                  <a:gd name="T15" fmla="*/ 288 h 290"/>
                  <a:gd name="T16" fmla="*/ 176 w 243"/>
                  <a:gd name="T17" fmla="*/ 273 h 290"/>
                  <a:gd name="T18" fmla="*/ 241 w 243"/>
                  <a:gd name="T19" fmla="*/ 219 h 290"/>
                  <a:gd name="T20" fmla="*/ 234 w 243"/>
                  <a:gd name="T21" fmla="*/ 213 h 290"/>
                  <a:gd name="T22" fmla="*/ 226 w 243"/>
                  <a:gd name="T23" fmla="*/ 209 h 290"/>
                  <a:gd name="T24" fmla="*/ 218 w 243"/>
                  <a:gd name="T25" fmla="*/ 206 h 290"/>
                  <a:gd name="T26" fmla="*/ 217 w 243"/>
                  <a:gd name="T27" fmla="*/ 196 h 290"/>
                  <a:gd name="T28" fmla="*/ 211 w 243"/>
                  <a:gd name="T29" fmla="*/ 188 h 290"/>
                  <a:gd name="T30" fmla="*/ 205 w 243"/>
                  <a:gd name="T31" fmla="*/ 181 h 290"/>
                  <a:gd name="T32" fmla="*/ 209 w 243"/>
                  <a:gd name="T33" fmla="*/ 177 h 290"/>
                  <a:gd name="T34" fmla="*/ 213 w 243"/>
                  <a:gd name="T35" fmla="*/ 161 h 290"/>
                  <a:gd name="T36" fmla="*/ 213 w 243"/>
                  <a:gd name="T37" fmla="*/ 154 h 290"/>
                  <a:gd name="T38" fmla="*/ 213 w 243"/>
                  <a:gd name="T39" fmla="*/ 148 h 290"/>
                  <a:gd name="T40" fmla="*/ 211 w 243"/>
                  <a:gd name="T41" fmla="*/ 140 h 290"/>
                  <a:gd name="T42" fmla="*/ 211 w 243"/>
                  <a:gd name="T43" fmla="*/ 113 h 290"/>
                  <a:gd name="T44" fmla="*/ 213 w 243"/>
                  <a:gd name="T45" fmla="*/ 110 h 290"/>
                  <a:gd name="T46" fmla="*/ 209 w 243"/>
                  <a:gd name="T47" fmla="*/ 81 h 290"/>
                  <a:gd name="T48" fmla="*/ 201 w 243"/>
                  <a:gd name="T49" fmla="*/ 73 h 290"/>
                  <a:gd name="T50" fmla="*/ 195 w 243"/>
                  <a:gd name="T51" fmla="*/ 65 h 290"/>
                  <a:gd name="T52" fmla="*/ 192 w 243"/>
                  <a:gd name="T53" fmla="*/ 60 h 290"/>
                  <a:gd name="T54" fmla="*/ 192 w 243"/>
                  <a:gd name="T55" fmla="*/ 48 h 290"/>
                  <a:gd name="T56" fmla="*/ 199 w 243"/>
                  <a:gd name="T57" fmla="*/ 44 h 290"/>
                  <a:gd name="T58" fmla="*/ 203 w 243"/>
                  <a:gd name="T59" fmla="*/ 37 h 290"/>
                  <a:gd name="T60" fmla="*/ 203 w 243"/>
                  <a:gd name="T61" fmla="*/ 27 h 290"/>
                  <a:gd name="T62" fmla="*/ 203 w 243"/>
                  <a:gd name="T63" fmla="*/ 16 h 290"/>
                  <a:gd name="T64" fmla="*/ 199 w 243"/>
                  <a:gd name="T65" fmla="*/ 8 h 290"/>
                  <a:gd name="T66" fmla="*/ 195 w 243"/>
                  <a:gd name="T67" fmla="*/ 0 h 290"/>
                  <a:gd name="T68" fmla="*/ 192 w 243"/>
                  <a:gd name="T69" fmla="*/ 4 h 290"/>
                  <a:gd name="T70" fmla="*/ 186 w 243"/>
                  <a:gd name="T71" fmla="*/ 4 h 290"/>
                  <a:gd name="T72" fmla="*/ 170 w 243"/>
                  <a:gd name="T73" fmla="*/ 2 h 290"/>
                  <a:gd name="T74" fmla="*/ 149 w 243"/>
                  <a:gd name="T75" fmla="*/ 4 h 290"/>
                  <a:gd name="T76" fmla="*/ 132 w 243"/>
                  <a:gd name="T77" fmla="*/ 6 h 290"/>
                  <a:gd name="T78" fmla="*/ 117 w 243"/>
                  <a:gd name="T79" fmla="*/ 10 h 290"/>
                  <a:gd name="T80" fmla="*/ 109 w 243"/>
                  <a:gd name="T81" fmla="*/ 14 h 290"/>
                  <a:gd name="T82" fmla="*/ 103 w 243"/>
                  <a:gd name="T83" fmla="*/ 16 h 290"/>
                  <a:gd name="T84" fmla="*/ 94 w 243"/>
                  <a:gd name="T85" fmla="*/ 19 h 290"/>
                  <a:gd name="T86" fmla="*/ 82 w 243"/>
                  <a:gd name="T87" fmla="*/ 27 h 290"/>
                  <a:gd name="T88" fmla="*/ 76 w 243"/>
                  <a:gd name="T89" fmla="*/ 35 h 290"/>
                  <a:gd name="T90" fmla="*/ 76 w 243"/>
                  <a:gd name="T91" fmla="*/ 44 h 290"/>
                  <a:gd name="T92" fmla="*/ 76 w 243"/>
                  <a:gd name="T93" fmla="*/ 54 h 290"/>
                  <a:gd name="T94" fmla="*/ 78 w 243"/>
                  <a:gd name="T95" fmla="*/ 64 h 290"/>
                  <a:gd name="T96" fmla="*/ 84 w 243"/>
                  <a:gd name="T97" fmla="*/ 71 h 290"/>
                  <a:gd name="T98" fmla="*/ 78 w 243"/>
                  <a:gd name="T99" fmla="*/ 77 h 290"/>
                  <a:gd name="T100" fmla="*/ 71 w 243"/>
                  <a:gd name="T101" fmla="*/ 87 h 290"/>
                  <a:gd name="T102" fmla="*/ 69 w 243"/>
                  <a:gd name="T103" fmla="*/ 94 h 290"/>
                  <a:gd name="T104" fmla="*/ 61 w 243"/>
                  <a:gd name="T105" fmla="*/ 100 h 290"/>
                  <a:gd name="T106" fmla="*/ 55 w 243"/>
                  <a:gd name="T107" fmla="*/ 106 h 290"/>
                  <a:gd name="T108" fmla="*/ 44 w 243"/>
                  <a:gd name="T109" fmla="*/ 117 h 290"/>
                  <a:gd name="T110" fmla="*/ 36 w 243"/>
                  <a:gd name="T111" fmla="*/ 119 h 290"/>
                  <a:gd name="T112" fmla="*/ 27 w 243"/>
                  <a:gd name="T113" fmla="*/ 127 h 290"/>
                  <a:gd name="T114" fmla="*/ 13 w 243"/>
                  <a:gd name="T115" fmla="*/ 131 h 290"/>
                  <a:gd name="T116" fmla="*/ 5 w 243"/>
                  <a:gd name="T117" fmla="*/ 136 h 290"/>
                  <a:gd name="T118" fmla="*/ 0 w 243"/>
                  <a:gd name="T119" fmla="*/ 142 h 290"/>
                  <a:gd name="T120" fmla="*/ 0 w 243"/>
                  <a:gd name="T121" fmla="*/ 15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3" h="290">
                    <a:moveTo>
                      <a:pt x="0" y="158"/>
                    </a:moveTo>
                    <a:lnTo>
                      <a:pt x="0" y="167"/>
                    </a:lnTo>
                    <a:lnTo>
                      <a:pt x="42" y="198"/>
                    </a:lnTo>
                    <a:lnTo>
                      <a:pt x="121" y="259"/>
                    </a:lnTo>
                    <a:lnTo>
                      <a:pt x="122" y="261"/>
                    </a:lnTo>
                    <a:lnTo>
                      <a:pt x="124" y="265"/>
                    </a:lnTo>
                    <a:lnTo>
                      <a:pt x="130" y="267"/>
                    </a:lnTo>
                    <a:lnTo>
                      <a:pt x="134" y="269"/>
                    </a:lnTo>
                    <a:lnTo>
                      <a:pt x="138" y="273"/>
                    </a:lnTo>
                    <a:lnTo>
                      <a:pt x="138" y="277"/>
                    </a:lnTo>
                    <a:lnTo>
                      <a:pt x="138" y="280"/>
                    </a:lnTo>
                    <a:lnTo>
                      <a:pt x="138" y="284"/>
                    </a:lnTo>
                    <a:lnTo>
                      <a:pt x="140" y="288"/>
                    </a:lnTo>
                    <a:lnTo>
                      <a:pt x="138" y="290"/>
                    </a:lnTo>
                    <a:lnTo>
                      <a:pt x="145" y="290"/>
                    </a:lnTo>
                    <a:lnTo>
                      <a:pt x="151" y="288"/>
                    </a:lnTo>
                    <a:lnTo>
                      <a:pt x="169" y="284"/>
                    </a:lnTo>
                    <a:lnTo>
                      <a:pt x="176" y="273"/>
                    </a:lnTo>
                    <a:lnTo>
                      <a:pt x="243" y="221"/>
                    </a:lnTo>
                    <a:lnTo>
                      <a:pt x="241" y="219"/>
                    </a:lnTo>
                    <a:lnTo>
                      <a:pt x="236" y="215"/>
                    </a:lnTo>
                    <a:lnTo>
                      <a:pt x="234" y="213"/>
                    </a:lnTo>
                    <a:lnTo>
                      <a:pt x="230" y="211"/>
                    </a:lnTo>
                    <a:lnTo>
                      <a:pt x="226" y="209"/>
                    </a:lnTo>
                    <a:lnTo>
                      <a:pt x="222" y="209"/>
                    </a:lnTo>
                    <a:lnTo>
                      <a:pt x="218" y="206"/>
                    </a:lnTo>
                    <a:lnTo>
                      <a:pt x="217" y="200"/>
                    </a:lnTo>
                    <a:lnTo>
                      <a:pt x="217" y="196"/>
                    </a:lnTo>
                    <a:lnTo>
                      <a:pt x="213" y="194"/>
                    </a:lnTo>
                    <a:lnTo>
                      <a:pt x="211" y="188"/>
                    </a:lnTo>
                    <a:lnTo>
                      <a:pt x="209" y="184"/>
                    </a:lnTo>
                    <a:lnTo>
                      <a:pt x="205" y="181"/>
                    </a:lnTo>
                    <a:lnTo>
                      <a:pt x="205" y="179"/>
                    </a:lnTo>
                    <a:lnTo>
                      <a:pt x="209" y="177"/>
                    </a:lnTo>
                    <a:lnTo>
                      <a:pt x="213" y="171"/>
                    </a:lnTo>
                    <a:lnTo>
                      <a:pt x="213" y="161"/>
                    </a:lnTo>
                    <a:lnTo>
                      <a:pt x="213" y="156"/>
                    </a:lnTo>
                    <a:lnTo>
                      <a:pt x="213" y="154"/>
                    </a:lnTo>
                    <a:lnTo>
                      <a:pt x="213" y="150"/>
                    </a:lnTo>
                    <a:lnTo>
                      <a:pt x="213" y="148"/>
                    </a:lnTo>
                    <a:lnTo>
                      <a:pt x="217" y="146"/>
                    </a:lnTo>
                    <a:lnTo>
                      <a:pt x="211" y="140"/>
                    </a:lnTo>
                    <a:lnTo>
                      <a:pt x="213" y="115"/>
                    </a:lnTo>
                    <a:lnTo>
                      <a:pt x="211" y="113"/>
                    </a:lnTo>
                    <a:lnTo>
                      <a:pt x="211" y="110"/>
                    </a:lnTo>
                    <a:lnTo>
                      <a:pt x="213" y="110"/>
                    </a:lnTo>
                    <a:lnTo>
                      <a:pt x="213" y="110"/>
                    </a:lnTo>
                    <a:lnTo>
                      <a:pt x="209" y="81"/>
                    </a:lnTo>
                    <a:lnTo>
                      <a:pt x="201" y="79"/>
                    </a:lnTo>
                    <a:lnTo>
                      <a:pt x="201" y="73"/>
                    </a:lnTo>
                    <a:lnTo>
                      <a:pt x="199" y="67"/>
                    </a:lnTo>
                    <a:lnTo>
                      <a:pt x="195" y="65"/>
                    </a:lnTo>
                    <a:lnTo>
                      <a:pt x="193" y="65"/>
                    </a:lnTo>
                    <a:lnTo>
                      <a:pt x="192" y="60"/>
                    </a:lnTo>
                    <a:lnTo>
                      <a:pt x="192" y="52"/>
                    </a:lnTo>
                    <a:lnTo>
                      <a:pt x="192" y="48"/>
                    </a:lnTo>
                    <a:lnTo>
                      <a:pt x="195" y="48"/>
                    </a:lnTo>
                    <a:lnTo>
                      <a:pt x="199" y="44"/>
                    </a:lnTo>
                    <a:lnTo>
                      <a:pt x="201" y="40"/>
                    </a:lnTo>
                    <a:lnTo>
                      <a:pt x="203" y="37"/>
                    </a:lnTo>
                    <a:lnTo>
                      <a:pt x="205" y="33"/>
                    </a:lnTo>
                    <a:lnTo>
                      <a:pt x="203" y="27"/>
                    </a:lnTo>
                    <a:lnTo>
                      <a:pt x="201" y="21"/>
                    </a:lnTo>
                    <a:lnTo>
                      <a:pt x="203" y="16"/>
                    </a:lnTo>
                    <a:lnTo>
                      <a:pt x="201" y="14"/>
                    </a:lnTo>
                    <a:lnTo>
                      <a:pt x="199" y="8"/>
                    </a:lnTo>
                    <a:lnTo>
                      <a:pt x="199" y="2"/>
                    </a:lnTo>
                    <a:lnTo>
                      <a:pt x="195" y="0"/>
                    </a:lnTo>
                    <a:lnTo>
                      <a:pt x="193" y="0"/>
                    </a:lnTo>
                    <a:lnTo>
                      <a:pt x="192" y="4"/>
                    </a:lnTo>
                    <a:lnTo>
                      <a:pt x="190" y="8"/>
                    </a:lnTo>
                    <a:lnTo>
                      <a:pt x="186" y="4"/>
                    </a:lnTo>
                    <a:lnTo>
                      <a:pt x="184" y="0"/>
                    </a:lnTo>
                    <a:lnTo>
                      <a:pt x="170" y="2"/>
                    </a:lnTo>
                    <a:lnTo>
                      <a:pt x="159" y="2"/>
                    </a:lnTo>
                    <a:lnTo>
                      <a:pt x="149" y="4"/>
                    </a:lnTo>
                    <a:lnTo>
                      <a:pt x="140" y="8"/>
                    </a:lnTo>
                    <a:lnTo>
                      <a:pt x="132" y="6"/>
                    </a:lnTo>
                    <a:lnTo>
                      <a:pt x="122" y="6"/>
                    </a:lnTo>
                    <a:lnTo>
                      <a:pt x="117" y="10"/>
                    </a:lnTo>
                    <a:lnTo>
                      <a:pt x="113" y="14"/>
                    </a:lnTo>
                    <a:lnTo>
                      <a:pt x="109" y="14"/>
                    </a:lnTo>
                    <a:lnTo>
                      <a:pt x="105" y="14"/>
                    </a:lnTo>
                    <a:lnTo>
                      <a:pt x="103" y="16"/>
                    </a:lnTo>
                    <a:lnTo>
                      <a:pt x="101" y="19"/>
                    </a:lnTo>
                    <a:lnTo>
                      <a:pt x="94" y="19"/>
                    </a:lnTo>
                    <a:lnTo>
                      <a:pt x="88" y="21"/>
                    </a:lnTo>
                    <a:lnTo>
                      <a:pt x="82" y="27"/>
                    </a:lnTo>
                    <a:lnTo>
                      <a:pt x="74" y="33"/>
                    </a:lnTo>
                    <a:lnTo>
                      <a:pt x="76" y="35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4" y="50"/>
                    </a:lnTo>
                    <a:lnTo>
                      <a:pt x="76" y="54"/>
                    </a:lnTo>
                    <a:lnTo>
                      <a:pt x="78" y="58"/>
                    </a:lnTo>
                    <a:lnTo>
                      <a:pt x="78" y="64"/>
                    </a:lnTo>
                    <a:lnTo>
                      <a:pt x="80" y="67"/>
                    </a:lnTo>
                    <a:lnTo>
                      <a:pt x="84" y="71"/>
                    </a:lnTo>
                    <a:lnTo>
                      <a:pt x="84" y="75"/>
                    </a:lnTo>
                    <a:lnTo>
                      <a:pt x="78" y="77"/>
                    </a:lnTo>
                    <a:lnTo>
                      <a:pt x="74" y="83"/>
                    </a:lnTo>
                    <a:lnTo>
                      <a:pt x="71" y="87"/>
                    </a:lnTo>
                    <a:lnTo>
                      <a:pt x="69" y="90"/>
                    </a:lnTo>
                    <a:lnTo>
                      <a:pt x="69" y="94"/>
                    </a:lnTo>
                    <a:lnTo>
                      <a:pt x="65" y="98"/>
                    </a:lnTo>
                    <a:lnTo>
                      <a:pt x="61" y="100"/>
                    </a:lnTo>
                    <a:lnTo>
                      <a:pt x="57" y="100"/>
                    </a:lnTo>
                    <a:lnTo>
                      <a:pt x="55" y="106"/>
                    </a:lnTo>
                    <a:lnTo>
                      <a:pt x="48" y="115"/>
                    </a:lnTo>
                    <a:lnTo>
                      <a:pt x="44" y="117"/>
                    </a:lnTo>
                    <a:lnTo>
                      <a:pt x="40" y="119"/>
                    </a:lnTo>
                    <a:lnTo>
                      <a:pt x="36" y="119"/>
                    </a:lnTo>
                    <a:lnTo>
                      <a:pt x="32" y="123"/>
                    </a:lnTo>
                    <a:lnTo>
                      <a:pt x="27" y="127"/>
                    </a:lnTo>
                    <a:lnTo>
                      <a:pt x="19" y="129"/>
                    </a:lnTo>
                    <a:lnTo>
                      <a:pt x="13" y="131"/>
                    </a:lnTo>
                    <a:lnTo>
                      <a:pt x="9" y="133"/>
                    </a:lnTo>
                    <a:lnTo>
                      <a:pt x="5" y="136"/>
                    </a:lnTo>
                    <a:lnTo>
                      <a:pt x="3" y="140"/>
                    </a:lnTo>
                    <a:lnTo>
                      <a:pt x="0" y="142"/>
                    </a:lnTo>
                    <a:lnTo>
                      <a:pt x="0" y="144"/>
                    </a:lnTo>
                    <a:lnTo>
                      <a:pt x="0" y="15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0" name="Freeform 258"/>
              <p:cNvSpPr>
                <a:spLocks/>
              </p:cNvSpPr>
              <p:nvPr/>
            </p:nvSpPr>
            <p:spPr bwMode="gray">
              <a:xfrm>
                <a:off x="4706816" y="3373439"/>
                <a:ext cx="39683" cy="76200"/>
              </a:xfrm>
              <a:custGeom>
                <a:avLst/>
                <a:gdLst>
                  <a:gd name="T0" fmla="*/ 12 w 25"/>
                  <a:gd name="T1" fmla="*/ 48 h 48"/>
                  <a:gd name="T2" fmla="*/ 14 w 25"/>
                  <a:gd name="T3" fmla="*/ 48 h 48"/>
                  <a:gd name="T4" fmla="*/ 18 w 25"/>
                  <a:gd name="T5" fmla="*/ 48 h 48"/>
                  <a:gd name="T6" fmla="*/ 20 w 25"/>
                  <a:gd name="T7" fmla="*/ 48 h 48"/>
                  <a:gd name="T8" fmla="*/ 20 w 25"/>
                  <a:gd name="T9" fmla="*/ 46 h 48"/>
                  <a:gd name="T10" fmla="*/ 20 w 25"/>
                  <a:gd name="T11" fmla="*/ 46 h 48"/>
                  <a:gd name="T12" fmla="*/ 23 w 25"/>
                  <a:gd name="T13" fmla="*/ 44 h 48"/>
                  <a:gd name="T14" fmla="*/ 25 w 25"/>
                  <a:gd name="T15" fmla="*/ 40 h 48"/>
                  <a:gd name="T16" fmla="*/ 25 w 25"/>
                  <a:gd name="T17" fmla="*/ 38 h 48"/>
                  <a:gd name="T18" fmla="*/ 25 w 25"/>
                  <a:gd name="T19" fmla="*/ 33 h 48"/>
                  <a:gd name="T20" fmla="*/ 23 w 25"/>
                  <a:gd name="T21" fmla="*/ 31 h 48"/>
                  <a:gd name="T22" fmla="*/ 21 w 25"/>
                  <a:gd name="T23" fmla="*/ 27 h 48"/>
                  <a:gd name="T24" fmla="*/ 20 w 25"/>
                  <a:gd name="T25" fmla="*/ 25 h 48"/>
                  <a:gd name="T26" fmla="*/ 21 w 25"/>
                  <a:gd name="T27" fmla="*/ 21 h 48"/>
                  <a:gd name="T28" fmla="*/ 21 w 25"/>
                  <a:gd name="T29" fmla="*/ 17 h 48"/>
                  <a:gd name="T30" fmla="*/ 21 w 25"/>
                  <a:gd name="T31" fmla="*/ 13 h 48"/>
                  <a:gd name="T32" fmla="*/ 20 w 25"/>
                  <a:gd name="T33" fmla="*/ 8 h 48"/>
                  <a:gd name="T34" fmla="*/ 14 w 25"/>
                  <a:gd name="T35" fmla="*/ 2 h 48"/>
                  <a:gd name="T36" fmla="*/ 12 w 25"/>
                  <a:gd name="T37" fmla="*/ 4 h 48"/>
                  <a:gd name="T38" fmla="*/ 10 w 25"/>
                  <a:gd name="T39" fmla="*/ 0 h 48"/>
                  <a:gd name="T40" fmla="*/ 2 w 25"/>
                  <a:gd name="T41" fmla="*/ 4 h 48"/>
                  <a:gd name="T42" fmla="*/ 0 w 25"/>
                  <a:gd name="T43" fmla="*/ 6 h 48"/>
                  <a:gd name="T44" fmla="*/ 2 w 25"/>
                  <a:gd name="T45" fmla="*/ 8 h 48"/>
                  <a:gd name="T46" fmla="*/ 4 w 25"/>
                  <a:gd name="T47" fmla="*/ 10 h 48"/>
                  <a:gd name="T48" fmla="*/ 6 w 25"/>
                  <a:gd name="T49" fmla="*/ 13 h 48"/>
                  <a:gd name="T50" fmla="*/ 4 w 25"/>
                  <a:gd name="T51" fmla="*/ 17 h 48"/>
                  <a:gd name="T52" fmla="*/ 4 w 25"/>
                  <a:gd name="T53" fmla="*/ 21 h 48"/>
                  <a:gd name="T54" fmla="*/ 2 w 25"/>
                  <a:gd name="T55" fmla="*/ 29 h 48"/>
                  <a:gd name="T56" fmla="*/ 2 w 25"/>
                  <a:gd name="T57" fmla="*/ 35 h 48"/>
                  <a:gd name="T58" fmla="*/ 6 w 25"/>
                  <a:gd name="T59" fmla="*/ 38 h 48"/>
                  <a:gd name="T60" fmla="*/ 12 w 25"/>
                  <a:gd name="T61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5" h="48">
                    <a:moveTo>
                      <a:pt x="12" y="48"/>
                    </a:moveTo>
                    <a:lnTo>
                      <a:pt x="14" y="48"/>
                    </a:lnTo>
                    <a:lnTo>
                      <a:pt x="18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3" y="44"/>
                    </a:lnTo>
                    <a:lnTo>
                      <a:pt x="25" y="40"/>
                    </a:lnTo>
                    <a:lnTo>
                      <a:pt x="25" y="38"/>
                    </a:lnTo>
                    <a:lnTo>
                      <a:pt x="25" y="33"/>
                    </a:lnTo>
                    <a:lnTo>
                      <a:pt x="23" y="31"/>
                    </a:lnTo>
                    <a:lnTo>
                      <a:pt x="21" y="27"/>
                    </a:lnTo>
                    <a:lnTo>
                      <a:pt x="20" y="25"/>
                    </a:lnTo>
                    <a:lnTo>
                      <a:pt x="21" y="21"/>
                    </a:lnTo>
                    <a:lnTo>
                      <a:pt x="21" y="17"/>
                    </a:lnTo>
                    <a:lnTo>
                      <a:pt x="21" y="13"/>
                    </a:lnTo>
                    <a:lnTo>
                      <a:pt x="20" y="8"/>
                    </a:lnTo>
                    <a:lnTo>
                      <a:pt x="14" y="2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6" y="13"/>
                    </a:lnTo>
                    <a:lnTo>
                      <a:pt x="4" y="17"/>
                    </a:lnTo>
                    <a:lnTo>
                      <a:pt x="4" y="21"/>
                    </a:lnTo>
                    <a:lnTo>
                      <a:pt x="2" y="29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12" y="48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1" name="Freeform 259"/>
              <p:cNvSpPr>
                <a:spLocks/>
              </p:cNvSpPr>
              <p:nvPr/>
            </p:nvSpPr>
            <p:spPr bwMode="gray">
              <a:xfrm>
                <a:off x="8049719" y="2714626"/>
                <a:ext cx="57144" cy="34925"/>
              </a:xfrm>
              <a:custGeom>
                <a:avLst/>
                <a:gdLst>
                  <a:gd name="T0" fmla="*/ 2 w 36"/>
                  <a:gd name="T1" fmla="*/ 0 h 22"/>
                  <a:gd name="T2" fmla="*/ 2 w 36"/>
                  <a:gd name="T3" fmla="*/ 4 h 22"/>
                  <a:gd name="T4" fmla="*/ 0 w 36"/>
                  <a:gd name="T5" fmla="*/ 12 h 22"/>
                  <a:gd name="T6" fmla="*/ 9 w 36"/>
                  <a:gd name="T7" fmla="*/ 8 h 22"/>
                  <a:gd name="T8" fmla="*/ 15 w 36"/>
                  <a:gd name="T9" fmla="*/ 8 h 22"/>
                  <a:gd name="T10" fmla="*/ 21 w 36"/>
                  <a:gd name="T11" fmla="*/ 10 h 22"/>
                  <a:gd name="T12" fmla="*/ 26 w 36"/>
                  <a:gd name="T13" fmla="*/ 16 h 22"/>
                  <a:gd name="T14" fmla="*/ 28 w 36"/>
                  <a:gd name="T15" fmla="*/ 18 h 22"/>
                  <a:gd name="T16" fmla="*/ 32 w 36"/>
                  <a:gd name="T17" fmla="*/ 22 h 22"/>
                  <a:gd name="T18" fmla="*/ 34 w 36"/>
                  <a:gd name="T19" fmla="*/ 16 h 22"/>
                  <a:gd name="T20" fmla="*/ 36 w 36"/>
                  <a:gd name="T21" fmla="*/ 12 h 22"/>
                  <a:gd name="T22" fmla="*/ 32 w 36"/>
                  <a:gd name="T23" fmla="*/ 10 h 22"/>
                  <a:gd name="T24" fmla="*/ 26 w 36"/>
                  <a:gd name="T25" fmla="*/ 10 h 22"/>
                  <a:gd name="T26" fmla="*/ 25 w 36"/>
                  <a:gd name="T27" fmla="*/ 8 h 22"/>
                  <a:gd name="T28" fmla="*/ 25 w 36"/>
                  <a:gd name="T29" fmla="*/ 4 h 22"/>
                  <a:gd name="T30" fmla="*/ 21 w 36"/>
                  <a:gd name="T31" fmla="*/ 2 h 22"/>
                  <a:gd name="T32" fmla="*/ 19 w 36"/>
                  <a:gd name="T33" fmla="*/ 0 h 22"/>
                  <a:gd name="T34" fmla="*/ 11 w 36"/>
                  <a:gd name="T35" fmla="*/ 2 h 22"/>
                  <a:gd name="T36" fmla="*/ 3 w 36"/>
                  <a:gd name="T37" fmla="*/ 6 h 22"/>
                  <a:gd name="T38" fmla="*/ 3 w 36"/>
                  <a:gd name="T39" fmla="*/ 2 h 22"/>
                  <a:gd name="T40" fmla="*/ 2 w 36"/>
                  <a:gd name="T41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22">
                    <a:moveTo>
                      <a:pt x="2" y="0"/>
                    </a:moveTo>
                    <a:lnTo>
                      <a:pt x="2" y="4"/>
                    </a:lnTo>
                    <a:lnTo>
                      <a:pt x="0" y="12"/>
                    </a:lnTo>
                    <a:lnTo>
                      <a:pt x="9" y="8"/>
                    </a:lnTo>
                    <a:lnTo>
                      <a:pt x="15" y="8"/>
                    </a:lnTo>
                    <a:lnTo>
                      <a:pt x="21" y="10"/>
                    </a:lnTo>
                    <a:lnTo>
                      <a:pt x="26" y="16"/>
                    </a:lnTo>
                    <a:lnTo>
                      <a:pt x="28" y="18"/>
                    </a:lnTo>
                    <a:lnTo>
                      <a:pt x="32" y="22"/>
                    </a:lnTo>
                    <a:lnTo>
                      <a:pt x="34" y="16"/>
                    </a:lnTo>
                    <a:lnTo>
                      <a:pt x="36" y="12"/>
                    </a:lnTo>
                    <a:lnTo>
                      <a:pt x="32" y="10"/>
                    </a:lnTo>
                    <a:lnTo>
                      <a:pt x="26" y="10"/>
                    </a:lnTo>
                    <a:lnTo>
                      <a:pt x="25" y="8"/>
                    </a:lnTo>
                    <a:lnTo>
                      <a:pt x="25" y="4"/>
                    </a:lnTo>
                    <a:lnTo>
                      <a:pt x="21" y="2"/>
                    </a:lnTo>
                    <a:lnTo>
                      <a:pt x="19" y="0"/>
                    </a:lnTo>
                    <a:lnTo>
                      <a:pt x="11" y="2"/>
                    </a:lnTo>
                    <a:lnTo>
                      <a:pt x="3" y="6"/>
                    </a:lnTo>
                    <a:lnTo>
                      <a:pt x="3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2" name="Freeform 260"/>
              <p:cNvSpPr>
                <a:spLocks/>
              </p:cNvSpPr>
              <p:nvPr/>
            </p:nvSpPr>
            <p:spPr bwMode="gray">
              <a:xfrm>
                <a:off x="7875114" y="2816226"/>
                <a:ext cx="25397" cy="23813"/>
              </a:xfrm>
              <a:custGeom>
                <a:avLst/>
                <a:gdLst>
                  <a:gd name="T0" fmla="*/ 4 w 16"/>
                  <a:gd name="T1" fmla="*/ 0 h 15"/>
                  <a:gd name="T2" fmla="*/ 2 w 16"/>
                  <a:gd name="T3" fmla="*/ 2 h 15"/>
                  <a:gd name="T4" fmla="*/ 2 w 16"/>
                  <a:gd name="T5" fmla="*/ 6 h 15"/>
                  <a:gd name="T6" fmla="*/ 0 w 16"/>
                  <a:gd name="T7" fmla="*/ 6 h 15"/>
                  <a:gd name="T8" fmla="*/ 0 w 16"/>
                  <a:gd name="T9" fmla="*/ 9 h 15"/>
                  <a:gd name="T10" fmla="*/ 2 w 16"/>
                  <a:gd name="T11" fmla="*/ 11 h 15"/>
                  <a:gd name="T12" fmla="*/ 6 w 16"/>
                  <a:gd name="T13" fmla="*/ 15 h 15"/>
                  <a:gd name="T14" fmla="*/ 10 w 16"/>
                  <a:gd name="T15" fmla="*/ 13 h 15"/>
                  <a:gd name="T16" fmla="*/ 14 w 16"/>
                  <a:gd name="T17" fmla="*/ 9 h 15"/>
                  <a:gd name="T18" fmla="*/ 16 w 16"/>
                  <a:gd name="T19" fmla="*/ 9 h 15"/>
                  <a:gd name="T20" fmla="*/ 16 w 16"/>
                  <a:gd name="T21" fmla="*/ 7 h 15"/>
                  <a:gd name="T22" fmla="*/ 16 w 16"/>
                  <a:gd name="T23" fmla="*/ 6 h 15"/>
                  <a:gd name="T24" fmla="*/ 14 w 16"/>
                  <a:gd name="T25" fmla="*/ 4 h 15"/>
                  <a:gd name="T26" fmla="*/ 8 w 16"/>
                  <a:gd name="T27" fmla="*/ 2 h 15"/>
                  <a:gd name="T28" fmla="*/ 4 w 16"/>
                  <a:gd name="T2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15">
                    <a:moveTo>
                      <a:pt x="4" y="0"/>
                    </a:moveTo>
                    <a:lnTo>
                      <a:pt x="2" y="2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6" y="15"/>
                    </a:lnTo>
                    <a:lnTo>
                      <a:pt x="10" y="13"/>
                    </a:lnTo>
                    <a:lnTo>
                      <a:pt x="14" y="9"/>
                    </a:lnTo>
                    <a:lnTo>
                      <a:pt x="16" y="9"/>
                    </a:lnTo>
                    <a:lnTo>
                      <a:pt x="16" y="7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8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3" name="Freeform 261"/>
              <p:cNvSpPr>
                <a:spLocks/>
              </p:cNvSpPr>
              <p:nvPr/>
            </p:nvSpPr>
            <p:spPr bwMode="gray">
              <a:xfrm>
                <a:off x="7981465" y="2830514"/>
                <a:ext cx="34921" cy="19050"/>
              </a:xfrm>
              <a:custGeom>
                <a:avLst/>
                <a:gdLst>
                  <a:gd name="T0" fmla="*/ 16 w 22"/>
                  <a:gd name="T1" fmla="*/ 0 h 12"/>
                  <a:gd name="T2" fmla="*/ 10 w 22"/>
                  <a:gd name="T3" fmla="*/ 4 h 12"/>
                  <a:gd name="T4" fmla="*/ 4 w 22"/>
                  <a:gd name="T5" fmla="*/ 4 h 12"/>
                  <a:gd name="T6" fmla="*/ 2 w 22"/>
                  <a:gd name="T7" fmla="*/ 4 h 12"/>
                  <a:gd name="T8" fmla="*/ 0 w 22"/>
                  <a:gd name="T9" fmla="*/ 6 h 12"/>
                  <a:gd name="T10" fmla="*/ 4 w 22"/>
                  <a:gd name="T11" fmla="*/ 8 h 12"/>
                  <a:gd name="T12" fmla="*/ 8 w 22"/>
                  <a:gd name="T13" fmla="*/ 12 h 12"/>
                  <a:gd name="T14" fmla="*/ 14 w 22"/>
                  <a:gd name="T15" fmla="*/ 10 h 12"/>
                  <a:gd name="T16" fmla="*/ 20 w 22"/>
                  <a:gd name="T17" fmla="*/ 6 h 12"/>
                  <a:gd name="T18" fmla="*/ 22 w 22"/>
                  <a:gd name="T19" fmla="*/ 4 h 12"/>
                  <a:gd name="T20" fmla="*/ 22 w 22"/>
                  <a:gd name="T21" fmla="*/ 2 h 12"/>
                  <a:gd name="T22" fmla="*/ 20 w 22"/>
                  <a:gd name="T23" fmla="*/ 0 h 12"/>
                  <a:gd name="T24" fmla="*/ 16 w 22"/>
                  <a:gd name="T2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2">
                    <a:moveTo>
                      <a:pt x="16" y="0"/>
                    </a:moveTo>
                    <a:lnTo>
                      <a:pt x="10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8" y="12"/>
                    </a:lnTo>
                    <a:lnTo>
                      <a:pt x="14" y="10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2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4" name="Freeform 262"/>
              <p:cNvSpPr>
                <a:spLocks/>
              </p:cNvSpPr>
              <p:nvPr/>
            </p:nvSpPr>
            <p:spPr bwMode="gray">
              <a:xfrm>
                <a:off x="7722731" y="3065464"/>
                <a:ext cx="12699" cy="9525"/>
              </a:xfrm>
              <a:custGeom>
                <a:avLst/>
                <a:gdLst>
                  <a:gd name="T0" fmla="*/ 0 w 8"/>
                  <a:gd name="T1" fmla="*/ 0 h 6"/>
                  <a:gd name="T2" fmla="*/ 2 w 8"/>
                  <a:gd name="T3" fmla="*/ 2 h 6"/>
                  <a:gd name="T4" fmla="*/ 4 w 8"/>
                  <a:gd name="T5" fmla="*/ 6 h 6"/>
                  <a:gd name="T6" fmla="*/ 6 w 8"/>
                  <a:gd name="T7" fmla="*/ 6 h 6"/>
                  <a:gd name="T8" fmla="*/ 6 w 8"/>
                  <a:gd name="T9" fmla="*/ 4 h 6"/>
                  <a:gd name="T10" fmla="*/ 8 w 8"/>
                  <a:gd name="T11" fmla="*/ 2 h 6"/>
                  <a:gd name="T12" fmla="*/ 6 w 8"/>
                  <a:gd name="T13" fmla="*/ 2 h 6"/>
                  <a:gd name="T14" fmla="*/ 2 w 8"/>
                  <a:gd name="T15" fmla="*/ 0 h 6"/>
                  <a:gd name="T16" fmla="*/ 0 w 8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2" y="2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5" name="Freeform 263"/>
              <p:cNvSpPr>
                <a:spLocks/>
              </p:cNvSpPr>
              <p:nvPr/>
            </p:nvSpPr>
            <p:spPr bwMode="gray">
              <a:xfrm>
                <a:off x="7994163" y="3087689"/>
                <a:ext cx="12699" cy="7938"/>
              </a:xfrm>
              <a:custGeom>
                <a:avLst/>
                <a:gdLst>
                  <a:gd name="T0" fmla="*/ 6 w 8"/>
                  <a:gd name="T1" fmla="*/ 0 h 5"/>
                  <a:gd name="T2" fmla="*/ 2 w 8"/>
                  <a:gd name="T3" fmla="*/ 2 h 5"/>
                  <a:gd name="T4" fmla="*/ 0 w 8"/>
                  <a:gd name="T5" fmla="*/ 3 h 5"/>
                  <a:gd name="T6" fmla="*/ 2 w 8"/>
                  <a:gd name="T7" fmla="*/ 5 h 5"/>
                  <a:gd name="T8" fmla="*/ 8 w 8"/>
                  <a:gd name="T9" fmla="*/ 5 h 5"/>
                  <a:gd name="T10" fmla="*/ 6 w 8"/>
                  <a:gd name="T11" fmla="*/ 2 h 5"/>
                  <a:gd name="T12" fmla="*/ 6 w 8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">
                    <a:moveTo>
                      <a:pt x="6" y="0"/>
                    </a:moveTo>
                    <a:lnTo>
                      <a:pt x="2" y="2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8" y="5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6" name="Freeform 264"/>
              <p:cNvSpPr>
                <a:spLocks/>
              </p:cNvSpPr>
              <p:nvPr/>
            </p:nvSpPr>
            <p:spPr bwMode="gray">
              <a:xfrm>
                <a:off x="7841780" y="3092451"/>
                <a:ext cx="3175" cy="9525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4 h 6"/>
                  <a:gd name="T4" fmla="*/ 2 w 2"/>
                  <a:gd name="T5" fmla="*/ 6 h 6"/>
                  <a:gd name="T6" fmla="*/ 2 w 2"/>
                  <a:gd name="T7" fmla="*/ 2 h 6"/>
                  <a:gd name="T8" fmla="*/ 2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7" name="Freeform 265"/>
              <p:cNvSpPr>
                <a:spLocks/>
              </p:cNvSpPr>
              <p:nvPr/>
            </p:nvSpPr>
            <p:spPr bwMode="gray">
              <a:xfrm>
                <a:off x="7933845" y="3098801"/>
                <a:ext cx="6349" cy="9525"/>
              </a:xfrm>
              <a:custGeom>
                <a:avLst/>
                <a:gdLst>
                  <a:gd name="T0" fmla="*/ 0 w 4"/>
                  <a:gd name="T1" fmla="*/ 0 h 6"/>
                  <a:gd name="T2" fmla="*/ 0 w 4"/>
                  <a:gd name="T3" fmla="*/ 2 h 6"/>
                  <a:gd name="T4" fmla="*/ 4 w 4"/>
                  <a:gd name="T5" fmla="*/ 6 h 6"/>
                  <a:gd name="T6" fmla="*/ 4 w 4"/>
                  <a:gd name="T7" fmla="*/ 4 h 6"/>
                  <a:gd name="T8" fmla="*/ 4 w 4"/>
                  <a:gd name="T9" fmla="*/ 2 h 6"/>
                  <a:gd name="T10" fmla="*/ 4 w 4"/>
                  <a:gd name="T11" fmla="*/ 0 h 6"/>
                  <a:gd name="T12" fmla="*/ 0 w 4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2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8" name="Freeform 266"/>
              <p:cNvSpPr>
                <a:spLocks/>
              </p:cNvSpPr>
              <p:nvPr/>
            </p:nvSpPr>
            <p:spPr bwMode="gray">
              <a:xfrm>
                <a:off x="7868765" y="3108326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2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69" name="Freeform 267"/>
              <p:cNvSpPr>
                <a:spLocks/>
              </p:cNvSpPr>
              <p:nvPr/>
            </p:nvSpPr>
            <p:spPr bwMode="gray">
              <a:xfrm>
                <a:off x="5530637" y="3502026"/>
                <a:ext cx="263496" cy="209550"/>
              </a:xfrm>
              <a:custGeom>
                <a:avLst/>
                <a:gdLst>
                  <a:gd name="T0" fmla="*/ 82 w 166"/>
                  <a:gd name="T1" fmla="*/ 9 h 132"/>
                  <a:gd name="T2" fmla="*/ 71 w 166"/>
                  <a:gd name="T3" fmla="*/ 5 h 132"/>
                  <a:gd name="T4" fmla="*/ 61 w 166"/>
                  <a:gd name="T5" fmla="*/ 3 h 132"/>
                  <a:gd name="T6" fmla="*/ 51 w 166"/>
                  <a:gd name="T7" fmla="*/ 0 h 132"/>
                  <a:gd name="T8" fmla="*/ 47 w 166"/>
                  <a:gd name="T9" fmla="*/ 5 h 132"/>
                  <a:gd name="T10" fmla="*/ 46 w 166"/>
                  <a:gd name="T11" fmla="*/ 19 h 132"/>
                  <a:gd name="T12" fmla="*/ 40 w 166"/>
                  <a:gd name="T13" fmla="*/ 30 h 132"/>
                  <a:gd name="T14" fmla="*/ 24 w 166"/>
                  <a:gd name="T15" fmla="*/ 36 h 132"/>
                  <a:gd name="T16" fmla="*/ 17 w 166"/>
                  <a:gd name="T17" fmla="*/ 36 h 132"/>
                  <a:gd name="T18" fmla="*/ 13 w 166"/>
                  <a:gd name="T19" fmla="*/ 46 h 132"/>
                  <a:gd name="T20" fmla="*/ 3 w 166"/>
                  <a:gd name="T21" fmla="*/ 48 h 132"/>
                  <a:gd name="T22" fmla="*/ 0 w 166"/>
                  <a:gd name="T23" fmla="*/ 63 h 132"/>
                  <a:gd name="T24" fmla="*/ 5 w 166"/>
                  <a:gd name="T25" fmla="*/ 69 h 132"/>
                  <a:gd name="T26" fmla="*/ 1 w 166"/>
                  <a:gd name="T27" fmla="*/ 78 h 132"/>
                  <a:gd name="T28" fmla="*/ 9 w 166"/>
                  <a:gd name="T29" fmla="*/ 90 h 132"/>
                  <a:gd name="T30" fmla="*/ 9 w 166"/>
                  <a:gd name="T31" fmla="*/ 101 h 132"/>
                  <a:gd name="T32" fmla="*/ 24 w 166"/>
                  <a:gd name="T33" fmla="*/ 105 h 132"/>
                  <a:gd name="T34" fmla="*/ 11 w 166"/>
                  <a:gd name="T35" fmla="*/ 124 h 132"/>
                  <a:gd name="T36" fmla="*/ 28 w 166"/>
                  <a:gd name="T37" fmla="*/ 130 h 132"/>
                  <a:gd name="T38" fmla="*/ 44 w 166"/>
                  <a:gd name="T39" fmla="*/ 130 h 132"/>
                  <a:gd name="T40" fmla="*/ 51 w 166"/>
                  <a:gd name="T41" fmla="*/ 126 h 132"/>
                  <a:gd name="T42" fmla="*/ 59 w 166"/>
                  <a:gd name="T43" fmla="*/ 120 h 132"/>
                  <a:gd name="T44" fmla="*/ 67 w 166"/>
                  <a:gd name="T45" fmla="*/ 111 h 132"/>
                  <a:gd name="T46" fmla="*/ 80 w 166"/>
                  <a:gd name="T47" fmla="*/ 101 h 132"/>
                  <a:gd name="T48" fmla="*/ 84 w 166"/>
                  <a:gd name="T49" fmla="*/ 97 h 132"/>
                  <a:gd name="T50" fmla="*/ 86 w 166"/>
                  <a:gd name="T51" fmla="*/ 88 h 132"/>
                  <a:gd name="T52" fmla="*/ 92 w 166"/>
                  <a:gd name="T53" fmla="*/ 86 h 132"/>
                  <a:gd name="T54" fmla="*/ 103 w 166"/>
                  <a:gd name="T55" fmla="*/ 88 h 132"/>
                  <a:gd name="T56" fmla="*/ 103 w 166"/>
                  <a:gd name="T57" fmla="*/ 76 h 132"/>
                  <a:gd name="T58" fmla="*/ 109 w 166"/>
                  <a:gd name="T59" fmla="*/ 65 h 132"/>
                  <a:gd name="T60" fmla="*/ 107 w 166"/>
                  <a:gd name="T61" fmla="*/ 55 h 132"/>
                  <a:gd name="T62" fmla="*/ 118 w 166"/>
                  <a:gd name="T63" fmla="*/ 55 h 132"/>
                  <a:gd name="T64" fmla="*/ 118 w 166"/>
                  <a:gd name="T65" fmla="*/ 44 h 132"/>
                  <a:gd name="T66" fmla="*/ 122 w 166"/>
                  <a:gd name="T67" fmla="*/ 32 h 132"/>
                  <a:gd name="T68" fmla="*/ 143 w 166"/>
                  <a:gd name="T69" fmla="*/ 23 h 132"/>
                  <a:gd name="T70" fmla="*/ 161 w 166"/>
                  <a:gd name="T71" fmla="*/ 19 h 132"/>
                  <a:gd name="T72" fmla="*/ 166 w 166"/>
                  <a:gd name="T73" fmla="*/ 17 h 132"/>
                  <a:gd name="T74" fmla="*/ 159 w 166"/>
                  <a:gd name="T75" fmla="*/ 13 h 132"/>
                  <a:gd name="T76" fmla="*/ 143 w 166"/>
                  <a:gd name="T77" fmla="*/ 11 h 132"/>
                  <a:gd name="T78" fmla="*/ 132 w 166"/>
                  <a:gd name="T79" fmla="*/ 17 h 132"/>
                  <a:gd name="T80" fmla="*/ 122 w 166"/>
                  <a:gd name="T81" fmla="*/ 26 h 132"/>
                  <a:gd name="T82" fmla="*/ 111 w 166"/>
                  <a:gd name="T83" fmla="*/ 23 h 132"/>
                  <a:gd name="T84" fmla="*/ 115 w 166"/>
                  <a:gd name="T85" fmla="*/ 9 h 132"/>
                  <a:gd name="T86" fmla="*/ 109 w 166"/>
                  <a:gd name="T87" fmla="*/ 1 h 132"/>
                  <a:gd name="T88" fmla="*/ 103 w 166"/>
                  <a:gd name="T89" fmla="*/ 3 h 132"/>
                  <a:gd name="T90" fmla="*/ 94 w 166"/>
                  <a:gd name="T91" fmla="*/ 7 h 132"/>
                  <a:gd name="T92" fmla="*/ 86 w 166"/>
                  <a:gd name="T93" fmla="*/ 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6" h="132">
                    <a:moveTo>
                      <a:pt x="86" y="7"/>
                    </a:moveTo>
                    <a:lnTo>
                      <a:pt x="82" y="9"/>
                    </a:lnTo>
                    <a:lnTo>
                      <a:pt x="76" y="9"/>
                    </a:lnTo>
                    <a:lnTo>
                      <a:pt x="71" y="5"/>
                    </a:lnTo>
                    <a:lnTo>
                      <a:pt x="67" y="3"/>
                    </a:lnTo>
                    <a:lnTo>
                      <a:pt x="61" y="3"/>
                    </a:lnTo>
                    <a:lnTo>
                      <a:pt x="57" y="1"/>
                    </a:lnTo>
                    <a:lnTo>
                      <a:pt x="51" y="0"/>
                    </a:lnTo>
                    <a:lnTo>
                      <a:pt x="49" y="3"/>
                    </a:lnTo>
                    <a:lnTo>
                      <a:pt x="47" y="5"/>
                    </a:lnTo>
                    <a:lnTo>
                      <a:pt x="47" y="13"/>
                    </a:lnTo>
                    <a:lnTo>
                      <a:pt x="46" y="19"/>
                    </a:lnTo>
                    <a:lnTo>
                      <a:pt x="38" y="26"/>
                    </a:lnTo>
                    <a:lnTo>
                      <a:pt x="40" y="30"/>
                    </a:lnTo>
                    <a:lnTo>
                      <a:pt x="30" y="38"/>
                    </a:lnTo>
                    <a:lnTo>
                      <a:pt x="24" y="36"/>
                    </a:lnTo>
                    <a:lnTo>
                      <a:pt x="23" y="38"/>
                    </a:lnTo>
                    <a:lnTo>
                      <a:pt x="17" y="36"/>
                    </a:lnTo>
                    <a:lnTo>
                      <a:pt x="13" y="42"/>
                    </a:lnTo>
                    <a:lnTo>
                      <a:pt x="13" y="46"/>
                    </a:lnTo>
                    <a:lnTo>
                      <a:pt x="7" y="46"/>
                    </a:lnTo>
                    <a:lnTo>
                      <a:pt x="3" y="48"/>
                    </a:lnTo>
                    <a:lnTo>
                      <a:pt x="1" y="53"/>
                    </a:lnTo>
                    <a:lnTo>
                      <a:pt x="0" y="63"/>
                    </a:lnTo>
                    <a:lnTo>
                      <a:pt x="1" y="65"/>
                    </a:lnTo>
                    <a:lnTo>
                      <a:pt x="5" y="69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5" y="84"/>
                    </a:lnTo>
                    <a:lnTo>
                      <a:pt x="9" y="90"/>
                    </a:lnTo>
                    <a:lnTo>
                      <a:pt x="9" y="97"/>
                    </a:lnTo>
                    <a:lnTo>
                      <a:pt x="9" y="101"/>
                    </a:lnTo>
                    <a:lnTo>
                      <a:pt x="21" y="101"/>
                    </a:lnTo>
                    <a:lnTo>
                      <a:pt x="24" y="105"/>
                    </a:lnTo>
                    <a:lnTo>
                      <a:pt x="24" y="109"/>
                    </a:lnTo>
                    <a:lnTo>
                      <a:pt x="11" y="124"/>
                    </a:lnTo>
                    <a:lnTo>
                      <a:pt x="23" y="132"/>
                    </a:lnTo>
                    <a:lnTo>
                      <a:pt x="28" y="130"/>
                    </a:lnTo>
                    <a:lnTo>
                      <a:pt x="32" y="130"/>
                    </a:lnTo>
                    <a:lnTo>
                      <a:pt x="44" y="130"/>
                    </a:lnTo>
                    <a:lnTo>
                      <a:pt x="49" y="132"/>
                    </a:lnTo>
                    <a:lnTo>
                      <a:pt x="51" y="126"/>
                    </a:lnTo>
                    <a:lnTo>
                      <a:pt x="59" y="126"/>
                    </a:lnTo>
                    <a:lnTo>
                      <a:pt x="59" y="120"/>
                    </a:lnTo>
                    <a:lnTo>
                      <a:pt x="61" y="115"/>
                    </a:lnTo>
                    <a:lnTo>
                      <a:pt x="67" y="111"/>
                    </a:lnTo>
                    <a:lnTo>
                      <a:pt x="76" y="99"/>
                    </a:lnTo>
                    <a:lnTo>
                      <a:pt x="80" y="101"/>
                    </a:lnTo>
                    <a:lnTo>
                      <a:pt x="82" y="99"/>
                    </a:lnTo>
                    <a:lnTo>
                      <a:pt x="84" y="97"/>
                    </a:lnTo>
                    <a:lnTo>
                      <a:pt x="80" y="92"/>
                    </a:lnTo>
                    <a:lnTo>
                      <a:pt x="86" y="88"/>
                    </a:lnTo>
                    <a:lnTo>
                      <a:pt x="90" y="84"/>
                    </a:lnTo>
                    <a:lnTo>
                      <a:pt x="92" y="86"/>
                    </a:lnTo>
                    <a:lnTo>
                      <a:pt x="97" y="88"/>
                    </a:lnTo>
                    <a:lnTo>
                      <a:pt x="103" y="88"/>
                    </a:lnTo>
                    <a:lnTo>
                      <a:pt x="103" y="82"/>
                    </a:lnTo>
                    <a:lnTo>
                      <a:pt x="103" y="76"/>
                    </a:lnTo>
                    <a:lnTo>
                      <a:pt x="109" y="73"/>
                    </a:lnTo>
                    <a:lnTo>
                      <a:pt x="109" y="65"/>
                    </a:lnTo>
                    <a:lnTo>
                      <a:pt x="105" y="61"/>
                    </a:lnTo>
                    <a:lnTo>
                      <a:pt x="107" y="55"/>
                    </a:lnTo>
                    <a:lnTo>
                      <a:pt x="113" y="57"/>
                    </a:lnTo>
                    <a:lnTo>
                      <a:pt x="118" y="55"/>
                    </a:lnTo>
                    <a:lnTo>
                      <a:pt x="120" y="48"/>
                    </a:lnTo>
                    <a:lnTo>
                      <a:pt x="118" y="44"/>
                    </a:lnTo>
                    <a:lnTo>
                      <a:pt x="122" y="40"/>
                    </a:lnTo>
                    <a:lnTo>
                      <a:pt x="122" y="32"/>
                    </a:lnTo>
                    <a:lnTo>
                      <a:pt x="136" y="25"/>
                    </a:lnTo>
                    <a:lnTo>
                      <a:pt x="143" y="23"/>
                    </a:lnTo>
                    <a:lnTo>
                      <a:pt x="153" y="19"/>
                    </a:lnTo>
                    <a:lnTo>
                      <a:pt x="161" y="19"/>
                    </a:lnTo>
                    <a:lnTo>
                      <a:pt x="165" y="19"/>
                    </a:lnTo>
                    <a:lnTo>
                      <a:pt x="166" y="17"/>
                    </a:lnTo>
                    <a:lnTo>
                      <a:pt x="166" y="11"/>
                    </a:lnTo>
                    <a:lnTo>
                      <a:pt x="159" y="13"/>
                    </a:lnTo>
                    <a:lnTo>
                      <a:pt x="149" y="11"/>
                    </a:lnTo>
                    <a:lnTo>
                      <a:pt x="143" y="11"/>
                    </a:lnTo>
                    <a:lnTo>
                      <a:pt x="136" y="17"/>
                    </a:lnTo>
                    <a:lnTo>
                      <a:pt x="132" y="17"/>
                    </a:lnTo>
                    <a:lnTo>
                      <a:pt x="128" y="23"/>
                    </a:lnTo>
                    <a:lnTo>
                      <a:pt x="122" y="26"/>
                    </a:lnTo>
                    <a:lnTo>
                      <a:pt x="117" y="28"/>
                    </a:lnTo>
                    <a:lnTo>
                      <a:pt x="111" y="23"/>
                    </a:lnTo>
                    <a:lnTo>
                      <a:pt x="113" y="15"/>
                    </a:lnTo>
                    <a:lnTo>
                      <a:pt x="115" y="9"/>
                    </a:lnTo>
                    <a:lnTo>
                      <a:pt x="111" y="5"/>
                    </a:lnTo>
                    <a:lnTo>
                      <a:pt x="109" y="1"/>
                    </a:lnTo>
                    <a:lnTo>
                      <a:pt x="105" y="0"/>
                    </a:lnTo>
                    <a:lnTo>
                      <a:pt x="103" y="3"/>
                    </a:lnTo>
                    <a:lnTo>
                      <a:pt x="99" y="5"/>
                    </a:lnTo>
                    <a:lnTo>
                      <a:pt x="94" y="7"/>
                    </a:lnTo>
                    <a:lnTo>
                      <a:pt x="90" y="7"/>
                    </a:lnTo>
                    <a:lnTo>
                      <a:pt x="86" y="7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0" name="Freeform 268"/>
              <p:cNvSpPr>
                <a:spLocks/>
              </p:cNvSpPr>
              <p:nvPr/>
            </p:nvSpPr>
            <p:spPr bwMode="gray">
              <a:xfrm>
                <a:off x="930574" y="2747964"/>
                <a:ext cx="57144" cy="33338"/>
              </a:xfrm>
              <a:custGeom>
                <a:avLst/>
                <a:gdLst>
                  <a:gd name="T0" fmla="*/ 15 w 36"/>
                  <a:gd name="T1" fmla="*/ 0 h 21"/>
                  <a:gd name="T2" fmla="*/ 15 w 36"/>
                  <a:gd name="T3" fmla="*/ 4 h 21"/>
                  <a:gd name="T4" fmla="*/ 7 w 36"/>
                  <a:gd name="T5" fmla="*/ 4 h 21"/>
                  <a:gd name="T6" fmla="*/ 2 w 36"/>
                  <a:gd name="T7" fmla="*/ 4 h 21"/>
                  <a:gd name="T8" fmla="*/ 0 w 36"/>
                  <a:gd name="T9" fmla="*/ 12 h 21"/>
                  <a:gd name="T10" fmla="*/ 7 w 36"/>
                  <a:gd name="T11" fmla="*/ 10 h 21"/>
                  <a:gd name="T12" fmla="*/ 15 w 36"/>
                  <a:gd name="T13" fmla="*/ 10 h 21"/>
                  <a:gd name="T14" fmla="*/ 21 w 36"/>
                  <a:gd name="T15" fmla="*/ 12 h 21"/>
                  <a:gd name="T16" fmla="*/ 28 w 36"/>
                  <a:gd name="T17" fmla="*/ 15 h 21"/>
                  <a:gd name="T18" fmla="*/ 28 w 36"/>
                  <a:gd name="T19" fmla="*/ 17 h 21"/>
                  <a:gd name="T20" fmla="*/ 30 w 36"/>
                  <a:gd name="T21" fmla="*/ 21 h 21"/>
                  <a:gd name="T22" fmla="*/ 32 w 36"/>
                  <a:gd name="T23" fmla="*/ 15 h 21"/>
                  <a:gd name="T24" fmla="*/ 36 w 36"/>
                  <a:gd name="T25" fmla="*/ 12 h 21"/>
                  <a:gd name="T26" fmla="*/ 30 w 36"/>
                  <a:gd name="T27" fmla="*/ 12 h 21"/>
                  <a:gd name="T28" fmla="*/ 26 w 36"/>
                  <a:gd name="T29" fmla="*/ 12 h 21"/>
                  <a:gd name="T30" fmla="*/ 21 w 36"/>
                  <a:gd name="T31" fmla="*/ 6 h 21"/>
                  <a:gd name="T32" fmla="*/ 15 w 36"/>
                  <a:gd name="T3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21">
                    <a:moveTo>
                      <a:pt x="15" y="0"/>
                    </a:moveTo>
                    <a:lnTo>
                      <a:pt x="15" y="4"/>
                    </a:lnTo>
                    <a:lnTo>
                      <a:pt x="7" y="4"/>
                    </a:lnTo>
                    <a:lnTo>
                      <a:pt x="2" y="4"/>
                    </a:lnTo>
                    <a:lnTo>
                      <a:pt x="0" y="12"/>
                    </a:lnTo>
                    <a:lnTo>
                      <a:pt x="7" y="10"/>
                    </a:lnTo>
                    <a:lnTo>
                      <a:pt x="15" y="10"/>
                    </a:lnTo>
                    <a:lnTo>
                      <a:pt x="21" y="12"/>
                    </a:lnTo>
                    <a:lnTo>
                      <a:pt x="28" y="15"/>
                    </a:lnTo>
                    <a:lnTo>
                      <a:pt x="28" y="17"/>
                    </a:lnTo>
                    <a:lnTo>
                      <a:pt x="30" y="21"/>
                    </a:lnTo>
                    <a:lnTo>
                      <a:pt x="32" y="15"/>
                    </a:lnTo>
                    <a:lnTo>
                      <a:pt x="36" y="12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1" y="6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1" name="Freeform 269"/>
              <p:cNvSpPr>
                <a:spLocks/>
              </p:cNvSpPr>
              <p:nvPr/>
            </p:nvSpPr>
            <p:spPr bwMode="gray">
              <a:xfrm>
                <a:off x="1017877" y="2867026"/>
                <a:ext cx="33334" cy="17463"/>
              </a:xfrm>
              <a:custGeom>
                <a:avLst/>
                <a:gdLst>
                  <a:gd name="T0" fmla="*/ 14 w 21"/>
                  <a:gd name="T1" fmla="*/ 0 h 11"/>
                  <a:gd name="T2" fmla="*/ 10 w 21"/>
                  <a:gd name="T3" fmla="*/ 4 h 11"/>
                  <a:gd name="T4" fmla="*/ 6 w 21"/>
                  <a:gd name="T5" fmla="*/ 4 h 11"/>
                  <a:gd name="T6" fmla="*/ 4 w 21"/>
                  <a:gd name="T7" fmla="*/ 2 h 11"/>
                  <a:gd name="T8" fmla="*/ 2 w 21"/>
                  <a:gd name="T9" fmla="*/ 4 h 11"/>
                  <a:gd name="T10" fmla="*/ 0 w 21"/>
                  <a:gd name="T11" fmla="*/ 6 h 11"/>
                  <a:gd name="T12" fmla="*/ 4 w 21"/>
                  <a:gd name="T13" fmla="*/ 9 h 11"/>
                  <a:gd name="T14" fmla="*/ 12 w 21"/>
                  <a:gd name="T15" fmla="*/ 11 h 11"/>
                  <a:gd name="T16" fmla="*/ 18 w 21"/>
                  <a:gd name="T17" fmla="*/ 9 h 11"/>
                  <a:gd name="T18" fmla="*/ 21 w 21"/>
                  <a:gd name="T19" fmla="*/ 6 h 11"/>
                  <a:gd name="T20" fmla="*/ 21 w 21"/>
                  <a:gd name="T21" fmla="*/ 4 h 11"/>
                  <a:gd name="T22" fmla="*/ 19 w 21"/>
                  <a:gd name="T23" fmla="*/ 2 h 11"/>
                  <a:gd name="T24" fmla="*/ 18 w 21"/>
                  <a:gd name="T25" fmla="*/ 0 h 11"/>
                  <a:gd name="T26" fmla="*/ 14 w 21"/>
                  <a:gd name="T2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11">
                    <a:moveTo>
                      <a:pt x="14" y="0"/>
                    </a:moveTo>
                    <a:lnTo>
                      <a:pt x="10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4" y="9"/>
                    </a:lnTo>
                    <a:lnTo>
                      <a:pt x="12" y="11"/>
                    </a:lnTo>
                    <a:lnTo>
                      <a:pt x="18" y="9"/>
                    </a:lnTo>
                    <a:lnTo>
                      <a:pt x="21" y="6"/>
                    </a:lnTo>
                    <a:lnTo>
                      <a:pt x="21" y="4"/>
                    </a:lnTo>
                    <a:lnTo>
                      <a:pt x="19" y="2"/>
                    </a:lnTo>
                    <a:lnTo>
                      <a:pt x="18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2" name="Freeform 270"/>
              <p:cNvSpPr>
                <a:spLocks/>
              </p:cNvSpPr>
              <p:nvPr/>
            </p:nvSpPr>
            <p:spPr bwMode="gray">
              <a:xfrm>
                <a:off x="1411533" y="2870201"/>
                <a:ext cx="9524" cy="11113"/>
              </a:xfrm>
              <a:custGeom>
                <a:avLst/>
                <a:gdLst>
                  <a:gd name="T0" fmla="*/ 4 w 6"/>
                  <a:gd name="T1" fmla="*/ 0 h 7"/>
                  <a:gd name="T2" fmla="*/ 0 w 6"/>
                  <a:gd name="T3" fmla="*/ 6 h 7"/>
                  <a:gd name="T4" fmla="*/ 0 w 6"/>
                  <a:gd name="T5" fmla="*/ 7 h 7"/>
                  <a:gd name="T6" fmla="*/ 2 w 6"/>
                  <a:gd name="T7" fmla="*/ 7 h 7"/>
                  <a:gd name="T8" fmla="*/ 6 w 6"/>
                  <a:gd name="T9" fmla="*/ 6 h 7"/>
                  <a:gd name="T10" fmla="*/ 4 w 6"/>
                  <a:gd name="T11" fmla="*/ 2 h 7"/>
                  <a:gd name="T12" fmla="*/ 4 w 6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0" y="6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6" y="6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3" name="Freeform 271"/>
              <p:cNvSpPr>
                <a:spLocks/>
              </p:cNvSpPr>
              <p:nvPr/>
            </p:nvSpPr>
            <p:spPr bwMode="gray">
              <a:xfrm>
                <a:off x="1657568" y="2855914"/>
                <a:ext cx="6349" cy="6350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2 h 4"/>
                  <a:gd name="T4" fmla="*/ 2 w 4"/>
                  <a:gd name="T5" fmla="*/ 4 h 4"/>
                  <a:gd name="T6" fmla="*/ 0 w 4"/>
                  <a:gd name="T7" fmla="*/ 0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4" name="Freeform 272"/>
              <p:cNvSpPr>
                <a:spLocks/>
              </p:cNvSpPr>
              <p:nvPr/>
            </p:nvSpPr>
            <p:spPr bwMode="gray">
              <a:xfrm>
                <a:off x="1633758" y="2863851"/>
                <a:ext cx="12699" cy="12700"/>
              </a:xfrm>
              <a:custGeom>
                <a:avLst/>
                <a:gdLst>
                  <a:gd name="T0" fmla="*/ 4 w 8"/>
                  <a:gd name="T1" fmla="*/ 0 h 8"/>
                  <a:gd name="T2" fmla="*/ 6 w 8"/>
                  <a:gd name="T3" fmla="*/ 2 h 8"/>
                  <a:gd name="T4" fmla="*/ 8 w 8"/>
                  <a:gd name="T5" fmla="*/ 4 h 8"/>
                  <a:gd name="T6" fmla="*/ 8 w 8"/>
                  <a:gd name="T7" fmla="*/ 6 h 8"/>
                  <a:gd name="T8" fmla="*/ 2 w 8"/>
                  <a:gd name="T9" fmla="*/ 8 h 8"/>
                  <a:gd name="T10" fmla="*/ 0 w 8"/>
                  <a:gd name="T11" fmla="*/ 2 h 8"/>
                  <a:gd name="T12" fmla="*/ 4 w 8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4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5" name="Freeform 273"/>
              <p:cNvSpPr>
                <a:spLocks/>
              </p:cNvSpPr>
              <p:nvPr/>
            </p:nvSpPr>
            <p:spPr bwMode="gray">
              <a:xfrm>
                <a:off x="1295658" y="2927351"/>
                <a:ext cx="20635" cy="19050"/>
              </a:xfrm>
              <a:custGeom>
                <a:avLst/>
                <a:gdLst>
                  <a:gd name="T0" fmla="*/ 6 w 13"/>
                  <a:gd name="T1" fmla="*/ 0 h 12"/>
                  <a:gd name="T2" fmla="*/ 4 w 13"/>
                  <a:gd name="T3" fmla="*/ 6 h 12"/>
                  <a:gd name="T4" fmla="*/ 4 w 13"/>
                  <a:gd name="T5" fmla="*/ 8 h 12"/>
                  <a:gd name="T6" fmla="*/ 2 w 13"/>
                  <a:gd name="T7" fmla="*/ 10 h 12"/>
                  <a:gd name="T8" fmla="*/ 0 w 13"/>
                  <a:gd name="T9" fmla="*/ 12 h 12"/>
                  <a:gd name="T10" fmla="*/ 0 w 13"/>
                  <a:gd name="T11" fmla="*/ 12 h 12"/>
                  <a:gd name="T12" fmla="*/ 4 w 13"/>
                  <a:gd name="T13" fmla="*/ 12 h 12"/>
                  <a:gd name="T14" fmla="*/ 8 w 13"/>
                  <a:gd name="T15" fmla="*/ 8 h 12"/>
                  <a:gd name="T16" fmla="*/ 13 w 13"/>
                  <a:gd name="T17" fmla="*/ 6 h 12"/>
                  <a:gd name="T18" fmla="*/ 6 w 13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2">
                    <a:moveTo>
                      <a:pt x="6" y="0"/>
                    </a:moveTo>
                    <a:lnTo>
                      <a:pt x="4" y="6"/>
                    </a:lnTo>
                    <a:lnTo>
                      <a:pt x="4" y="8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3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6" name="Freeform 274"/>
              <p:cNvSpPr>
                <a:spLocks/>
              </p:cNvSpPr>
              <p:nvPr/>
            </p:nvSpPr>
            <p:spPr bwMode="gray">
              <a:xfrm>
                <a:off x="1673441" y="2892426"/>
                <a:ext cx="17461" cy="36513"/>
              </a:xfrm>
              <a:custGeom>
                <a:avLst/>
                <a:gdLst>
                  <a:gd name="T0" fmla="*/ 0 w 11"/>
                  <a:gd name="T1" fmla="*/ 0 h 23"/>
                  <a:gd name="T2" fmla="*/ 2 w 11"/>
                  <a:gd name="T3" fmla="*/ 11 h 23"/>
                  <a:gd name="T4" fmla="*/ 6 w 11"/>
                  <a:gd name="T5" fmla="*/ 23 h 23"/>
                  <a:gd name="T6" fmla="*/ 8 w 11"/>
                  <a:gd name="T7" fmla="*/ 21 h 23"/>
                  <a:gd name="T8" fmla="*/ 11 w 11"/>
                  <a:gd name="T9" fmla="*/ 21 h 23"/>
                  <a:gd name="T10" fmla="*/ 11 w 11"/>
                  <a:gd name="T11" fmla="*/ 15 h 23"/>
                  <a:gd name="T12" fmla="*/ 9 w 11"/>
                  <a:gd name="T13" fmla="*/ 9 h 23"/>
                  <a:gd name="T14" fmla="*/ 9 w 11"/>
                  <a:gd name="T15" fmla="*/ 4 h 23"/>
                  <a:gd name="T16" fmla="*/ 8 w 11"/>
                  <a:gd name="T17" fmla="*/ 2 h 23"/>
                  <a:gd name="T18" fmla="*/ 2 w 11"/>
                  <a:gd name="T19" fmla="*/ 0 h 23"/>
                  <a:gd name="T20" fmla="*/ 0 w 11"/>
                  <a:gd name="T21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23">
                    <a:moveTo>
                      <a:pt x="0" y="0"/>
                    </a:moveTo>
                    <a:lnTo>
                      <a:pt x="2" y="11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1" y="21"/>
                    </a:lnTo>
                    <a:lnTo>
                      <a:pt x="11" y="15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8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7" name="Freeform 275"/>
              <p:cNvSpPr>
                <a:spLocks/>
              </p:cNvSpPr>
              <p:nvPr/>
            </p:nvSpPr>
            <p:spPr bwMode="gray">
              <a:xfrm>
                <a:off x="1265499" y="2949576"/>
                <a:ext cx="50794" cy="33338"/>
              </a:xfrm>
              <a:custGeom>
                <a:avLst/>
                <a:gdLst>
                  <a:gd name="T0" fmla="*/ 21 w 32"/>
                  <a:gd name="T1" fmla="*/ 0 h 21"/>
                  <a:gd name="T2" fmla="*/ 21 w 32"/>
                  <a:gd name="T3" fmla="*/ 4 h 21"/>
                  <a:gd name="T4" fmla="*/ 13 w 32"/>
                  <a:gd name="T5" fmla="*/ 2 h 21"/>
                  <a:gd name="T6" fmla="*/ 9 w 32"/>
                  <a:gd name="T7" fmla="*/ 2 h 21"/>
                  <a:gd name="T8" fmla="*/ 9 w 32"/>
                  <a:gd name="T9" fmla="*/ 4 h 21"/>
                  <a:gd name="T10" fmla="*/ 11 w 32"/>
                  <a:gd name="T11" fmla="*/ 7 h 21"/>
                  <a:gd name="T12" fmla="*/ 5 w 32"/>
                  <a:gd name="T13" fmla="*/ 7 h 21"/>
                  <a:gd name="T14" fmla="*/ 0 w 32"/>
                  <a:gd name="T15" fmla="*/ 9 h 21"/>
                  <a:gd name="T16" fmla="*/ 0 w 32"/>
                  <a:gd name="T17" fmla="*/ 15 h 21"/>
                  <a:gd name="T18" fmla="*/ 2 w 32"/>
                  <a:gd name="T19" fmla="*/ 19 h 21"/>
                  <a:gd name="T20" fmla="*/ 5 w 32"/>
                  <a:gd name="T21" fmla="*/ 17 h 21"/>
                  <a:gd name="T22" fmla="*/ 9 w 32"/>
                  <a:gd name="T23" fmla="*/ 17 h 21"/>
                  <a:gd name="T24" fmla="*/ 11 w 32"/>
                  <a:gd name="T25" fmla="*/ 19 h 21"/>
                  <a:gd name="T26" fmla="*/ 15 w 32"/>
                  <a:gd name="T27" fmla="*/ 21 h 21"/>
                  <a:gd name="T28" fmla="*/ 15 w 32"/>
                  <a:gd name="T29" fmla="*/ 19 h 21"/>
                  <a:gd name="T30" fmla="*/ 21 w 32"/>
                  <a:gd name="T31" fmla="*/ 17 h 21"/>
                  <a:gd name="T32" fmla="*/ 19 w 32"/>
                  <a:gd name="T33" fmla="*/ 19 h 21"/>
                  <a:gd name="T34" fmla="*/ 23 w 32"/>
                  <a:gd name="T35" fmla="*/ 21 h 21"/>
                  <a:gd name="T36" fmla="*/ 21 w 32"/>
                  <a:gd name="T37" fmla="*/ 17 h 21"/>
                  <a:gd name="T38" fmla="*/ 21 w 32"/>
                  <a:gd name="T39" fmla="*/ 15 h 21"/>
                  <a:gd name="T40" fmla="*/ 25 w 32"/>
                  <a:gd name="T41" fmla="*/ 15 h 21"/>
                  <a:gd name="T42" fmla="*/ 28 w 32"/>
                  <a:gd name="T43" fmla="*/ 15 h 21"/>
                  <a:gd name="T44" fmla="*/ 25 w 32"/>
                  <a:gd name="T45" fmla="*/ 13 h 21"/>
                  <a:gd name="T46" fmla="*/ 25 w 32"/>
                  <a:gd name="T47" fmla="*/ 11 h 21"/>
                  <a:gd name="T48" fmla="*/ 27 w 32"/>
                  <a:gd name="T49" fmla="*/ 11 h 21"/>
                  <a:gd name="T50" fmla="*/ 32 w 32"/>
                  <a:gd name="T51" fmla="*/ 11 h 21"/>
                  <a:gd name="T52" fmla="*/ 27 w 32"/>
                  <a:gd name="T53" fmla="*/ 5 h 21"/>
                  <a:gd name="T54" fmla="*/ 21 w 32"/>
                  <a:gd name="T55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2" h="21">
                    <a:moveTo>
                      <a:pt x="21" y="0"/>
                    </a:moveTo>
                    <a:lnTo>
                      <a:pt x="21" y="4"/>
                    </a:lnTo>
                    <a:lnTo>
                      <a:pt x="13" y="2"/>
                    </a:lnTo>
                    <a:lnTo>
                      <a:pt x="9" y="2"/>
                    </a:lnTo>
                    <a:lnTo>
                      <a:pt x="9" y="4"/>
                    </a:lnTo>
                    <a:lnTo>
                      <a:pt x="11" y="7"/>
                    </a:lnTo>
                    <a:lnTo>
                      <a:pt x="5" y="7"/>
                    </a:lnTo>
                    <a:lnTo>
                      <a:pt x="0" y="9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21" y="17"/>
                    </a:lnTo>
                    <a:lnTo>
                      <a:pt x="19" y="19"/>
                    </a:lnTo>
                    <a:lnTo>
                      <a:pt x="23" y="21"/>
                    </a:lnTo>
                    <a:lnTo>
                      <a:pt x="21" y="17"/>
                    </a:lnTo>
                    <a:lnTo>
                      <a:pt x="21" y="15"/>
                    </a:lnTo>
                    <a:lnTo>
                      <a:pt x="25" y="15"/>
                    </a:lnTo>
                    <a:lnTo>
                      <a:pt x="28" y="15"/>
                    </a:lnTo>
                    <a:lnTo>
                      <a:pt x="25" y="13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32" y="11"/>
                    </a:lnTo>
                    <a:lnTo>
                      <a:pt x="27" y="5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8" name="Freeform 276"/>
              <p:cNvSpPr>
                <a:spLocks/>
              </p:cNvSpPr>
              <p:nvPr/>
            </p:nvSpPr>
            <p:spPr bwMode="gray">
              <a:xfrm>
                <a:off x="1697251" y="2955926"/>
                <a:ext cx="46032" cy="52388"/>
              </a:xfrm>
              <a:custGeom>
                <a:avLst/>
                <a:gdLst>
                  <a:gd name="T0" fmla="*/ 2 w 29"/>
                  <a:gd name="T1" fmla="*/ 0 h 33"/>
                  <a:gd name="T2" fmla="*/ 0 w 29"/>
                  <a:gd name="T3" fmla="*/ 4 h 33"/>
                  <a:gd name="T4" fmla="*/ 2 w 29"/>
                  <a:gd name="T5" fmla="*/ 8 h 33"/>
                  <a:gd name="T6" fmla="*/ 4 w 29"/>
                  <a:gd name="T7" fmla="*/ 8 h 33"/>
                  <a:gd name="T8" fmla="*/ 8 w 29"/>
                  <a:gd name="T9" fmla="*/ 8 h 33"/>
                  <a:gd name="T10" fmla="*/ 6 w 29"/>
                  <a:gd name="T11" fmla="*/ 10 h 33"/>
                  <a:gd name="T12" fmla="*/ 8 w 29"/>
                  <a:gd name="T13" fmla="*/ 14 h 33"/>
                  <a:gd name="T14" fmla="*/ 10 w 29"/>
                  <a:gd name="T15" fmla="*/ 12 h 33"/>
                  <a:gd name="T16" fmla="*/ 12 w 29"/>
                  <a:gd name="T17" fmla="*/ 12 h 33"/>
                  <a:gd name="T18" fmla="*/ 12 w 29"/>
                  <a:gd name="T19" fmla="*/ 15 h 33"/>
                  <a:gd name="T20" fmla="*/ 12 w 29"/>
                  <a:gd name="T21" fmla="*/ 19 h 33"/>
                  <a:gd name="T22" fmla="*/ 17 w 29"/>
                  <a:gd name="T23" fmla="*/ 21 h 33"/>
                  <a:gd name="T24" fmla="*/ 23 w 29"/>
                  <a:gd name="T25" fmla="*/ 25 h 33"/>
                  <a:gd name="T26" fmla="*/ 23 w 29"/>
                  <a:gd name="T27" fmla="*/ 29 h 33"/>
                  <a:gd name="T28" fmla="*/ 23 w 29"/>
                  <a:gd name="T29" fmla="*/ 33 h 33"/>
                  <a:gd name="T30" fmla="*/ 25 w 29"/>
                  <a:gd name="T31" fmla="*/ 33 h 33"/>
                  <a:gd name="T32" fmla="*/ 29 w 29"/>
                  <a:gd name="T33" fmla="*/ 33 h 33"/>
                  <a:gd name="T34" fmla="*/ 25 w 29"/>
                  <a:gd name="T35" fmla="*/ 27 h 33"/>
                  <a:gd name="T36" fmla="*/ 25 w 29"/>
                  <a:gd name="T37" fmla="*/ 21 h 33"/>
                  <a:gd name="T38" fmla="*/ 27 w 29"/>
                  <a:gd name="T39" fmla="*/ 19 h 33"/>
                  <a:gd name="T40" fmla="*/ 27 w 29"/>
                  <a:gd name="T41" fmla="*/ 17 h 33"/>
                  <a:gd name="T42" fmla="*/ 23 w 29"/>
                  <a:gd name="T43" fmla="*/ 17 h 33"/>
                  <a:gd name="T44" fmla="*/ 21 w 29"/>
                  <a:gd name="T45" fmla="*/ 17 h 33"/>
                  <a:gd name="T46" fmla="*/ 19 w 29"/>
                  <a:gd name="T47" fmla="*/ 15 h 33"/>
                  <a:gd name="T48" fmla="*/ 17 w 29"/>
                  <a:gd name="T49" fmla="*/ 14 h 33"/>
                  <a:gd name="T50" fmla="*/ 17 w 29"/>
                  <a:gd name="T51" fmla="*/ 10 h 33"/>
                  <a:gd name="T52" fmla="*/ 19 w 29"/>
                  <a:gd name="T53" fmla="*/ 8 h 33"/>
                  <a:gd name="T54" fmla="*/ 19 w 29"/>
                  <a:gd name="T55" fmla="*/ 4 h 33"/>
                  <a:gd name="T56" fmla="*/ 14 w 29"/>
                  <a:gd name="T57" fmla="*/ 2 h 33"/>
                  <a:gd name="T58" fmla="*/ 12 w 29"/>
                  <a:gd name="T59" fmla="*/ 0 h 33"/>
                  <a:gd name="T60" fmla="*/ 14 w 29"/>
                  <a:gd name="T61" fmla="*/ 4 h 33"/>
                  <a:gd name="T62" fmla="*/ 16 w 29"/>
                  <a:gd name="T63" fmla="*/ 4 h 33"/>
                  <a:gd name="T64" fmla="*/ 16 w 29"/>
                  <a:gd name="T65" fmla="*/ 6 h 33"/>
                  <a:gd name="T66" fmla="*/ 14 w 29"/>
                  <a:gd name="T67" fmla="*/ 6 h 33"/>
                  <a:gd name="T68" fmla="*/ 8 w 29"/>
                  <a:gd name="T69" fmla="*/ 2 h 33"/>
                  <a:gd name="T70" fmla="*/ 2 w 29"/>
                  <a:gd name="T7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" h="33">
                    <a:moveTo>
                      <a:pt x="2" y="0"/>
                    </a:moveTo>
                    <a:lnTo>
                      <a:pt x="0" y="4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5"/>
                    </a:lnTo>
                    <a:lnTo>
                      <a:pt x="12" y="19"/>
                    </a:lnTo>
                    <a:lnTo>
                      <a:pt x="17" y="21"/>
                    </a:lnTo>
                    <a:lnTo>
                      <a:pt x="23" y="25"/>
                    </a:lnTo>
                    <a:lnTo>
                      <a:pt x="23" y="29"/>
                    </a:lnTo>
                    <a:lnTo>
                      <a:pt x="23" y="33"/>
                    </a:lnTo>
                    <a:lnTo>
                      <a:pt x="25" y="33"/>
                    </a:lnTo>
                    <a:lnTo>
                      <a:pt x="29" y="33"/>
                    </a:lnTo>
                    <a:lnTo>
                      <a:pt x="25" y="27"/>
                    </a:lnTo>
                    <a:lnTo>
                      <a:pt x="25" y="21"/>
                    </a:lnTo>
                    <a:lnTo>
                      <a:pt x="27" y="19"/>
                    </a:lnTo>
                    <a:lnTo>
                      <a:pt x="27" y="17"/>
                    </a:lnTo>
                    <a:lnTo>
                      <a:pt x="23" y="17"/>
                    </a:lnTo>
                    <a:lnTo>
                      <a:pt x="21" y="17"/>
                    </a:lnTo>
                    <a:lnTo>
                      <a:pt x="19" y="15"/>
                    </a:lnTo>
                    <a:lnTo>
                      <a:pt x="17" y="14"/>
                    </a:lnTo>
                    <a:lnTo>
                      <a:pt x="17" y="10"/>
                    </a:lnTo>
                    <a:lnTo>
                      <a:pt x="19" y="8"/>
                    </a:lnTo>
                    <a:lnTo>
                      <a:pt x="19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8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79" name="Freeform 277"/>
              <p:cNvSpPr>
                <a:spLocks/>
              </p:cNvSpPr>
              <p:nvPr/>
            </p:nvSpPr>
            <p:spPr bwMode="gray">
              <a:xfrm>
                <a:off x="1146450" y="3033714"/>
                <a:ext cx="6349" cy="6350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4 h 4"/>
                  <a:gd name="T4" fmla="*/ 4 w 4"/>
                  <a:gd name="T5" fmla="*/ 4 h 4"/>
                  <a:gd name="T6" fmla="*/ 2 w 4"/>
                  <a:gd name="T7" fmla="*/ 2 h 4"/>
                  <a:gd name="T8" fmla="*/ 2 w 4"/>
                  <a:gd name="T9" fmla="*/ 0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0" name="Freeform 278"/>
              <p:cNvSpPr>
                <a:spLocks/>
              </p:cNvSpPr>
              <p:nvPr/>
            </p:nvSpPr>
            <p:spPr bwMode="gray">
              <a:xfrm>
                <a:off x="1159149" y="3043239"/>
                <a:ext cx="4762" cy="6350"/>
              </a:xfrm>
              <a:custGeom>
                <a:avLst/>
                <a:gdLst>
                  <a:gd name="T0" fmla="*/ 1 w 3"/>
                  <a:gd name="T1" fmla="*/ 0 h 4"/>
                  <a:gd name="T2" fmla="*/ 0 w 3"/>
                  <a:gd name="T3" fmla="*/ 0 h 4"/>
                  <a:gd name="T4" fmla="*/ 0 w 3"/>
                  <a:gd name="T5" fmla="*/ 2 h 4"/>
                  <a:gd name="T6" fmla="*/ 0 w 3"/>
                  <a:gd name="T7" fmla="*/ 4 h 4"/>
                  <a:gd name="T8" fmla="*/ 3 w 3"/>
                  <a:gd name="T9" fmla="*/ 4 h 4"/>
                  <a:gd name="T10" fmla="*/ 3 w 3"/>
                  <a:gd name="T11" fmla="*/ 0 h 4"/>
                  <a:gd name="T12" fmla="*/ 1 w 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3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1" name="Freeform 279"/>
              <p:cNvSpPr>
                <a:spLocks/>
              </p:cNvSpPr>
              <p:nvPr/>
            </p:nvSpPr>
            <p:spPr bwMode="gray">
              <a:xfrm>
                <a:off x="1060735" y="3046414"/>
                <a:ext cx="33334" cy="22225"/>
              </a:xfrm>
              <a:custGeom>
                <a:avLst/>
                <a:gdLst>
                  <a:gd name="T0" fmla="*/ 14 w 21"/>
                  <a:gd name="T1" fmla="*/ 0 h 14"/>
                  <a:gd name="T2" fmla="*/ 8 w 21"/>
                  <a:gd name="T3" fmla="*/ 2 h 14"/>
                  <a:gd name="T4" fmla="*/ 2 w 21"/>
                  <a:gd name="T5" fmla="*/ 8 h 14"/>
                  <a:gd name="T6" fmla="*/ 0 w 21"/>
                  <a:gd name="T7" fmla="*/ 10 h 14"/>
                  <a:gd name="T8" fmla="*/ 0 w 21"/>
                  <a:gd name="T9" fmla="*/ 12 h 14"/>
                  <a:gd name="T10" fmla="*/ 0 w 21"/>
                  <a:gd name="T11" fmla="*/ 14 h 14"/>
                  <a:gd name="T12" fmla="*/ 4 w 21"/>
                  <a:gd name="T13" fmla="*/ 14 h 14"/>
                  <a:gd name="T14" fmla="*/ 6 w 21"/>
                  <a:gd name="T15" fmla="*/ 10 h 14"/>
                  <a:gd name="T16" fmla="*/ 10 w 21"/>
                  <a:gd name="T17" fmla="*/ 8 h 14"/>
                  <a:gd name="T18" fmla="*/ 15 w 21"/>
                  <a:gd name="T19" fmla="*/ 8 h 14"/>
                  <a:gd name="T20" fmla="*/ 19 w 21"/>
                  <a:gd name="T21" fmla="*/ 6 h 14"/>
                  <a:gd name="T22" fmla="*/ 19 w 21"/>
                  <a:gd name="T23" fmla="*/ 6 h 14"/>
                  <a:gd name="T24" fmla="*/ 21 w 21"/>
                  <a:gd name="T25" fmla="*/ 4 h 14"/>
                  <a:gd name="T26" fmla="*/ 19 w 21"/>
                  <a:gd name="T27" fmla="*/ 2 h 14"/>
                  <a:gd name="T28" fmla="*/ 15 w 21"/>
                  <a:gd name="T29" fmla="*/ 0 h 14"/>
                  <a:gd name="T30" fmla="*/ 14 w 21"/>
                  <a:gd name="T3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" h="14">
                    <a:moveTo>
                      <a:pt x="14" y="0"/>
                    </a:moveTo>
                    <a:lnTo>
                      <a:pt x="8" y="2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6" y="10"/>
                    </a:lnTo>
                    <a:lnTo>
                      <a:pt x="10" y="8"/>
                    </a:lnTo>
                    <a:lnTo>
                      <a:pt x="15" y="8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21" y="4"/>
                    </a:lnTo>
                    <a:lnTo>
                      <a:pt x="19" y="2"/>
                    </a:lnTo>
                    <a:lnTo>
                      <a:pt x="15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2" name="Freeform 280"/>
              <p:cNvSpPr>
                <a:spLocks/>
              </p:cNvSpPr>
              <p:nvPr/>
            </p:nvSpPr>
            <p:spPr bwMode="gray">
              <a:xfrm>
                <a:off x="1106767" y="3049589"/>
                <a:ext cx="6349" cy="6350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4 w 4"/>
                  <a:gd name="T9" fmla="*/ 2 h 4"/>
                  <a:gd name="T10" fmla="*/ 4 w 4"/>
                  <a:gd name="T11" fmla="*/ 0 h 4"/>
                  <a:gd name="T12" fmla="*/ 2 w 4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3" name="Freeform 281"/>
              <p:cNvSpPr>
                <a:spLocks/>
              </p:cNvSpPr>
              <p:nvPr/>
            </p:nvSpPr>
            <p:spPr bwMode="gray">
              <a:xfrm>
                <a:off x="1654393" y="2913064"/>
                <a:ext cx="12699" cy="6350"/>
              </a:xfrm>
              <a:custGeom>
                <a:avLst/>
                <a:gdLst>
                  <a:gd name="T0" fmla="*/ 4 w 8"/>
                  <a:gd name="T1" fmla="*/ 0 h 4"/>
                  <a:gd name="T2" fmla="*/ 6 w 8"/>
                  <a:gd name="T3" fmla="*/ 2 h 4"/>
                  <a:gd name="T4" fmla="*/ 8 w 8"/>
                  <a:gd name="T5" fmla="*/ 4 h 4"/>
                  <a:gd name="T6" fmla="*/ 6 w 8"/>
                  <a:gd name="T7" fmla="*/ 2 h 4"/>
                  <a:gd name="T8" fmla="*/ 2 w 8"/>
                  <a:gd name="T9" fmla="*/ 2 h 4"/>
                  <a:gd name="T10" fmla="*/ 0 w 8"/>
                  <a:gd name="T11" fmla="*/ 0 h 4"/>
                  <a:gd name="T12" fmla="*/ 4 w 8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4" y="0"/>
                    </a:moveTo>
                    <a:lnTo>
                      <a:pt x="6" y="2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4" name="Freeform 282"/>
              <p:cNvSpPr>
                <a:spLocks/>
              </p:cNvSpPr>
              <p:nvPr/>
            </p:nvSpPr>
            <p:spPr bwMode="gray">
              <a:xfrm>
                <a:off x="1651219" y="2925764"/>
                <a:ext cx="3175" cy="6350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2 w 2"/>
                  <a:gd name="T5" fmla="*/ 0 h 4"/>
                  <a:gd name="T6" fmla="*/ 0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5" name="Freeform 283"/>
              <p:cNvSpPr>
                <a:spLocks/>
              </p:cNvSpPr>
              <p:nvPr/>
            </p:nvSpPr>
            <p:spPr bwMode="gray">
              <a:xfrm>
                <a:off x="1003591" y="3086101"/>
                <a:ext cx="26984" cy="20638"/>
              </a:xfrm>
              <a:custGeom>
                <a:avLst/>
                <a:gdLst>
                  <a:gd name="T0" fmla="*/ 11 w 17"/>
                  <a:gd name="T1" fmla="*/ 0 h 13"/>
                  <a:gd name="T2" fmla="*/ 11 w 17"/>
                  <a:gd name="T3" fmla="*/ 4 h 13"/>
                  <a:gd name="T4" fmla="*/ 7 w 17"/>
                  <a:gd name="T5" fmla="*/ 6 h 13"/>
                  <a:gd name="T6" fmla="*/ 2 w 17"/>
                  <a:gd name="T7" fmla="*/ 12 h 13"/>
                  <a:gd name="T8" fmla="*/ 0 w 17"/>
                  <a:gd name="T9" fmla="*/ 13 h 13"/>
                  <a:gd name="T10" fmla="*/ 0 w 17"/>
                  <a:gd name="T11" fmla="*/ 13 h 13"/>
                  <a:gd name="T12" fmla="*/ 3 w 17"/>
                  <a:gd name="T13" fmla="*/ 13 h 13"/>
                  <a:gd name="T14" fmla="*/ 9 w 17"/>
                  <a:gd name="T15" fmla="*/ 12 h 13"/>
                  <a:gd name="T16" fmla="*/ 15 w 17"/>
                  <a:gd name="T17" fmla="*/ 6 h 13"/>
                  <a:gd name="T18" fmla="*/ 17 w 17"/>
                  <a:gd name="T19" fmla="*/ 2 h 13"/>
                  <a:gd name="T20" fmla="*/ 15 w 17"/>
                  <a:gd name="T21" fmla="*/ 0 h 13"/>
                  <a:gd name="T22" fmla="*/ 11 w 17"/>
                  <a:gd name="T2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13">
                    <a:moveTo>
                      <a:pt x="11" y="0"/>
                    </a:moveTo>
                    <a:lnTo>
                      <a:pt x="11" y="4"/>
                    </a:lnTo>
                    <a:lnTo>
                      <a:pt x="7" y="6"/>
                    </a:lnTo>
                    <a:lnTo>
                      <a:pt x="2" y="12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3" y="13"/>
                    </a:lnTo>
                    <a:lnTo>
                      <a:pt x="9" y="12"/>
                    </a:lnTo>
                    <a:lnTo>
                      <a:pt x="15" y="6"/>
                    </a:lnTo>
                    <a:lnTo>
                      <a:pt x="17" y="2"/>
                    </a:lnTo>
                    <a:lnTo>
                      <a:pt x="15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6" name="Freeform 284"/>
              <p:cNvSpPr>
                <a:spLocks/>
              </p:cNvSpPr>
              <p:nvPr/>
            </p:nvSpPr>
            <p:spPr bwMode="gray">
              <a:xfrm>
                <a:off x="984543" y="3092451"/>
                <a:ext cx="15873" cy="20638"/>
              </a:xfrm>
              <a:custGeom>
                <a:avLst/>
                <a:gdLst>
                  <a:gd name="T0" fmla="*/ 8 w 10"/>
                  <a:gd name="T1" fmla="*/ 2 h 13"/>
                  <a:gd name="T2" fmla="*/ 4 w 10"/>
                  <a:gd name="T3" fmla="*/ 4 h 13"/>
                  <a:gd name="T4" fmla="*/ 2 w 10"/>
                  <a:gd name="T5" fmla="*/ 9 h 13"/>
                  <a:gd name="T6" fmla="*/ 2 w 10"/>
                  <a:gd name="T7" fmla="*/ 11 h 13"/>
                  <a:gd name="T8" fmla="*/ 0 w 10"/>
                  <a:gd name="T9" fmla="*/ 13 h 13"/>
                  <a:gd name="T10" fmla="*/ 2 w 10"/>
                  <a:gd name="T11" fmla="*/ 13 h 13"/>
                  <a:gd name="T12" fmla="*/ 6 w 10"/>
                  <a:gd name="T13" fmla="*/ 11 h 13"/>
                  <a:gd name="T14" fmla="*/ 6 w 10"/>
                  <a:gd name="T15" fmla="*/ 8 h 13"/>
                  <a:gd name="T16" fmla="*/ 8 w 10"/>
                  <a:gd name="T17" fmla="*/ 6 h 13"/>
                  <a:gd name="T18" fmla="*/ 10 w 10"/>
                  <a:gd name="T19" fmla="*/ 2 h 13"/>
                  <a:gd name="T20" fmla="*/ 10 w 10"/>
                  <a:gd name="T21" fmla="*/ 0 h 13"/>
                  <a:gd name="T22" fmla="*/ 8 w 10"/>
                  <a:gd name="T2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3">
                    <a:moveTo>
                      <a:pt x="8" y="2"/>
                    </a:moveTo>
                    <a:lnTo>
                      <a:pt x="4" y="4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7" name="Freeform 285"/>
              <p:cNvSpPr>
                <a:spLocks/>
              </p:cNvSpPr>
              <p:nvPr/>
            </p:nvSpPr>
            <p:spPr bwMode="gray">
              <a:xfrm>
                <a:off x="1008353" y="2482851"/>
                <a:ext cx="774614" cy="579438"/>
              </a:xfrm>
              <a:custGeom>
                <a:avLst/>
                <a:gdLst>
                  <a:gd name="T0" fmla="*/ 292 w 488"/>
                  <a:gd name="T1" fmla="*/ 31 h 365"/>
                  <a:gd name="T2" fmla="*/ 240 w 488"/>
                  <a:gd name="T3" fmla="*/ 23 h 365"/>
                  <a:gd name="T4" fmla="*/ 167 w 488"/>
                  <a:gd name="T5" fmla="*/ 14 h 365"/>
                  <a:gd name="T6" fmla="*/ 141 w 488"/>
                  <a:gd name="T7" fmla="*/ 0 h 365"/>
                  <a:gd name="T8" fmla="*/ 104 w 488"/>
                  <a:gd name="T9" fmla="*/ 12 h 365"/>
                  <a:gd name="T10" fmla="*/ 72 w 488"/>
                  <a:gd name="T11" fmla="*/ 33 h 365"/>
                  <a:gd name="T12" fmla="*/ 27 w 488"/>
                  <a:gd name="T13" fmla="*/ 61 h 365"/>
                  <a:gd name="T14" fmla="*/ 45 w 488"/>
                  <a:gd name="T15" fmla="*/ 92 h 365"/>
                  <a:gd name="T16" fmla="*/ 75 w 488"/>
                  <a:gd name="T17" fmla="*/ 100 h 365"/>
                  <a:gd name="T18" fmla="*/ 91 w 488"/>
                  <a:gd name="T19" fmla="*/ 115 h 365"/>
                  <a:gd name="T20" fmla="*/ 73 w 488"/>
                  <a:gd name="T21" fmla="*/ 127 h 365"/>
                  <a:gd name="T22" fmla="*/ 20 w 488"/>
                  <a:gd name="T23" fmla="*/ 123 h 365"/>
                  <a:gd name="T24" fmla="*/ 16 w 488"/>
                  <a:gd name="T25" fmla="*/ 138 h 365"/>
                  <a:gd name="T26" fmla="*/ 60 w 488"/>
                  <a:gd name="T27" fmla="*/ 150 h 365"/>
                  <a:gd name="T28" fmla="*/ 83 w 488"/>
                  <a:gd name="T29" fmla="*/ 179 h 365"/>
                  <a:gd name="T30" fmla="*/ 52 w 488"/>
                  <a:gd name="T31" fmla="*/ 180 h 365"/>
                  <a:gd name="T32" fmla="*/ 43 w 488"/>
                  <a:gd name="T33" fmla="*/ 196 h 365"/>
                  <a:gd name="T34" fmla="*/ 24 w 488"/>
                  <a:gd name="T35" fmla="*/ 215 h 365"/>
                  <a:gd name="T36" fmla="*/ 37 w 488"/>
                  <a:gd name="T37" fmla="*/ 228 h 365"/>
                  <a:gd name="T38" fmla="*/ 48 w 488"/>
                  <a:gd name="T39" fmla="*/ 251 h 365"/>
                  <a:gd name="T40" fmla="*/ 70 w 488"/>
                  <a:gd name="T41" fmla="*/ 242 h 365"/>
                  <a:gd name="T42" fmla="*/ 75 w 488"/>
                  <a:gd name="T43" fmla="*/ 276 h 365"/>
                  <a:gd name="T44" fmla="*/ 114 w 488"/>
                  <a:gd name="T45" fmla="*/ 273 h 365"/>
                  <a:gd name="T46" fmla="*/ 123 w 488"/>
                  <a:gd name="T47" fmla="*/ 296 h 365"/>
                  <a:gd name="T48" fmla="*/ 85 w 488"/>
                  <a:gd name="T49" fmla="*/ 334 h 365"/>
                  <a:gd name="T50" fmla="*/ 68 w 488"/>
                  <a:gd name="T51" fmla="*/ 351 h 365"/>
                  <a:gd name="T52" fmla="*/ 106 w 488"/>
                  <a:gd name="T53" fmla="*/ 336 h 365"/>
                  <a:gd name="T54" fmla="*/ 119 w 488"/>
                  <a:gd name="T55" fmla="*/ 321 h 365"/>
                  <a:gd name="T56" fmla="*/ 152 w 488"/>
                  <a:gd name="T57" fmla="*/ 292 h 365"/>
                  <a:gd name="T58" fmla="*/ 171 w 488"/>
                  <a:gd name="T59" fmla="*/ 269 h 365"/>
                  <a:gd name="T60" fmla="*/ 190 w 488"/>
                  <a:gd name="T61" fmla="*/ 242 h 365"/>
                  <a:gd name="T62" fmla="*/ 217 w 488"/>
                  <a:gd name="T63" fmla="*/ 221 h 365"/>
                  <a:gd name="T64" fmla="*/ 219 w 488"/>
                  <a:gd name="T65" fmla="*/ 227 h 365"/>
                  <a:gd name="T66" fmla="*/ 206 w 488"/>
                  <a:gd name="T67" fmla="*/ 259 h 365"/>
                  <a:gd name="T68" fmla="*/ 225 w 488"/>
                  <a:gd name="T69" fmla="*/ 255 h 365"/>
                  <a:gd name="T70" fmla="*/ 244 w 488"/>
                  <a:gd name="T71" fmla="*/ 234 h 365"/>
                  <a:gd name="T72" fmla="*/ 265 w 488"/>
                  <a:gd name="T73" fmla="*/ 223 h 365"/>
                  <a:gd name="T74" fmla="*/ 273 w 488"/>
                  <a:gd name="T75" fmla="*/ 238 h 365"/>
                  <a:gd name="T76" fmla="*/ 308 w 488"/>
                  <a:gd name="T77" fmla="*/ 248 h 365"/>
                  <a:gd name="T78" fmla="*/ 371 w 488"/>
                  <a:gd name="T79" fmla="*/ 267 h 365"/>
                  <a:gd name="T80" fmla="*/ 392 w 488"/>
                  <a:gd name="T81" fmla="*/ 286 h 365"/>
                  <a:gd name="T82" fmla="*/ 400 w 488"/>
                  <a:gd name="T83" fmla="*/ 299 h 365"/>
                  <a:gd name="T84" fmla="*/ 423 w 488"/>
                  <a:gd name="T85" fmla="*/ 332 h 365"/>
                  <a:gd name="T86" fmla="*/ 432 w 488"/>
                  <a:gd name="T87" fmla="*/ 332 h 365"/>
                  <a:gd name="T88" fmla="*/ 430 w 488"/>
                  <a:gd name="T89" fmla="*/ 317 h 365"/>
                  <a:gd name="T90" fmla="*/ 421 w 488"/>
                  <a:gd name="T91" fmla="*/ 307 h 365"/>
                  <a:gd name="T92" fmla="*/ 402 w 488"/>
                  <a:gd name="T93" fmla="*/ 292 h 365"/>
                  <a:gd name="T94" fmla="*/ 425 w 488"/>
                  <a:gd name="T95" fmla="*/ 290 h 365"/>
                  <a:gd name="T96" fmla="*/ 436 w 488"/>
                  <a:gd name="T97" fmla="*/ 307 h 365"/>
                  <a:gd name="T98" fmla="*/ 446 w 488"/>
                  <a:gd name="T99" fmla="*/ 330 h 365"/>
                  <a:gd name="T100" fmla="*/ 455 w 488"/>
                  <a:gd name="T101" fmla="*/ 336 h 365"/>
                  <a:gd name="T102" fmla="*/ 471 w 488"/>
                  <a:gd name="T103" fmla="*/ 346 h 365"/>
                  <a:gd name="T104" fmla="*/ 476 w 488"/>
                  <a:gd name="T105" fmla="*/ 365 h 365"/>
                  <a:gd name="T106" fmla="*/ 488 w 488"/>
                  <a:gd name="T107" fmla="*/ 344 h 365"/>
                  <a:gd name="T108" fmla="*/ 465 w 488"/>
                  <a:gd name="T109" fmla="*/ 321 h 365"/>
                  <a:gd name="T110" fmla="*/ 419 w 488"/>
                  <a:gd name="T111" fmla="*/ 265 h 365"/>
                  <a:gd name="T112" fmla="*/ 396 w 488"/>
                  <a:gd name="T113" fmla="*/ 259 h 365"/>
                  <a:gd name="T114" fmla="*/ 359 w 488"/>
                  <a:gd name="T115" fmla="*/ 244 h 365"/>
                  <a:gd name="T116" fmla="*/ 333 w 488"/>
                  <a:gd name="T117" fmla="*/ 236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8" h="365">
                    <a:moveTo>
                      <a:pt x="327" y="31"/>
                    </a:moveTo>
                    <a:lnTo>
                      <a:pt x="321" y="29"/>
                    </a:lnTo>
                    <a:lnTo>
                      <a:pt x="315" y="27"/>
                    </a:lnTo>
                    <a:lnTo>
                      <a:pt x="309" y="25"/>
                    </a:lnTo>
                    <a:lnTo>
                      <a:pt x="304" y="25"/>
                    </a:lnTo>
                    <a:lnTo>
                      <a:pt x="304" y="27"/>
                    </a:lnTo>
                    <a:lnTo>
                      <a:pt x="304" y="31"/>
                    </a:lnTo>
                    <a:lnTo>
                      <a:pt x="296" y="31"/>
                    </a:lnTo>
                    <a:lnTo>
                      <a:pt x="292" y="31"/>
                    </a:lnTo>
                    <a:lnTo>
                      <a:pt x="290" y="27"/>
                    </a:lnTo>
                    <a:lnTo>
                      <a:pt x="283" y="27"/>
                    </a:lnTo>
                    <a:lnTo>
                      <a:pt x="275" y="27"/>
                    </a:lnTo>
                    <a:lnTo>
                      <a:pt x="275" y="23"/>
                    </a:lnTo>
                    <a:lnTo>
                      <a:pt x="260" y="23"/>
                    </a:lnTo>
                    <a:lnTo>
                      <a:pt x="248" y="25"/>
                    </a:lnTo>
                    <a:lnTo>
                      <a:pt x="246" y="21"/>
                    </a:lnTo>
                    <a:lnTo>
                      <a:pt x="242" y="21"/>
                    </a:lnTo>
                    <a:lnTo>
                      <a:pt x="240" y="23"/>
                    </a:lnTo>
                    <a:lnTo>
                      <a:pt x="235" y="19"/>
                    </a:lnTo>
                    <a:lnTo>
                      <a:pt x="231" y="17"/>
                    </a:lnTo>
                    <a:lnTo>
                      <a:pt x="219" y="19"/>
                    </a:lnTo>
                    <a:lnTo>
                      <a:pt x="210" y="21"/>
                    </a:lnTo>
                    <a:lnTo>
                      <a:pt x="198" y="19"/>
                    </a:lnTo>
                    <a:lnTo>
                      <a:pt x="189" y="15"/>
                    </a:lnTo>
                    <a:lnTo>
                      <a:pt x="187" y="12"/>
                    </a:lnTo>
                    <a:lnTo>
                      <a:pt x="175" y="12"/>
                    </a:lnTo>
                    <a:lnTo>
                      <a:pt x="167" y="14"/>
                    </a:lnTo>
                    <a:lnTo>
                      <a:pt x="164" y="10"/>
                    </a:lnTo>
                    <a:lnTo>
                      <a:pt x="162" y="6"/>
                    </a:lnTo>
                    <a:lnTo>
                      <a:pt x="156" y="10"/>
                    </a:lnTo>
                    <a:lnTo>
                      <a:pt x="150" y="14"/>
                    </a:lnTo>
                    <a:lnTo>
                      <a:pt x="148" y="10"/>
                    </a:lnTo>
                    <a:lnTo>
                      <a:pt x="148" y="4"/>
                    </a:lnTo>
                    <a:lnTo>
                      <a:pt x="146" y="2"/>
                    </a:lnTo>
                    <a:lnTo>
                      <a:pt x="144" y="2"/>
                    </a:lnTo>
                    <a:lnTo>
                      <a:pt x="141" y="0"/>
                    </a:lnTo>
                    <a:lnTo>
                      <a:pt x="135" y="2"/>
                    </a:lnTo>
                    <a:lnTo>
                      <a:pt x="129" y="6"/>
                    </a:lnTo>
                    <a:lnTo>
                      <a:pt x="123" y="12"/>
                    </a:lnTo>
                    <a:lnTo>
                      <a:pt x="118" y="12"/>
                    </a:lnTo>
                    <a:lnTo>
                      <a:pt x="112" y="12"/>
                    </a:lnTo>
                    <a:lnTo>
                      <a:pt x="110" y="14"/>
                    </a:lnTo>
                    <a:lnTo>
                      <a:pt x="108" y="15"/>
                    </a:lnTo>
                    <a:lnTo>
                      <a:pt x="106" y="12"/>
                    </a:lnTo>
                    <a:lnTo>
                      <a:pt x="104" y="12"/>
                    </a:lnTo>
                    <a:lnTo>
                      <a:pt x="104" y="15"/>
                    </a:lnTo>
                    <a:lnTo>
                      <a:pt x="100" y="15"/>
                    </a:lnTo>
                    <a:lnTo>
                      <a:pt x="98" y="15"/>
                    </a:lnTo>
                    <a:lnTo>
                      <a:pt x="96" y="17"/>
                    </a:lnTo>
                    <a:lnTo>
                      <a:pt x="96" y="19"/>
                    </a:lnTo>
                    <a:lnTo>
                      <a:pt x="89" y="19"/>
                    </a:lnTo>
                    <a:lnTo>
                      <a:pt x="83" y="19"/>
                    </a:lnTo>
                    <a:lnTo>
                      <a:pt x="75" y="25"/>
                    </a:lnTo>
                    <a:lnTo>
                      <a:pt x="72" y="33"/>
                    </a:lnTo>
                    <a:lnTo>
                      <a:pt x="68" y="33"/>
                    </a:lnTo>
                    <a:lnTo>
                      <a:pt x="66" y="35"/>
                    </a:lnTo>
                    <a:lnTo>
                      <a:pt x="62" y="46"/>
                    </a:lnTo>
                    <a:lnTo>
                      <a:pt x="60" y="58"/>
                    </a:lnTo>
                    <a:lnTo>
                      <a:pt x="48" y="60"/>
                    </a:lnTo>
                    <a:lnTo>
                      <a:pt x="39" y="60"/>
                    </a:lnTo>
                    <a:lnTo>
                      <a:pt x="35" y="61"/>
                    </a:lnTo>
                    <a:lnTo>
                      <a:pt x="33" y="63"/>
                    </a:lnTo>
                    <a:lnTo>
                      <a:pt x="27" y="61"/>
                    </a:lnTo>
                    <a:lnTo>
                      <a:pt x="22" y="61"/>
                    </a:lnTo>
                    <a:lnTo>
                      <a:pt x="22" y="67"/>
                    </a:lnTo>
                    <a:lnTo>
                      <a:pt x="22" y="73"/>
                    </a:lnTo>
                    <a:lnTo>
                      <a:pt x="20" y="75"/>
                    </a:lnTo>
                    <a:lnTo>
                      <a:pt x="20" y="77"/>
                    </a:lnTo>
                    <a:lnTo>
                      <a:pt x="27" y="79"/>
                    </a:lnTo>
                    <a:lnTo>
                      <a:pt x="35" y="83"/>
                    </a:lnTo>
                    <a:lnTo>
                      <a:pt x="39" y="88"/>
                    </a:lnTo>
                    <a:lnTo>
                      <a:pt x="45" y="92"/>
                    </a:lnTo>
                    <a:lnTo>
                      <a:pt x="48" y="92"/>
                    </a:lnTo>
                    <a:lnTo>
                      <a:pt x="52" y="92"/>
                    </a:lnTo>
                    <a:lnTo>
                      <a:pt x="52" y="96"/>
                    </a:lnTo>
                    <a:lnTo>
                      <a:pt x="54" y="102"/>
                    </a:lnTo>
                    <a:lnTo>
                      <a:pt x="60" y="100"/>
                    </a:lnTo>
                    <a:lnTo>
                      <a:pt x="68" y="100"/>
                    </a:lnTo>
                    <a:lnTo>
                      <a:pt x="70" y="100"/>
                    </a:lnTo>
                    <a:lnTo>
                      <a:pt x="73" y="100"/>
                    </a:lnTo>
                    <a:lnTo>
                      <a:pt x="75" y="100"/>
                    </a:lnTo>
                    <a:lnTo>
                      <a:pt x="75" y="102"/>
                    </a:lnTo>
                    <a:lnTo>
                      <a:pt x="75" y="104"/>
                    </a:lnTo>
                    <a:lnTo>
                      <a:pt x="73" y="106"/>
                    </a:lnTo>
                    <a:lnTo>
                      <a:pt x="77" y="108"/>
                    </a:lnTo>
                    <a:lnTo>
                      <a:pt x="85" y="111"/>
                    </a:lnTo>
                    <a:lnTo>
                      <a:pt x="85" y="109"/>
                    </a:lnTo>
                    <a:lnTo>
                      <a:pt x="91" y="109"/>
                    </a:lnTo>
                    <a:lnTo>
                      <a:pt x="89" y="111"/>
                    </a:lnTo>
                    <a:lnTo>
                      <a:pt x="91" y="115"/>
                    </a:lnTo>
                    <a:lnTo>
                      <a:pt x="83" y="113"/>
                    </a:lnTo>
                    <a:lnTo>
                      <a:pt x="77" y="113"/>
                    </a:lnTo>
                    <a:lnTo>
                      <a:pt x="75" y="115"/>
                    </a:lnTo>
                    <a:lnTo>
                      <a:pt x="73" y="117"/>
                    </a:lnTo>
                    <a:lnTo>
                      <a:pt x="77" y="117"/>
                    </a:lnTo>
                    <a:lnTo>
                      <a:pt x="81" y="117"/>
                    </a:lnTo>
                    <a:lnTo>
                      <a:pt x="83" y="125"/>
                    </a:lnTo>
                    <a:lnTo>
                      <a:pt x="81" y="121"/>
                    </a:lnTo>
                    <a:lnTo>
                      <a:pt x="73" y="127"/>
                    </a:lnTo>
                    <a:lnTo>
                      <a:pt x="58" y="125"/>
                    </a:lnTo>
                    <a:lnTo>
                      <a:pt x="48" y="121"/>
                    </a:lnTo>
                    <a:lnTo>
                      <a:pt x="48" y="113"/>
                    </a:lnTo>
                    <a:lnTo>
                      <a:pt x="48" y="108"/>
                    </a:lnTo>
                    <a:lnTo>
                      <a:pt x="35" y="111"/>
                    </a:lnTo>
                    <a:lnTo>
                      <a:pt x="25" y="115"/>
                    </a:lnTo>
                    <a:lnTo>
                      <a:pt x="25" y="119"/>
                    </a:lnTo>
                    <a:lnTo>
                      <a:pt x="25" y="123"/>
                    </a:lnTo>
                    <a:lnTo>
                      <a:pt x="20" y="123"/>
                    </a:lnTo>
                    <a:lnTo>
                      <a:pt x="14" y="121"/>
                    </a:lnTo>
                    <a:lnTo>
                      <a:pt x="6" y="125"/>
                    </a:lnTo>
                    <a:lnTo>
                      <a:pt x="0" y="131"/>
                    </a:lnTo>
                    <a:lnTo>
                      <a:pt x="2" y="134"/>
                    </a:lnTo>
                    <a:lnTo>
                      <a:pt x="8" y="134"/>
                    </a:lnTo>
                    <a:lnTo>
                      <a:pt x="14" y="134"/>
                    </a:lnTo>
                    <a:lnTo>
                      <a:pt x="18" y="136"/>
                    </a:lnTo>
                    <a:lnTo>
                      <a:pt x="18" y="136"/>
                    </a:lnTo>
                    <a:lnTo>
                      <a:pt x="16" y="138"/>
                    </a:lnTo>
                    <a:lnTo>
                      <a:pt x="12" y="140"/>
                    </a:lnTo>
                    <a:lnTo>
                      <a:pt x="14" y="144"/>
                    </a:lnTo>
                    <a:lnTo>
                      <a:pt x="18" y="146"/>
                    </a:lnTo>
                    <a:lnTo>
                      <a:pt x="18" y="150"/>
                    </a:lnTo>
                    <a:lnTo>
                      <a:pt x="20" y="152"/>
                    </a:lnTo>
                    <a:lnTo>
                      <a:pt x="27" y="154"/>
                    </a:lnTo>
                    <a:lnTo>
                      <a:pt x="39" y="154"/>
                    </a:lnTo>
                    <a:lnTo>
                      <a:pt x="48" y="152"/>
                    </a:lnTo>
                    <a:lnTo>
                      <a:pt x="60" y="150"/>
                    </a:lnTo>
                    <a:lnTo>
                      <a:pt x="62" y="154"/>
                    </a:lnTo>
                    <a:lnTo>
                      <a:pt x="66" y="157"/>
                    </a:lnTo>
                    <a:lnTo>
                      <a:pt x="66" y="154"/>
                    </a:lnTo>
                    <a:lnTo>
                      <a:pt x="70" y="152"/>
                    </a:lnTo>
                    <a:lnTo>
                      <a:pt x="81" y="150"/>
                    </a:lnTo>
                    <a:lnTo>
                      <a:pt x="91" y="152"/>
                    </a:lnTo>
                    <a:lnTo>
                      <a:pt x="87" y="161"/>
                    </a:lnTo>
                    <a:lnTo>
                      <a:pt x="89" y="175"/>
                    </a:lnTo>
                    <a:lnTo>
                      <a:pt x="83" y="179"/>
                    </a:lnTo>
                    <a:lnTo>
                      <a:pt x="77" y="180"/>
                    </a:lnTo>
                    <a:lnTo>
                      <a:pt x="73" y="179"/>
                    </a:lnTo>
                    <a:lnTo>
                      <a:pt x="73" y="179"/>
                    </a:lnTo>
                    <a:lnTo>
                      <a:pt x="68" y="182"/>
                    </a:lnTo>
                    <a:lnTo>
                      <a:pt x="66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54" y="182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7" y="180"/>
                    </a:lnTo>
                    <a:lnTo>
                      <a:pt x="41" y="186"/>
                    </a:lnTo>
                    <a:lnTo>
                      <a:pt x="39" y="188"/>
                    </a:lnTo>
                    <a:lnTo>
                      <a:pt x="39" y="190"/>
                    </a:lnTo>
                    <a:lnTo>
                      <a:pt x="47" y="190"/>
                    </a:lnTo>
                    <a:lnTo>
                      <a:pt x="45" y="192"/>
                    </a:lnTo>
                    <a:lnTo>
                      <a:pt x="47" y="196"/>
                    </a:lnTo>
                    <a:lnTo>
                      <a:pt x="43" y="196"/>
                    </a:lnTo>
                    <a:lnTo>
                      <a:pt x="41" y="194"/>
                    </a:lnTo>
                    <a:lnTo>
                      <a:pt x="39" y="196"/>
                    </a:lnTo>
                    <a:lnTo>
                      <a:pt x="39" y="200"/>
                    </a:lnTo>
                    <a:lnTo>
                      <a:pt x="33" y="202"/>
                    </a:lnTo>
                    <a:lnTo>
                      <a:pt x="29" y="205"/>
                    </a:lnTo>
                    <a:lnTo>
                      <a:pt x="29" y="207"/>
                    </a:lnTo>
                    <a:lnTo>
                      <a:pt x="29" y="211"/>
                    </a:lnTo>
                    <a:lnTo>
                      <a:pt x="25" y="213"/>
                    </a:lnTo>
                    <a:lnTo>
                      <a:pt x="24" y="215"/>
                    </a:lnTo>
                    <a:lnTo>
                      <a:pt x="29" y="221"/>
                    </a:lnTo>
                    <a:lnTo>
                      <a:pt x="35" y="225"/>
                    </a:lnTo>
                    <a:lnTo>
                      <a:pt x="41" y="227"/>
                    </a:lnTo>
                    <a:lnTo>
                      <a:pt x="52" y="227"/>
                    </a:lnTo>
                    <a:lnTo>
                      <a:pt x="48" y="234"/>
                    </a:lnTo>
                    <a:lnTo>
                      <a:pt x="45" y="230"/>
                    </a:lnTo>
                    <a:lnTo>
                      <a:pt x="43" y="228"/>
                    </a:lnTo>
                    <a:lnTo>
                      <a:pt x="39" y="228"/>
                    </a:lnTo>
                    <a:lnTo>
                      <a:pt x="37" y="228"/>
                    </a:lnTo>
                    <a:lnTo>
                      <a:pt x="35" y="230"/>
                    </a:lnTo>
                    <a:lnTo>
                      <a:pt x="39" y="232"/>
                    </a:lnTo>
                    <a:lnTo>
                      <a:pt x="39" y="236"/>
                    </a:lnTo>
                    <a:lnTo>
                      <a:pt x="45" y="236"/>
                    </a:lnTo>
                    <a:lnTo>
                      <a:pt x="45" y="238"/>
                    </a:lnTo>
                    <a:lnTo>
                      <a:pt x="43" y="240"/>
                    </a:lnTo>
                    <a:lnTo>
                      <a:pt x="43" y="244"/>
                    </a:lnTo>
                    <a:lnTo>
                      <a:pt x="45" y="248"/>
                    </a:lnTo>
                    <a:lnTo>
                      <a:pt x="48" y="251"/>
                    </a:lnTo>
                    <a:lnTo>
                      <a:pt x="52" y="251"/>
                    </a:lnTo>
                    <a:lnTo>
                      <a:pt x="58" y="251"/>
                    </a:lnTo>
                    <a:lnTo>
                      <a:pt x="62" y="250"/>
                    </a:lnTo>
                    <a:lnTo>
                      <a:pt x="66" y="246"/>
                    </a:lnTo>
                    <a:lnTo>
                      <a:pt x="64" y="242"/>
                    </a:lnTo>
                    <a:lnTo>
                      <a:pt x="66" y="240"/>
                    </a:lnTo>
                    <a:lnTo>
                      <a:pt x="66" y="240"/>
                    </a:lnTo>
                    <a:lnTo>
                      <a:pt x="68" y="240"/>
                    </a:lnTo>
                    <a:lnTo>
                      <a:pt x="70" y="242"/>
                    </a:lnTo>
                    <a:lnTo>
                      <a:pt x="70" y="244"/>
                    </a:lnTo>
                    <a:lnTo>
                      <a:pt x="68" y="248"/>
                    </a:lnTo>
                    <a:lnTo>
                      <a:pt x="75" y="259"/>
                    </a:lnTo>
                    <a:lnTo>
                      <a:pt x="73" y="261"/>
                    </a:lnTo>
                    <a:lnTo>
                      <a:pt x="73" y="265"/>
                    </a:lnTo>
                    <a:lnTo>
                      <a:pt x="72" y="265"/>
                    </a:lnTo>
                    <a:lnTo>
                      <a:pt x="77" y="267"/>
                    </a:lnTo>
                    <a:lnTo>
                      <a:pt x="75" y="273"/>
                    </a:lnTo>
                    <a:lnTo>
                      <a:pt x="75" y="276"/>
                    </a:lnTo>
                    <a:lnTo>
                      <a:pt x="85" y="271"/>
                    </a:lnTo>
                    <a:lnTo>
                      <a:pt x="95" y="265"/>
                    </a:lnTo>
                    <a:lnTo>
                      <a:pt x="96" y="267"/>
                    </a:lnTo>
                    <a:lnTo>
                      <a:pt x="98" y="271"/>
                    </a:lnTo>
                    <a:lnTo>
                      <a:pt x="100" y="269"/>
                    </a:lnTo>
                    <a:lnTo>
                      <a:pt x="106" y="269"/>
                    </a:lnTo>
                    <a:lnTo>
                      <a:pt x="112" y="278"/>
                    </a:lnTo>
                    <a:lnTo>
                      <a:pt x="112" y="276"/>
                    </a:lnTo>
                    <a:lnTo>
                      <a:pt x="114" y="273"/>
                    </a:lnTo>
                    <a:lnTo>
                      <a:pt x="119" y="274"/>
                    </a:lnTo>
                    <a:lnTo>
                      <a:pt x="125" y="274"/>
                    </a:lnTo>
                    <a:lnTo>
                      <a:pt x="131" y="273"/>
                    </a:lnTo>
                    <a:lnTo>
                      <a:pt x="139" y="269"/>
                    </a:lnTo>
                    <a:lnTo>
                      <a:pt x="137" y="274"/>
                    </a:lnTo>
                    <a:lnTo>
                      <a:pt x="135" y="280"/>
                    </a:lnTo>
                    <a:lnTo>
                      <a:pt x="129" y="284"/>
                    </a:lnTo>
                    <a:lnTo>
                      <a:pt x="125" y="290"/>
                    </a:lnTo>
                    <a:lnTo>
                      <a:pt x="123" y="296"/>
                    </a:lnTo>
                    <a:lnTo>
                      <a:pt x="125" y="301"/>
                    </a:lnTo>
                    <a:lnTo>
                      <a:pt x="118" y="313"/>
                    </a:lnTo>
                    <a:lnTo>
                      <a:pt x="106" y="321"/>
                    </a:lnTo>
                    <a:lnTo>
                      <a:pt x="95" y="326"/>
                    </a:lnTo>
                    <a:lnTo>
                      <a:pt x="95" y="330"/>
                    </a:lnTo>
                    <a:lnTo>
                      <a:pt x="95" y="334"/>
                    </a:lnTo>
                    <a:lnTo>
                      <a:pt x="89" y="334"/>
                    </a:lnTo>
                    <a:lnTo>
                      <a:pt x="87" y="336"/>
                    </a:lnTo>
                    <a:lnTo>
                      <a:pt x="85" y="334"/>
                    </a:lnTo>
                    <a:lnTo>
                      <a:pt x="75" y="334"/>
                    </a:lnTo>
                    <a:lnTo>
                      <a:pt x="70" y="342"/>
                    </a:lnTo>
                    <a:lnTo>
                      <a:pt x="66" y="349"/>
                    </a:lnTo>
                    <a:lnTo>
                      <a:pt x="62" y="349"/>
                    </a:lnTo>
                    <a:lnTo>
                      <a:pt x="60" y="349"/>
                    </a:lnTo>
                    <a:lnTo>
                      <a:pt x="58" y="351"/>
                    </a:lnTo>
                    <a:lnTo>
                      <a:pt x="58" y="355"/>
                    </a:lnTo>
                    <a:lnTo>
                      <a:pt x="64" y="353"/>
                    </a:lnTo>
                    <a:lnTo>
                      <a:pt x="68" y="351"/>
                    </a:lnTo>
                    <a:lnTo>
                      <a:pt x="72" y="346"/>
                    </a:lnTo>
                    <a:lnTo>
                      <a:pt x="77" y="338"/>
                    </a:lnTo>
                    <a:lnTo>
                      <a:pt x="79" y="338"/>
                    </a:lnTo>
                    <a:lnTo>
                      <a:pt x="83" y="338"/>
                    </a:lnTo>
                    <a:lnTo>
                      <a:pt x="81" y="340"/>
                    </a:lnTo>
                    <a:lnTo>
                      <a:pt x="81" y="344"/>
                    </a:lnTo>
                    <a:lnTo>
                      <a:pt x="93" y="340"/>
                    </a:lnTo>
                    <a:lnTo>
                      <a:pt x="104" y="334"/>
                    </a:lnTo>
                    <a:lnTo>
                      <a:pt x="106" y="336"/>
                    </a:lnTo>
                    <a:lnTo>
                      <a:pt x="108" y="336"/>
                    </a:lnTo>
                    <a:lnTo>
                      <a:pt x="110" y="330"/>
                    </a:lnTo>
                    <a:lnTo>
                      <a:pt x="112" y="332"/>
                    </a:lnTo>
                    <a:lnTo>
                      <a:pt x="114" y="332"/>
                    </a:lnTo>
                    <a:lnTo>
                      <a:pt x="114" y="328"/>
                    </a:lnTo>
                    <a:lnTo>
                      <a:pt x="114" y="324"/>
                    </a:lnTo>
                    <a:lnTo>
                      <a:pt x="116" y="322"/>
                    </a:lnTo>
                    <a:lnTo>
                      <a:pt x="121" y="322"/>
                    </a:lnTo>
                    <a:lnTo>
                      <a:pt x="119" y="321"/>
                    </a:lnTo>
                    <a:lnTo>
                      <a:pt x="119" y="319"/>
                    </a:lnTo>
                    <a:lnTo>
                      <a:pt x="121" y="319"/>
                    </a:lnTo>
                    <a:lnTo>
                      <a:pt x="125" y="319"/>
                    </a:lnTo>
                    <a:lnTo>
                      <a:pt x="131" y="315"/>
                    </a:lnTo>
                    <a:lnTo>
                      <a:pt x="139" y="309"/>
                    </a:lnTo>
                    <a:lnTo>
                      <a:pt x="137" y="303"/>
                    </a:lnTo>
                    <a:lnTo>
                      <a:pt x="141" y="301"/>
                    </a:lnTo>
                    <a:lnTo>
                      <a:pt x="146" y="299"/>
                    </a:lnTo>
                    <a:lnTo>
                      <a:pt x="152" y="292"/>
                    </a:lnTo>
                    <a:lnTo>
                      <a:pt x="158" y="286"/>
                    </a:lnTo>
                    <a:lnTo>
                      <a:pt x="162" y="284"/>
                    </a:lnTo>
                    <a:lnTo>
                      <a:pt x="167" y="284"/>
                    </a:lnTo>
                    <a:lnTo>
                      <a:pt x="167" y="280"/>
                    </a:lnTo>
                    <a:lnTo>
                      <a:pt x="167" y="278"/>
                    </a:lnTo>
                    <a:lnTo>
                      <a:pt x="171" y="274"/>
                    </a:lnTo>
                    <a:lnTo>
                      <a:pt x="177" y="273"/>
                    </a:lnTo>
                    <a:lnTo>
                      <a:pt x="177" y="269"/>
                    </a:lnTo>
                    <a:lnTo>
                      <a:pt x="171" y="269"/>
                    </a:lnTo>
                    <a:lnTo>
                      <a:pt x="167" y="269"/>
                    </a:lnTo>
                    <a:lnTo>
                      <a:pt x="169" y="259"/>
                    </a:lnTo>
                    <a:lnTo>
                      <a:pt x="171" y="255"/>
                    </a:lnTo>
                    <a:lnTo>
                      <a:pt x="177" y="251"/>
                    </a:lnTo>
                    <a:lnTo>
                      <a:pt x="185" y="248"/>
                    </a:lnTo>
                    <a:lnTo>
                      <a:pt x="183" y="246"/>
                    </a:lnTo>
                    <a:lnTo>
                      <a:pt x="183" y="242"/>
                    </a:lnTo>
                    <a:lnTo>
                      <a:pt x="185" y="242"/>
                    </a:lnTo>
                    <a:lnTo>
                      <a:pt x="190" y="242"/>
                    </a:lnTo>
                    <a:lnTo>
                      <a:pt x="190" y="236"/>
                    </a:lnTo>
                    <a:lnTo>
                      <a:pt x="192" y="234"/>
                    </a:lnTo>
                    <a:lnTo>
                      <a:pt x="196" y="232"/>
                    </a:lnTo>
                    <a:lnTo>
                      <a:pt x="200" y="232"/>
                    </a:lnTo>
                    <a:lnTo>
                      <a:pt x="200" y="228"/>
                    </a:lnTo>
                    <a:lnTo>
                      <a:pt x="202" y="225"/>
                    </a:lnTo>
                    <a:lnTo>
                      <a:pt x="212" y="217"/>
                    </a:lnTo>
                    <a:lnTo>
                      <a:pt x="214" y="217"/>
                    </a:lnTo>
                    <a:lnTo>
                      <a:pt x="217" y="221"/>
                    </a:lnTo>
                    <a:lnTo>
                      <a:pt x="223" y="217"/>
                    </a:lnTo>
                    <a:lnTo>
                      <a:pt x="225" y="217"/>
                    </a:lnTo>
                    <a:lnTo>
                      <a:pt x="225" y="219"/>
                    </a:lnTo>
                    <a:lnTo>
                      <a:pt x="225" y="219"/>
                    </a:lnTo>
                    <a:lnTo>
                      <a:pt x="223" y="221"/>
                    </a:lnTo>
                    <a:lnTo>
                      <a:pt x="223" y="225"/>
                    </a:lnTo>
                    <a:lnTo>
                      <a:pt x="225" y="227"/>
                    </a:lnTo>
                    <a:lnTo>
                      <a:pt x="227" y="228"/>
                    </a:lnTo>
                    <a:lnTo>
                      <a:pt x="219" y="227"/>
                    </a:lnTo>
                    <a:lnTo>
                      <a:pt x="214" y="227"/>
                    </a:lnTo>
                    <a:lnTo>
                      <a:pt x="210" y="228"/>
                    </a:lnTo>
                    <a:lnTo>
                      <a:pt x="208" y="232"/>
                    </a:lnTo>
                    <a:lnTo>
                      <a:pt x="204" y="232"/>
                    </a:lnTo>
                    <a:lnTo>
                      <a:pt x="202" y="244"/>
                    </a:lnTo>
                    <a:lnTo>
                      <a:pt x="200" y="255"/>
                    </a:lnTo>
                    <a:lnTo>
                      <a:pt x="202" y="255"/>
                    </a:lnTo>
                    <a:lnTo>
                      <a:pt x="206" y="255"/>
                    </a:lnTo>
                    <a:lnTo>
                      <a:pt x="206" y="259"/>
                    </a:lnTo>
                    <a:lnTo>
                      <a:pt x="200" y="261"/>
                    </a:lnTo>
                    <a:lnTo>
                      <a:pt x="198" y="263"/>
                    </a:lnTo>
                    <a:lnTo>
                      <a:pt x="200" y="265"/>
                    </a:lnTo>
                    <a:lnTo>
                      <a:pt x="202" y="267"/>
                    </a:lnTo>
                    <a:lnTo>
                      <a:pt x="210" y="263"/>
                    </a:lnTo>
                    <a:lnTo>
                      <a:pt x="217" y="261"/>
                    </a:lnTo>
                    <a:lnTo>
                      <a:pt x="217" y="257"/>
                    </a:lnTo>
                    <a:lnTo>
                      <a:pt x="221" y="255"/>
                    </a:lnTo>
                    <a:lnTo>
                      <a:pt x="225" y="255"/>
                    </a:lnTo>
                    <a:lnTo>
                      <a:pt x="227" y="250"/>
                    </a:lnTo>
                    <a:lnTo>
                      <a:pt x="231" y="246"/>
                    </a:lnTo>
                    <a:lnTo>
                      <a:pt x="237" y="248"/>
                    </a:lnTo>
                    <a:lnTo>
                      <a:pt x="244" y="250"/>
                    </a:lnTo>
                    <a:lnTo>
                      <a:pt x="246" y="248"/>
                    </a:lnTo>
                    <a:lnTo>
                      <a:pt x="250" y="244"/>
                    </a:lnTo>
                    <a:lnTo>
                      <a:pt x="248" y="238"/>
                    </a:lnTo>
                    <a:lnTo>
                      <a:pt x="248" y="236"/>
                    </a:lnTo>
                    <a:lnTo>
                      <a:pt x="244" y="234"/>
                    </a:lnTo>
                    <a:lnTo>
                      <a:pt x="242" y="234"/>
                    </a:lnTo>
                    <a:lnTo>
                      <a:pt x="242" y="228"/>
                    </a:lnTo>
                    <a:lnTo>
                      <a:pt x="242" y="225"/>
                    </a:lnTo>
                    <a:lnTo>
                      <a:pt x="248" y="227"/>
                    </a:lnTo>
                    <a:lnTo>
                      <a:pt x="254" y="227"/>
                    </a:lnTo>
                    <a:lnTo>
                      <a:pt x="258" y="227"/>
                    </a:lnTo>
                    <a:lnTo>
                      <a:pt x="263" y="225"/>
                    </a:lnTo>
                    <a:lnTo>
                      <a:pt x="261" y="223"/>
                    </a:lnTo>
                    <a:lnTo>
                      <a:pt x="265" y="223"/>
                    </a:lnTo>
                    <a:lnTo>
                      <a:pt x="265" y="225"/>
                    </a:lnTo>
                    <a:lnTo>
                      <a:pt x="265" y="228"/>
                    </a:lnTo>
                    <a:lnTo>
                      <a:pt x="267" y="228"/>
                    </a:lnTo>
                    <a:lnTo>
                      <a:pt x="267" y="230"/>
                    </a:lnTo>
                    <a:lnTo>
                      <a:pt x="267" y="230"/>
                    </a:lnTo>
                    <a:lnTo>
                      <a:pt x="265" y="230"/>
                    </a:lnTo>
                    <a:lnTo>
                      <a:pt x="269" y="232"/>
                    </a:lnTo>
                    <a:lnTo>
                      <a:pt x="275" y="234"/>
                    </a:lnTo>
                    <a:lnTo>
                      <a:pt x="273" y="238"/>
                    </a:lnTo>
                    <a:lnTo>
                      <a:pt x="275" y="242"/>
                    </a:lnTo>
                    <a:lnTo>
                      <a:pt x="279" y="242"/>
                    </a:lnTo>
                    <a:lnTo>
                      <a:pt x="285" y="240"/>
                    </a:lnTo>
                    <a:lnTo>
                      <a:pt x="285" y="242"/>
                    </a:lnTo>
                    <a:lnTo>
                      <a:pt x="286" y="246"/>
                    </a:lnTo>
                    <a:lnTo>
                      <a:pt x="290" y="246"/>
                    </a:lnTo>
                    <a:lnTo>
                      <a:pt x="296" y="248"/>
                    </a:lnTo>
                    <a:lnTo>
                      <a:pt x="296" y="250"/>
                    </a:lnTo>
                    <a:lnTo>
                      <a:pt x="308" y="248"/>
                    </a:lnTo>
                    <a:lnTo>
                      <a:pt x="319" y="248"/>
                    </a:lnTo>
                    <a:lnTo>
                      <a:pt x="336" y="255"/>
                    </a:lnTo>
                    <a:lnTo>
                      <a:pt x="356" y="259"/>
                    </a:lnTo>
                    <a:lnTo>
                      <a:pt x="356" y="257"/>
                    </a:lnTo>
                    <a:lnTo>
                      <a:pt x="359" y="255"/>
                    </a:lnTo>
                    <a:lnTo>
                      <a:pt x="357" y="265"/>
                    </a:lnTo>
                    <a:lnTo>
                      <a:pt x="363" y="269"/>
                    </a:lnTo>
                    <a:lnTo>
                      <a:pt x="371" y="271"/>
                    </a:lnTo>
                    <a:lnTo>
                      <a:pt x="371" y="267"/>
                    </a:lnTo>
                    <a:lnTo>
                      <a:pt x="371" y="265"/>
                    </a:lnTo>
                    <a:lnTo>
                      <a:pt x="373" y="265"/>
                    </a:lnTo>
                    <a:lnTo>
                      <a:pt x="377" y="265"/>
                    </a:lnTo>
                    <a:lnTo>
                      <a:pt x="375" y="269"/>
                    </a:lnTo>
                    <a:lnTo>
                      <a:pt x="375" y="276"/>
                    </a:lnTo>
                    <a:lnTo>
                      <a:pt x="379" y="276"/>
                    </a:lnTo>
                    <a:lnTo>
                      <a:pt x="386" y="288"/>
                    </a:lnTo>
                    <a:lnTo>
                      <a:pt x="388" y="286"/>
                    </a:lnTo>
                    <a:lnTo>
                      <a:pt x="392" y="286"/>
                    </a:lnTo>
                    <a:lnTo>
                      <a:pt x="392" y="288"/>
                    </a:lnTo>
                    <a:lnTo>
                      <a:pt x="392" y="292"/>
                    </a:lnTo>
                    <a:lnTo>
                      <a:pt x="394" y="292"/>
                    </a:lnTo>
                    <a:lnTo>
                      <a:pt x="398" y="294"/>
                    </a:lnTo>
                    <a:lnTo>
                      <a:pt x="396" y="296"/>
                    </a:lnTo>
                    <a:lnTo>
                      <a:pt x="396" y="298"/>
                    </a:lnTo>
                    <a:lnTo>
                      <a:pt x="398" y="298"/>
                    </a:lnTo>
                    <a:lnTo>
                      <a:pt x="400" y="296"/>
                    </a:lnTo>
                    <a:lnTo>
                      <a:pt x="400" y="299"/>
                    </a:lnTo>
                    <a:lnTo>
                      <a:pt x="400" y="303"/>
                    </a:lnTo>
                    <a:lnTo>
                      <a:pt x="404" y="305"/>
                    </a:lnTo>
                    <a:lnTo>
                      <a:pt x="409" y="309"/>
                    </a:lnTo>
                    <a:lnTo>
                      <a:pt x="409" y="311"/>
                    </a:lnTo>
                    <a:lnTo>
                      <a:pt x="409" y="315"/>
                    </a:lnTo>
                    <a:lnTo>
                      <a:pt x="413" y="321"/>
                    </a:lnTo>
                    <a:lnTo>
                      <a:pt x="419" y="328"/>
                    </a:lnTo>
                    <a:lnTo>
                      <a:pt x="421" y="330"/>
                    </a:lnTo>
                    <a:lnTo>
                      <a:pt x="423" y="332"/>
                    </a:lnTo>
                    <a:lnTo>
                      <a:pt x="425" y="330"/>
                    </a:lnTo>
                    <a:lnTo>
                      <a:pt x="425" y="326"/>
                    </a:lnTo>
                    <a:lnTo>
                      <a:pt x="427" y="328"/>
                    </a:lnTo>
                    <a:lnTo>
                      <a:pt x="430" y="330"/>
                    </a:lnTo>
                    <a:lnTo>
                      <a:pt x="428" y="332"/>
                    </a:lnTo>
                    <a:lnTo>
                      <a:pt x="428" y="334"/>
                    </a:lnTo>
                    <a:lnTo>
                      <a:pt x="430" y="334"/>
                    </a:lnTo>
                    <a:lnTo>
                      <a:pt x="434" y="336"/>
                    </a:lnTo>
                    <a:lnTo>
                      <a:pt x="432" y="332"/>
                    </a:lnTo>
                    <a:lnTo>
                      <a:pt x="432" y="328"/>
                    </a:lnTo>
                    <a:lnTo>
                      <a:pt x="434" y="328"/>
                    </a:lnTo>
                    <a:lnTo>
                      <a:pt x="434" y="330"/>
                    </a:lnTo>
                    <a:lnTo>
                      <a:pt x="438" y="330"/>
                    </a:lnTo>
                    <a:lnTo>
                      <a:pt x="438" y="324"/>
                    </a:lnTo>
                    <a:lnTo>
                      <a:pt x="440" y="319"/>
                    </a:lnTo>
                    <a:lnTo>
                      <a:pt x="436" y="319"/>
                    </a:lnTo>
                    <a:lnTo>
                      <a:pt x="434" y="317"/>
                    </a:lnTo>
                    <a:lnTo>
                      <a:pt x="430" y="317"/>
                    </a:lnTo>
                    <a:lnTo>
                      <a:pt x="430" y="324"/>
                    </a:lnTo>
                    <a:lnTo>
                      <a:pt x="427" y="322"/>
                    </a:lnTo>
                    <a:lnTo>
                      <a:pt x="423" y="322"/>
                    </a:lnTo>
                    <a:lnTo>
                      <a:pt x="421" y="317"/>
                    </a:lnTo>
                    <a:lnTo>
                      <a:pt x="421" y="313"/>
                    </a:lnTo>
                    <a:lnTo>
                      <a:pt x="417" y="311"/>
                    </a:lnTo>
                    <a:lnTo>
                      <a:pt x="415" y="311"/>
                    </a:lnTo>
                    <a:lnTo>
                      <a:pt x="417" y="309"/>
                    </a:lnTo>
                    <a:lnTo>
                      <a:pt x="421" y="307"/>
                    </a:lnTo>
                    <a:lnTo>
                      <a:pt x="419" y="303"/>
                    </a:lnTo>
                    <a:lnTo>
                      <a:pt x="419" y="301"/>
                    </a:lnTo>
                    <a:lnTo>
                      <a:pt x="415" y="301"/>
                    </a:lnTo>
                    <a:lnTo>
                      <a:pt x="415" y="299"/>
                    </a:lnTo>
                    <a:lnTo>
                      <a:pt x="415" y="298"/>
                    </a:lnTo>
                    <a:lnTo>
                      <a:pt x="413" y="296"/>
                    </a:lnTo>
                    <a:lnTo>
                      <a:pt x="411" y="294"/>
                    </a:lnTo>
                    <a:lnTo>
                      <a:pt x="402" y="292"/>
                    </a:lnTo>
                    <a:lnTo>
                      <a:pt x="402" y="292"/>
                    </a:lnTo>
                    <a:lnTo>
                      <a:pt x="407" y="290"/>
                    </a:lnTo>
                    <a:lnTo>
                      <a:pt x="413" y="288"/>
                    </a:lnTo>
                    <a:lnTo>
                      <a:pt x="411" y="290"/>
                    </a:lnTo>
                    <a:lnTo>
                      <a:pt x="415" y="292"/>
                    </a:lnTo>
                    <a:lnTo>
                      <a:pt x="413" y="284"/>
                    </a:lnTo>
                    <a:lnTo>
                      <a:pt x="415" y="278"/>
                    </a:lnTo>
                    <a:lnTo>
                      <a:pt x="419" y="284"/>
                    </a:lnTo>
                    <a:lnTo>
                      <a:pt x="423" y="290"/>
                    </a:lnTo>
                    <a:lnTo>
                      <a:pt x="425" y="290"/>
                    </a:lnTo>
                    <a:lnTo>
                      <a:pt x="428" y="290"/>
                    </a:lnTo>
                    <a:lnTo>
                      <a:pt x="428" y="294"/>
                    </a:lnTo>
                    <a:lnTo>
                      <a:pt x="430" y="294"/>
                    </a:lnTo>
                    <a:lnTo>
                      <a:pt x="434" y="294"/>
                    </a:lnTo>
                    <a:lnTo>
                      <a:pt x="434" y="296"/>
                    </a:lnTo>
                    <a:lnTo>
                      <a:pt x="432" y="298"/>
                    </a:lnTo>
                    <a:lnTo>
                      <a:pt x="432" y="299"/>
                    </a:lnTo>
                    <a:lnTo>
                      <a:pt x="434" y="301"/>
                    </a:lnTo>
                    <a:lnTo>
                      <a:pt x="436" y="307"/>
                    </a:lnTo>
                    <a:lnTo>
                      <a:pt x="438" y="315"/>
                    </a:lnTo>
                    <a:lnTo>
                      <a:pt x="440" y="315"/>
                    </a:lnTo>
                    <a:lnTo>
                      <a:pt x="444" y="315"/>
                    </a:lnTo>
                    <a:lnTo>
                      <a:pt x="444" y="319"/>
                    </a:lnTo>
                    <a:lnTo>
                      <a:pt x="446" y="322"/>
                    </a:lnTo>
                    <a:lnTo>
                      <a:pt x="442" y="324"/>
                    </a:lnTo>
                    <a:lnTo>
                      <a:pt x="442" y="328"/>
                    </a:lnTo>
                    <a:lnTo>
                      <a:pt x="444" y="328"/>
                    </a:lnTo>
                    <a:lnTo>
                      <a:pt x="446" y="330"/>
                    </a:lnTo>
                    <a:lnTo>
                      <a:pt x="446" y="326"/>
                    </a:lnTo>
                    <a:lnTo>
                      <a:pt x="446" y="324"/>
                    </a:lnTo>
                    <a:lnTo>
                      <a:pt x="448" y="326"/>
                    </a:lnTo>
                    <a:lnTo>
                      <a:pt x="453" y="328"/>
                    </a:lnTo>
                    <a:lnTo>
                      <a:pt x="451" y="330"/>
                    </a:lnTo>
                    <a:lnTo>
                      <a:pt x="451" y="332"/>
                    </a:lnTo>
                    <a:lnTo>
                      <a:pt x="453" y="332"/>
                    </a:lnTo>
                    <a:lnTo>
                      <a:pt x="455" y="330"/>
                    </a:lnTo>
                    <a:lnTo>
                      <a:pt x="455" y="336"/>
                    </a:lnTo>
                    <a:lnTo>
                      <a:pt x="455" y="346"/>
                    </a:lnTo>
                    <a:lnTo>
                      <a:pt x="457" y="344"/>
                    </a:lnTo>
                    <a:lnTo>
                      <a:pt x="459" y="340"/>
                    </a:lnTo>
                    <a:lnTo>
                      <a:pt x="461" y="346"/>
                    </a:lnTo>
                    <a:lnTo>
                      <a:pt x="463" y="353"/>
                    </a:lnTo>
                    <a:lnTo>
                      <a:pt x="465" y="351"/>
                    </a:lnTo>
                    <a:lnTo>
                      <a:pt x="469" y="353"/>
                    </a:lnTo>
                    <a:lnTo>
                      <a:pt x="469" y="347"/>
                    </a:lnTo>
                    <a:lnTo>
                      <a:pt x="471" y="346"/>
                    </a:lnTo>
                    <a:lnTo>
                      <a:pt x="471" y="347"/>
                    </a:lnTo>
                    <a:lnTo>
                      <a:pt x="471" y="351"/>
                    </a:lnTo>
                    <a:lnTo>
                      <a:pt x="471" y="353"/>
                    </a:lnTo>
                    <a:lnTo>
                      <a:pt x="469" y="355"/>
                    </a:lnTo>
                    <a:lnTo>
                      <a:pt x="467" y="357"/>
                    </a:lnTo>
                    <a:lnTo>
                      <a:pt x="467" y="361"/>
                    </a:lnTo>
                    <a:lnTo>
                      <a:pt x="469" y="363"/>
                    </a:lnTo>
                    <a:lnTo>
                      <a:pt x="471" y="365"/>
                    </a:lnTo>
                    <a:lnTo>
                      <a:pt x="476" y="365"/>
                    </a:lnTo>
                    <a:lnTo>
                      <a:pt x="476" y="361"/>
                    </a:lnTo>
                    <a:lnTo>
                      <a:pt x="482" y="357"/>
                    </a:lnTo>
                    <a:lnTo>
                      <a:pt x="482" y="357"/>
                    </a:lnTo>
                    <a:lnTo>
                      <a:pt x="484" y="357"/>
                    </a:lnTo>
                    <a:lnTo>
                      <a:pt x="486" y="353"/>
                    </a:lnTo>
                    <a:lnTo>
                      <a:pt x="486" y="353"/>
                    </a:lnTo>
                    <a:lnTo>
                      <a:pt x="488" y="349"/>
                    </a:lnTo>
                    <a:lnTo>
                      <a:pt x="486" y="347"/>
                    </a:lnTo>
                    <a:lnTo>
                      <a:pt x="488" y="344"/>
                    </a:lnTo>
                    <a:lnTo>
                      <a:pt x="488" y="340"/>
                    </a:lnTo>
                    <a:lnTo>
                      <a:pt x="486" y="338"/>
                    </a:lnTo>
                    <a:lnTo>
                      <a:pt x="484" y="332"/>
                    </a:lnTo>
                    <a:lnTo>
                      <a:pt x="482" y="332"/>
                    </a:lnTo>
                    <a:lnTo>
                      <a:pt x="480" y="330"/>
                    </a:lnTo>
                    <a:lnTo>
                      <a:pt x="476" y="328"/>
                    </a:lnTo>
                    <a:lnTo>
                      <a:pt x="473" y="326"/>
                    </a:lnTo>
                    <a:lnTo>
                      <a:pt x="469" y="322"/>
                    </a:lnTo>
                    <a:lnTo>
                      <a:pt x="465" y="321"/>
                    </a:lnTo>
                    <a:lnTo>
                      <a:pt x="461" y="315"/>
                    </a:lnTo>
                    <a:lnTo>
                      <a:pt x="457" y="307"/>
                    </a:lnTo>
                    <a:lnTo>
                      <a:pt x="451" y="301"/>
                    </a:lnTo>
                    <a:lnTo>
                      <a:pt x="450" y="294"/>
                    </a:lnTo>
                    <a:lnTo>
                      <a:pt x="440" y="284"/>
                    </a:lnTo>
                    <a:lnTo>
                      <a:pt x="432" y="276"/>
                    </a:lnTo>
                    <a:lnTo>
                      <a:pt x="428" y="271"/>
                    </a:lnTo>
                    <a:lnTo>
                      <a:pt x="421" y="265"/>
                    </a:lnTo>
                    <a:lnTo>
                      <a:pt x="419" y="265"/>
                    </a:lnTo>
                    <a:lnTo>
                      <a:pt x="417" y="263"/>
                    </a:lnTo>
                    <a:lnTo>
                      <a:pt x="415" y="261"/>
                    </a:lnTo>
                    <a:lnTo>
                      <a:pt x="415" y="259"/>
                    </a:lnTo>
                    <a:lnTo>
                      <a:pt x="411" y="255"/>
                    </a:lnTo>
                    <a:lnTo>
                      <a:pt x="407" y="251"/>
                    </a:lnTo>
                    <a:lnTo>
                      <a:pt x="402" y="250"/>
                    </a:lnTo>
                    <a:lnTo>
                      <a:pt x="396" y="251"/>
                    </a:lnTo>
                    <a:lnTo>
                      <a:pt x="394" y="253"/>
                    </a:lnTo>
                    <a:lnTo>
                      <a:pt x="396" y="259"/>
                    </a:lnTo>
                    <a:lnTo>
                      <a:pt x="390" y="263"/>
                    </a:lnTo>
                    <a:lnTo>
                      <a:pt x="384" y="265"/>
                    </a:lnTo>
                    <a:lnTo>
                      <a:pt x="380" y="269"/>
                    </a:lnTo>
                    <a:lnTo>
                      <a:pt x="379" y="269"/>
                    </a:lnTo>
                    <a:lnTo>
                      <a:pt x="379" y="265"/>
                    </a:lnTo>
                    <a:lnTo>
                      <a:pt x="379" y="263"/>
                    </a:lnTo>
                    <a:lnTo>
                      <a:pt x="371" y="255"/>
                    </a:lnTo>
                    <a:lnTo>
                      <a:pt x="363" y="250"/>
                    </a:lnTo>
                    <a:lnTo>
                      <a:pt x="359" y="244"/>
                    </a:lnTo>
                    <a:lnTo>
                      <a:pt x="357" y="240"/>
                    </a:lnTo>
                    <a:lnTo>
                      <a:pt x="357" y="236"/>
                    </a:lnTo>
                    <a:lnTo>
                      <a:pt x="357" y="232"/>
                    </a:lnTo>
                    <a:lnTo>
                      <a:pt x="357" y="232"/>
                    </a:lnTo>
                    <a:lnTo>
                      <a:pt x="352" y="236"/>
                    </a:lnTo>
                    <a:lnTo>
                      <a:pt x="348" y="236"/>
                    </a:lnTo>
                    <a:lnTo>
                      <a:pt x="344" y="232"/>
                    </a:lnTo>
                    <a:lnTo>
                      <a:pt x="336" y="234"/>
                    </a:lnTo>
                    <a:lnTo>
                      <a:pt x="333" y="236"/>
                    </a:lnTo>
                    <a:lnTo>
                      <a:pt x="327" y="31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8" name="Freeform 286"/>
              <p:cNvSpPr>
                <a:spLocks/>
              </p:cNvSpPr>
              <p:nvPr/>
            </p:nvSpPr>
            <p:spPr bwMode="gray">
              <a:xfrm>
                <a:off x="7716382" y="5581651"/>
                <a:ext cx="22223" cy="22225"/>
              </a:xfrm>
              <a:custGeom>
                <a:avLst/>
                <a:gdLst>
                  <a:gd name="T0" fmla="*/ 0 w 14"/>
                  <a:gd name="T1" fmla="*/ 6 h 14"/>
                  <a:gd name="T2" fmla="*/ 0 w 14"/>
                  <a:gd name="T3" fmla="*/ 4 h 14"/>
                  <a:gd name="T4" fmla="*/ 2 w 14"/>
                  <a:gd name="T5" fmla="*/ 2 h 14"/>
                  <a:gd name="T6" fmla="*/ 4 w 14"/>
                  <a:gd name="T7" fmla="*/ 0 h 14"/>
                  <a:gd name="T8" fmla="*/ 6 w 14"/>
                  <a:gd name="T9" fmla="*/ 0 h 14"/>
                  <a:gd name="T10" fmla="*/ 10 w 14"/>
                  <a:gd name="T11" fmla="*/ 0 h 14"/>
                  <a:gd name="T12" fmla="*/ 12 w 14"/>
                  <a:gd name="T13" fmla="*/ 2 h 14"/>
                  <a:gd name="T14" fmla="*/ 14 w 14"/>
                  <a:gd name="T15" fmla="*/ 4 h 14"/>
                  <a:gd name="T16" fmla="*/ 14 w 14"/>
                  <a:gd name="T17" fmla="*/ 6 h 14"/>
                  <a:gd name="T18" fmla="*/ 14 w 14"/>
                  <a:gd name="T19" fmla="*/ 10 h 14"/>
                  <a:gd name="T20" fmla="*/ 12 w 14"/>
                  <a:gd name="T21" fmla="*/ 12 h 14"/>
                  <a:gd name="T22" fmla="*/ 10 w 14"/>
                  <a:gd name="T23" fmla="*/ 14 h 14"/>
                  <a:gd name="T24" fmla="*/ 6 w 14"/>
                  <a:gd name="T25" fmla="*/ 14 h 14"/>
                  <a:gd name="T26" fmla="*/ 4 w 14"/>
                  <a:gd name="T27" fmla="*/ 14 h 14"/>
                  <a:gd name="T28" fmla="*/ 2 w 14"/>
                  <a:gd name="T29" fmla="*/ 12 h 14"/>
                  <a:gd name="T30" fmla="*/ 0 w 14"/>
                  <a:gd name="T31" fmla="*/ 10 h 14"/>
                  <a:gd name="T32" fmla="*/ 0 w 14"/>
                  <a:gd name="T3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14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10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1289" name="Freeform 287"/>
              <p:cNvSpPr>
                <a:spLocks/>
              </p:cNvSpPr>
              <p:nvPr/>
            </p:nvSpPr>
            <p:spPr bwMode="gray">
              <a:xfrm>
                <a:off x="7214787" y="5564189"/>
                <a:ext cx="20635" cy="20638"/>
              </a:xfrm>
              <a:custGeom>
                <a:avLst/>
                <a:gdLst>
                  <a:gd name="T0" fmla="*/ 0 w 13"/>
                  <a:gd name="T1" fmla="*/ 6 h 13"/>
                  <a:gd name="T2" fmla="*/ 0 w 13"/>
                  <a:gd name="T3" fmla="*/ 4 h 13"/>
                  <a:gd name="T4" fmla="*/ 2 w 13"/>
                  <a:gd name="T5" fmla="*/ 2 h 13"/>
                  <a:gd name="T6" fmla="*/ 4 w 13"/>
                  <a:gd name="T7" fmla="*/ 0 h 13"/>
                  <a:gd name="T8" fmla="*/ 6 w 13"/>
                  <a:gd name="T9" fmla="*/ 0 h 13"/>
                  <a:gd name="T10" fmla="*/ 9 w 13"/>
                  <a:gd name="T11" fmla="*/ 0 h 13"/>
                  <a:gd name="T12" fmla="*/ 11 w 13"/>
                  <a:gd name="T13" fmla="*/ 2 h 13"/>
                  <a:gd name="T14" fmla="*/ 11 w 13"/>
                  <a:gd name="T15" fmla="*/ 4 h 13"/>
                  <a:gd name="T16" fmla="*/ 13 w 13"/>
                  <a:gd name="T17" fmla="*/ 6 h 13"/>
                  <a:gd name="T18" fmla="*/ 11 w 13"/>
                  <a:gd name="T19" fmla="*/ 9 h 13"/>
                  <a:gd name="T20" fmla="*/ 11 w 13"/>
                  <a:gd name="T21" fmla="*/ 11 h 13"/>
                  <a:gd name="T22" fmla="*/ 9 w 13"/>
                  <a:gd name="T23" fmla="*/ 11 h 13"/>
                  <a:gd name="T24" fmla="*/ 6 w 13"/>
                  <a:gd name="T25" fmla="*/ 13 h 13"/>
                  <a:gd name="T26" fmla="*/ 4 w 13"/>
                  <a:gd name="T27" fmla="*/ 11 h 13"/>
                  <a:gd name="T28" fmla="*/ 2 w 13"/>
                  <a:gd name="T29" fmla="*/ 11 h 13"/>
                  <a:gd name="T30" fmla="*/ 0 w 13"/>
                  <a:gd name="T31" fmla="*/ 9 h 13"/>
                  <a:gd name="T32" fmla="*/ 0 w 13"/>
                  <a:gd name="T3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" h="13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3" y="6"/>
                    </a:lnTo>
                    <a:lnTo>
                      <a:pt x="11" y="9"/>
                    </a:lnTo>
                    <a:lnTo>
                      <a:pt x="11" y="11"/>
                    </a:lnTo>
                    <a:lnTo>
                      <a:pt x="9" y="11"/>
                    </a:lnTo>
                    <a:lnTo>
                      <a:pt x="6" y="13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0" cap="flat" cmpd="sng">
                <a:solidFill>
                  <a:srgbClr val="58575C">
                    <a:lumMod val="20000"/>
                    <a:lumOff val="80000"/>
                  </a:srgb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6462" tIns="66462" rIns="66462" bIns="66462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sp>
          <p:nvSpPr>
            <p:cNvPr id="687" name="Freeform 245"/>
            <p:cNvSpPr>
              <a:spLocks/>
            </p:cNvSpPr>
            <p:nvPr/>
          </p:nvSpPr>
          <p:spPr bwMode="gray">
            <a:xfrm>
              <a:off x="2310221" y="222080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88" name="Freeform 246"/>
            <p:cNvSpPr>
              <a:spLocks/>
            </p:cNvSpPr>
            <p:nvPr/>
          </p:nvSpPr>
          <p:spPr bwMode="gray">
            <a:xfrm>
              <a:off x="2310220" y="222080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89" name="Freeform 247"/>
            <p:cNvSpPr>
              <a:spLocks/>
            </p:cNvSpPr>
            <p:nvPr/>
          </p:nvSpPr>
          <p:spPr bwMode="gray">
            <a:xfrm>
              <a:off x="2349914" y="2317390"/>
              <a:ext cx="64008" cy="64008"/>
            </a:xfrm>
            <a:custGeom>
              <a:avLst/>
              <a:gdLst>
                <a:gd name="T0" fmla="*/ 32 w 65"/>
                <a:gd name="T1" fmla="*/ 65 h 65"/>
                <a:gd name="T2" fmla="*/ 32 w 65"/>
                <a:gd name="T3" fmla="*/ 65 h 65"/>
                <a:gd name="T4" fmla="*/ 65 w 65"/>
                <a:gd name="T5" fmla="*/ 32 h 65"/>
                <a:gd name="T6" fmla="*/ 32 w 65"/>
                <a:gd name="T7" fmla="*/ 0 h 65"/>
                <a:gd name="T8" fmla="*/ 0 w 65"/>
                <a:gd name="T9" fmla="*/ 32 h 65"/>
                <a:gd name="T10" fmla="*/ 32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lnTo>
                    <a:pt x="32" y="65"/>
                  </a:lnTo>
                  <a:cubicBezTo>
                    <a:pt x="51" y="65"/>
                    <a:pt x="65" y="50"/>
                    <a:pt x="65" y="32"/>
                  </a:cubicBezTo>
                  <a:cubicBezTo>
                    <a:pt x="65" y="14"/>
                    <a:pt x="51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5"/>
                    <a:pt x="32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0" name="Freeform 248"/>
            <p:cNvSpPr>
              <a:spLocks/>
            </p:cNvSpPr>
            <p:nvPr/>
          </p:nvSpPr>
          <p:spPr bwMode="gray">
            <a:xfrm>
              <a:off x="2349914" y="2317390"/>
              <a:ext cx="64008" cy="64008"/>
            </a:xfrm>
            <a:custGeom>
              <a:avLst/>
              <a:gdLst>
                <a:gd name="T0" fmla="*/ 32 w 65"/>
                <a:gd name="T1" fmla="*/ 65 h 65"/>
                <a:gd name="T2" fmla="*/ 32 w 65"/>
                <a:gd name="T3" fmla="*/ 65 h 65"/>
                <a:gd name="T4" fmla="*/ 65 w 65"/>
                <a:gd name="T5" fmla="*/ 32 h 65"/>
                <a:gd name="T6" fmla="*/ 32 w 65"/>
                <a:gd name="T7" fmla="*/ 0 h 65"/>
                <a:gd name="T8" fmla="*/ 0 w 65"/>
                <a:gd name="T9" fmla="*/ 32 h 65"/>
                <a:gd name="T10" fmla="*/ 32 w 65"/>
                <a:gd name="T11" fmla="*/ 65 h 65"/>
                <a:gd name="T12" fmla="*/ 32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lnTo>
                    <a:pt x="32" y="65"/>
                  </a:lnTo>
                  <a:cubicBezTo>
                    <a:pt x="51" y="65"/>
                    <a:pt x="65" y="50"/>
                    <a:pt x="65" y="32"/>
                  </a:cubicBezTo>
                  <a:cubicBezTo>
                    <a:pt x="65" y="14"/>
                    <a:pt x="51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5"/>
                    <a:pt x="32" y="65"/>
                  </a:cubicBezTo>
                  <a:lnTo>
                    <a:pt x="32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1" name="Freeform 249"/>
            <p:cNvSpPr>
              <a:spLocks/>
            </p:cNvSpPr>
            <p:nvPr/>
          </p:nvSpPr>
          <p:spPr bwMode="gray">
            <a:xfrm>
              <a:off x="2363145" y="2470872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2" name="Freeform 250"/>
            <p:cNvSpPr>
              <a:spLocks/>
            </p:cNvSpPr>
            <p:nvPr/>
          </p:nvSpPr>
          <p:spPr bwMode="gray">
            <a:xfrm>
              <a:off x="2363145" y="2470872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3" name="Freeform 251"/>
            <p:cNvSpPr>
              <a:spLocks/>
            </p:cNvSpPr>
            <p:nvPr/>
          </p:nvSpPr>
          <p:spPr bwMode="gray">
            <a:xfrm>
              <a:off x="2433272" y="252512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4" name="Freeform 252"/>
            <p:cNvSpPr>
              <a:spLocks/>
            </p:cNvSpPr>
            <p:nvPr/>
          </p:nvSpPr>
          <p:spPr bwMode="gray">
            <a:xfrm>
              <a:off x="2433272" y="252512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5" name="Freeform 253"/>
            <p:cNvSpPr>
              <a:spLocks/>
            </p:cNvSpPr>
            <p:nvPr/>
          </p:nvSpPr>
          <p:spPr bwMode="gray">
            <a:xfrm>
              <a:off x="2468995" y="260583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6" name="Freeform 254"/>
            <p:cNvSpPr>
              <a:spLocks/>
            </p:cNvSpPr>
            <p:nvPr/>
          </p:nvSpPr>
          <p:spPr bwMode="gray">
            <a:xfrm>
              <a:off x="2468995" y="260583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7" name="Freeform 255"/>
            <p:cNvSpPr>
              <a:spLocks/>
            </p:cNvSpPr>
            <p:nvPr/>
          </p:nvSpPr>
          <p:spPr bwMode="gray">
            <a:xfrm>
              <a:off x="2511335" y="2579368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8" name="Freeform 256"/>
            <p:cNvSpPr>
              <a:spLocks/>
            </p:cNvSpPr>
            <p:nvPr/>
          </p:nvSpPr>
          <p:spPr bwMode="gray">
            <a:xfrm>
              <a:off x="2511335" y="2579368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699" name="Freeform 257"/>
            <p:cNvSpPr>
              <a:spLocks/>
            </p:cNvSpPr>
            <p:nvPr/>
          </p:nvSpPr>
          <p:spPr bwMode="gray">
            <a:xfrm>
              <a:off x="2549707" y="260583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0" name="Freeform 258"/>
            <p:cNvSpPr>
              <a:spLocks/>
            </p:cNvSpPr>
            <p:nvPr/>
          </p:nvSpPr>
          <p:spPr bwMode="gray">
            <a:xfrm>
              <a:off x="2549707" y="260583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1" name="Freeform 259"/>
            <p:cNvSpPr>
              <a:spLocks/>
            </p:cNvSpPr>
            <p:nvPr/>
          </p:nvSpPr>
          <p:spPr bwMode="gray">
            <a:xfrm>
              <a:off x="2659524" y="258201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2" name="Freeform 260"/>
            <p:cNvSpPr>
              <a:spLocks/>
            </p:cNvSpPr>
            <p:nvPr/>
          </p:nvSpPr>
          <p:spPr bwMode="gray">
            <a:xfrm>
              <a:off x="2659524" y="258201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3" name="Freeform 261"/>
            <p:cNvSpPr>
              <a:spLocks/>
            </p:cNvSpPr>
            <p:nvPr/>
          </p:nvSpPr>
          <p:spPr bwMode="gray">
            <a:xfrm>
              <a:off x="2818299" y="261244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4" name="Freeform 262"/>
            <p:cNvSpPr>
              <a:spLocks/>
            </p:cNvSpPr>
            <p:nvPr/>
          </p:nvSpPr>
          <p:spPr bwMode="gray">
            <a:xfrm>
              <a:off x="2818299" y="261244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5" name="Freeform 263"/>
            <p:cNvSpPr>
              <a:spLocks/>
            </p:cNvSpPr>
            <p:nvPr/>
          </p:nvSpPr>
          <p:spPr bwMode="gray">
            <a:xfrm>
              <a:off x="3164957" y="2244618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6" name="Freeform 264"/>
            <p:cNvSpPr>
              <a:spLocks/>
            </p:cNvSpPr>
            <p:nvPr/>
          </p:nvSpPr>
          <p:spPr bwMode="gray">
            <a:xfrm>
              <a:off x="3164957" y="2244618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7" name="Freeform 265"/>
            <p:cNvSpPr>
              <a:spLocks/>
            </p:cNvSpPr>
            <p:nvPr/>
          </p:nvSpPr>
          <p:spPr bwMode="gray">
            <a:xfrm>
              <a:off x="3293302" y="242853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8" name="Freeform 266"/>
            <p:cNvSpPr>
              <a:spLocks/>
            </p:cNvSpPr>
            <p:nvPr/>
          </p:nvSpPr>
          <p:spPr bwMode="gray">
            <a:xfrm>
              <a:off x="3293302" y="242853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09" name="Freeform 267"/>
            <p:cNvSpPr>
              <a:spLocks/>
            </p:cNvSpPr>
            <p:nvPr/>
          </p:nvSpPr>
          <p:spPr bwMode="gray">
            <a:xfrm>
              <a:off x="4568792" y="2163908"/>
              <a:ext cx="64008" cy="64008"/>
            </a:xfrm>
            <a:custGeom>
              <a:avLst/>
              <a:gdLst>
                <a:gd name="T0" fmla="*/ 33 w 66"/>
                <a:gd name="T1" fmla="*/ 64 h 64"/>
                <a:gd name="T2" fmla="*/ 33 w 66"/>
                <a:gd name="T3" fmla="*/ 64 h 64"/>
                <a:gd name="T4" fmla="*/ 66 w 66"/>
                <a:gd name="T5" fmla="*/ 32 h 64"/>
                <a:gd name="T6" fmla="*/ 33 w 66"/>
                <a:gd name="T7" fmla="*/ 0 h 64"/>
                <a:gd name="T8" fmla="*/ 0 w 66"/>
                <a:gd name="T9" fmla="*/ 32 h 64"/>
                <a:gd name="T10" fmla="*/ 33 w 66"/>
                <a:gd name="T1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4">
                  <a:moveTo>
                    <a:pt x="33" y="64"/>
                  </a:moveTo>
                  <a:lnTo>
                    <a:pt x="33" y="64"/>
                  </a:lnTo>
                  <a:cubicBezTo>
                    <a:pt x="51" y="64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4"/>
                    <a:pt x="33" y="64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0" name="Freeform 268"/>
            <p:cNvSpPr>
              <a:spLocks/>
            </p:cNvSpPr>
            <p:nvPr/>
          </p:nvSpPr>
          <p:spPr bwMode="gray">
            <a:xfrm>
              <a:off x="4568792" y="2163908"/>
              <a:ext cx="64008" cy="64008"/>
            </a:xfrm>
            <a:custGeom>
              <a:avLst/>
              <a:gdLst>
                <a:gd name="T0" fmla="*/ 33 w 66"/>
                <a:gd name="T1" fmla="*/ 64 h 64"/>
                <a:gd name="T2" fmla="*/ 33 w 66"/>
                <a:gd name="T3" fmla="*/ 64 h 64"/>
                <a:gd name="T4" fmla="*/ 66 w 66"/>
                <a:gd name="T5" fmla="*/ 32 h 64"/>
                <a:gd name="T6" fmla="*/ 33 w 66"/>
                <a:gd name="T7" fmla="*/ 0 h 64"/>
                <a:gd name="T8" fmla="*/ 0 w 66"/>
                <a:gd name="T9" fmla="*/ 32 h 64"/>
                <a:gd name="T10" fmla="*/ 33 w 66"/>
                <a:gd name="T11" fmla="*/ 64 h 64"/>
                <a:gd name="T12" fmla="*/ 33 w 66"/>
                <a:gd name="T13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4">
                  <a:moveTo>
                    <a:pt x="33" y="64"/>
                  </a:moveTo>
                  <a:lnTo>
                    <a:pt x="33" y="64"/>
                  </a:lnTo>
                  <a:cubicBezTo>
                    <a:pt x="51" y="64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4"/>
                    <a:pt x="33" y="64"/>
                  </a:cubicBezTo>
                  <a:lnTo>
                    <a:pt x="33" y="64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1" name="Freeform 269"/>
            <p:cNvSpPr>
              <a:spLocks/>
            </p:cNvSpPr>
            <p:nvPr/>
          </p:nvSpPr>
          <p:spPr bwMode="gray">
            <a:xfrm>
              <a:off x="4559529" y="2232710"/>
              <a:ext cx="64008" cy="64008"/>
            </a:xfrm>
            <a:custGeom>
              <a:avLst/>
              <a:gdLst>
                <a:gd name="T0" fmla="*/ 32 w 65"/>
                <a:gd name="T1" fmla="*/ 65 h 65"/>
                <a:gd name="T2" fmla="*/ 32 w 65"/>
                <a:gd name="T3" fmla="*/ 65 h 65"/>
                <a:gd name="T4" fmla="*/ 65 w 65"/>
                <a:gd name="T5" fmla="*/ 33 h 65"/>
                <a:gd name="T6" fmla="*/ 32 w 65"/>
                <a:gd name="T7" fmla="*/ 0 h 65"/>
                <a:gd name="T8" fmla="*/ 0 w 65"/>
                <a:gd name="T9" fmla="*/ 33 h 65"/>
                <a:gd name="T10" fmla="*/ 32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lnTo>
                    <a:pt x="32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4"/>
                    <a:pt x="51" y="0"/>
                    <a:pt x="32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1"/>
                    <a:pt x="14" y="65"/>
                    <a:pt x="32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2" name="Freeform 270"/>
            <p:cNvSpPr>
              <a:spLocks/>
            </p:cNvSpPr>
            <p:nvPr/>
          </p:nvSpPr>
          <p:spPr bwMode="gray">
            <a:xfrm>
              <a:off x="4559529" y="2232710"/>
              <a:ext cx="64008" cy="64008"/>
            </a:xfrm>
            <a:custGeom>
              <a:avLst/>
              <a:gdLst>
                <a:gd name="T0" fmla="*/ 32 w 65"/>
                <a:gd name="T1" fmla="*/ 65 h 65"/>
                <a:gd name="T2" fmla="*/ 32 w 65"/>
                <a:gd name="T3" fmla="*/ 65 h 65"/>
                <a:gd name="T4" fmla="*/ 65 w 65"/>
                <a:gd name="T5" fmla="*/ 33 h 65"/>
                <a:gd name="T6" fmla="*/ 32 w 65"/>
                <a:gd name="T7" fmla="*/ 0 h 65"/>
                <a:gd name="T8" fmla="*/ 0 w 65"/>
                <a:gd name="T9" fmla="*/ 33 h 65"/>
                <a:gd name="T10" fmla="*/ 32 w 65"/>
                <a:gd name="T11" fmla="*/ 65 h 65"/>
                <a:gd name="T12" fmla="*/ 32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lnTo>
                    <a:pt x="32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4"/>
                    <a:pt x="51" y="0"/>
                    <a:pt x="32" y="0"/>
                  </a:cubicBezTo>
                  <a:cubicBezTo>
                    <a:pt x="14" y="0"/>
                    <a:pt x="0" y="14"/>
                    <a:pt x="0" y="33"/>
                  </a:cubicBezTo>
                  <a:cubicBezTo>
                    <a:pt x="0" y="51"/>
                    <a:pt x="14" y="65"/>
                    <a:pt x="32" y="65"/>
                  </a:cubicBezTo>
                  <a:lnTo>
                    <a:pt x="32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3" name="Freeform 271"/>
            <p:cNvSpPr>
              <a:spLocks/>
            </p:cNvSpPr>
            <p:nvPr/>
          </p:nvSpPr>
          <p:spPr bwMode="gray">
            <a:xfrm>
              <a:off x="5176105" y="248542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4" name="Freeform 272"/>
            <p:cNvSpPr>
              <a:spLocks/>
            </p:cNvSpPr>
            <p:nvPr/>
          </p:nvSpPr>
          <p:spPr bwMode="gray">
            <a:xfrm>
              <a:off x="5176105" y="248542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5" name="Freeform 273"/>
            <p:cNvSpPr>
              <a:spLocks/>
            </p:cNvSpPr>
            <p:nvPr/>
          </p:nvSpPr>
          <p:spPr bwMode="gray">
            <a:xfrm>
              <a:off x="5239615" y="273285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6" name="Freeform 274"/>
            <p:cNvSpPr>
              <a:spLocks/>
            </p:cNvSpPr>
            <p:nvPr/>
          </p:nvSpPr>
          <p:spPr bwMode="gray">
            <a:xfrm>
              <a:off x="5239615" y="273285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7" name="Freeform 275"/>
            <p:cNvSpPr>
              <a:spLocks/>
            </p:cNvSpPr>
            <p:nvPr/>
          </p:nvSpPr>
          <p:spPr bwMode="gray">
            <a:xfrm>
              <a:off x="5610090" y="273682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8" name="Freeform 276"/>
            <p:cNvSpPr>
              <a:spLocks/>
            </p:cNvSpPr>
            <p:nvPr/>
          </p:nvSpPr>
          <p:spPr bwMode="gray">
            <a:xfrm>
              <a:off x="5610090" y="273682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19" name="Freeform 277"/>
            <p:cNvSpPr>
              <a:spLocks/>
            </p:cNvSpPr>
            <p:nvPr/>
          </p:nvSpPr>
          <p:spPr bwMode="gray">
            <a:xfrm>
              <a:off x="5950132" y="2562167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0" name="Freeform 278"/>
            <p:cNvSpPr>
              <a:spLocks/>
            </p:cNvSpPr>
            <p:nvPr/>
          </p:nvSpPr>
          <p:spPr bwMode="gray">
            <a:xfrm>
              <a:off x="5950132" y="2562167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1" name="Freeform 279"/>
            <p:cNvSpPr>
              <a:spLocks/>
            </p:cNvSpPr>
            <p:nvPr/>
          </p:nvSpPr>
          <p:spPr bwMode="gray">
            <a:xfrm>
              <a:off x="6033489" y="2670663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2" name="Freeform 280"/>
            <p:cNvSpPr>
              <a:spLocks/>
            </p:cNvSpPr>
            <p:nvPr/>
          </p:nvSpPr>
          <p:spPr bwMode="gray">
            <a:xfrm>
              <a:off x="6033489" y="2670663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3" name="Freeform 281"/>
            <p:cNvSpPr>
              <a:spLocks/>
            </p:cNvSpPr>
            <p:nvPr/>
          </p:nvSpPr>
          <p:spPr bwMode="gray">
            <a:xfrm>
              <a:off x="5981887" y="2817531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4" name="Freeform 282"/>
            <p:cNvSpPr>
              <a:spLocks/>
            </p:cNvSpPr>
            <p:nvPr/>
          </p:nvSpPr>
          <p:spPr bwMode="gray">
            <a:xfrm>
              <a:off x="5981887" y="2817531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5" name="Freeform 283"/>
            <p:cNvSpPr>
              <a:spLocks/>
            </p:cNvSpPr>
            <p:nvPr/>
          </p:nvSpPr>
          <p:spPr bwMode="gray">
            <a:xfrm>
              <a:off x="6189617" y="2847962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6" name="Freeform 284"/>
            <p:cNvSpPr>
              <a:spLocks/>
            </p:cNvSpPr>
            <p:nvPr/>
          </p:nvSpPr>
          <p:spPr bwMode="gray">
            <a:xfrm>
              <a:off x="6189617" y="2847962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7" name="Freeform 285"/>
            <p:cNvSpPr>
              <a:spLocks/>
            </p:cNvSpPr>
            <p:nvPr/>
          </p:nvSpPr>
          <p:spPr bwMode="gray">
            <a:xfrm>
              <a:off x="6426456" y="285722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8" name="Freeform 286"/>
            <p:cNvSpPr>
              <a:spLocks/>
            </p:cNvSpPr>
            <p:nvPr/>
          </p:nvSpPr>
          <p:spPr bwMode="gray">
            <a:xfrm>
              <a:off x="6426456" y="285722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29" name="Freeform 287"/>
            <p:cNvSpPr>
              <a:spLocks/>
            </p:cNvSpPr>
            <p:nvPr/>
          </p:nvSpPr>
          <p:spPr bwMode="gray">
            <a:xfrm>
              <a:off x="6753267" y="2791068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0" name="Freeform 288"/>
            <p:cNvSpPr>
              <a:spLocks/>
            </p:cNvSpPr>
            <p:nvPr/>
          </p:nvSpPr>
          <p:spPr bwMode="gray">
            <a:xfrm>
              <a:off x="6753267" y="2791068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1" name="Freeform 289"/>
            <p:cNvSpPr>
              <a:spLocks/>
            </p:cNvSpPr>
            <p:nvPr/>
          </p:nvSpPr>
          <p:spPr bwMode="gray">
            <a:xfrm>
              <a:off x="6962321" y="3029230"/>
              <a:ext cx="64008" cy="64008"/>
            </a:xfrm>
            <a:custGeom>
              <a:avLst/>
              <a:gdLst>
                <a:gd name="T0" fmla="*/ 32 w 65"/>
                <a:gd name="T1" fmla="*/ 65 h 65"/>
                <a:gd name="T2" fmla="*/ 32 w 65"/>
                <a:gd name="T3" fmla="*/ 65 h 65"/>
                <a:gd name="T4" fmla="*/ 65 w 65"/>
                <a:gd name="T5" fmla="*/ 32 h 65"/>
                <a:gd name="T6" fmla="*/ 32 w 65"/>
                <a:gd name="T7" fmla="*/ 0 h 65"/>
                <a:gd name="T8" fmla="*/ 0 w 65"/>
                <a:gd name="T9" fmla="*/ 32 h 65"/>
                <a:gd name="T10" fmla="*/ 32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lnTo>
                    <a:pt x="32" y="65"/>
                  </a:lnTo>
                  <a:cubicBezTo>
                    <a:pt x="50" y="65"/>
                    <a:pt x="65" y="50"/>
                    <a:pt x="65" y="32"/>
                  </a:cubicBezTo>
                  <a:cubicBezTo>
                    <a:pt x="65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5"/>
                    <a:pt x="32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2" name="Freeform 290"/>
            <p:cNvSpPr>
              <a:spLocks/>
            </p:cNvSpPr>
            <p:nvPr/>
          </p:nvSpPr>
          <p:spPr bwMode="gray">
            <a:xfrm>
              <a:off x="6962321" y="3029230"/>
              <a:ext cx="64008" cy="64008"/>
            </a:xfrm>
            <a:custGeom>
              <a:avLst/>
              <a:gdLst>
                <a:gd name="T0" fmla="*/ 32 w 65"/>
                <a:gd name="T1" fmla="*/ 65 h 65"/>
                <a:gd name="T2" fmla="*/ 32 w 65"/>
                <a:gd name="T3" fmla="*/ 65 h 65"/>
                <a:gd name="T4" fmla="*/ 65 w 65"/>
                <a:gd name="T5" fmla="*/ 32 h 65"/>
                <a:gd name="T6" fmla="*/ 32 w 65"/>
                <a:gd name="T7" fmla="*/ 0 h 65"/>
                <a:gd name="T8" fmla="*/ 0 w 65"/>
                <a:gd name="T9" fmla="*/ 32 h 65"/>
                <a:gd name="T10" fmla="*/ 32 w 65"/>
                <a:gd name="T11" fmla="*/ 65 h 65"/>
                <a:gd name="T12" fmla="*/ 32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2" y="65"/>
                  </a:moveTo>
                  <a:lnTo>
                    <a:pt x="32" y="65"/>
                  </a:lnTo>
                  <a:cubicBezTo>
                    <a:pt x="50" y="65"/>
                    <a:pt x="65" y="50"/>
                    <a:pt x="65" y="32"/>
                  </a:cubicBezTo>
                  <a:cubicBezTo>
                    <a:pt x="65" y="14"/>
                    <a:pt x="50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0"/>
                    <a:pt x="14" y="65"/>
                    <a:pt x="32" y="65"/>
                  </a:cubicBezTo>
                  <a:lnTo>
                    <a:pt x="32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3" name="Freeform 291"/>
            <p:cNvSpPr>
              <a:spLocks/>
            </p:cNvSpPr>
            <p:nvPr/>
          </p:nvSpPr>
          <p:spPr bwMode="gray">
            <a:xfrm>
              <a:off x="6934535" y="2929995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4" name="Freeform 292"/>
            <p:cNvSpPr>
              <a:spLocks/>
            </p:cNvSpPr>
            <p:nvPr/>
          </p:nvSpPr>
          <p:spPr bwMode="gray">
            <a:xfrm>
              <a:off x="6934535" y="2929995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5" name="Freeform 293"/>
            <p:cNvSpPr>
              <a:spLocks/>
            </p:cNvSpPr>
            <p:nvPr/>
          </p:nvSpPr>
          <p:spPr bwMode="gray">
            <a:xfrm>
              <a:off x="6898811" y="285987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6" name="Freeform 294"/>
            <p:cNvSpPr>
              <a:spLocks/>
            </p:cNvSpPr>
            <p:nvPr/>
          </p:nvSpPr>
          <p:spPr bwMode="gray">
            <a:xfrm>
              <a:off x="6898811" y="285987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7" name="Freeform 295"/>
            <p:cNvSpPr>
              <a:spLocks/>
            </p:cNvSpPr>
            <p:nvPr/>
          </p:nvSpPr>
          <p:spPr bwMode="gray">
            <a:xfrm>
              <a:off x="6934535" y="275137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8" name="Freeform 296"/>
            <p:cNvSpPr>
              <a:spLocks/>
            </p:cNvSpPr>
            <p:nvPr/>
          </p:nvSpPr>
          <p:spPr bwMode="gray">
            <a:xfrm>
              <a:off x="6934535" y="275137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39" name="Freeform 297"/>
            <p:cNvSpPr>
              <a:spLocks/>
            </p:cNvSpPr>
            <p:nvPr/>
          </p:nvSpPr>
          <p:spPr bwMode="gray">
            <a:xfrm>
              <a:off x="6913365" y="2525120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0" name="Freeform 298"/>
            <p:cNvSpPr>
              <a:spLocks/>
            </p:cNvSpPr>
            <p:nvPr/>
          </p:nvSpPr>
          <p:spPr bwMode="gray">
            <a:xfrm>
              <a:off x="6913365" y="2525120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1" name="Freeform 299"/>
            <p:cNvSpPr>
              <a:spLocks/>
            </p:cNvSpPr>
            <p:nvPr/>
          </p:nvSpPr>
          <p:spPr bwMode="gray">
            <a:xfrm>
              <a:off x="6796931" y="248939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2" name="Freeform 300"/>
            <p:cNvSpPr>
              <a:spLocks/>
            </p:cNvSpPr>
            <p:nvPr/>
          </p:nvSpPr>
          <p:spPr bwMode="gray">
            <a:xfrm>
              <a:off x="6796931" y="248939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3" name="Freeform 301"/>
            <p:cNvSpPr>
              <a:spLocks/>
            </p:cNvSpPr>
            <p:nvPr/>
          </p:nvSpPr>
          <p:spPr bwMode="gray">
            <a:xfrm>
              <a:off x="6902781" y="242853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4" name="Freeform 302"/>
            <p:cNvSpPr>
              <a:spLocks/>
            </p:cNvSpPr>
            <p:nvPr/>
          </p:nvSpPr>
          <p:spPr bwMode="gray">
            <a:xfrm>
              <a:off x="6902781" y="242853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5" name="Freeform 303"/>
            <p:cNvSpPr>
              <a:spLocks/>
            </p:cNvSpPr>
            <p:nvPr/>
          </p:nvSpPr>
          <p:spPr bwMode="gray">
            <a:xfrm>
              <a:off x="7029800" y="2510566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6" name="Freeform 304"/>
            <p:cNvSpPr>
              <a:spLocks/>
            </p:cNvSpPr>
            <p:nvPr/>
          </p:nvSpPr>
          <p:spPr bwMode="gray">
            <a:xfrm>
              <a:off x="7029800" y="2510566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7" name="Freeform 305"/>
            <p:cNvSpPr>
              <a:spLocks/>
            </p:cNvSpPr>
            <p:nvPr/>
          </p:nvSpPr>
          <p:spPr bwMode="gray">
            <a:xfrm>
              <a:off x="7029800" y="2574076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8" name="Freeform 306"/>
            <p:cNvSpPr>
              <a:spLocks/>
            </p:cNvSpPr>
            <p:nvPr/>
          </p:nvSpPr>
          <p:spPr bwMode="gray">
            <a:xfrm>
              <a:off x="7029800" y="2574076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49" name="Freeform 307"/>
            <p:cNvSpPr>
              <a:spLocks/>
            </p:cNvSpPr>
            <p:nvPr/>
          </p:nvSpPr>
          <p:spPr bwMode="gray">
            <a:xfrm>
              <a:off x="7205776" y="256481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0" name="Freeform 308"/>
            <p:cNvSpPr>
              <a:spLocks/>
            </p:cNvSpPr>
            <p:nvPr/>
          </p:nvSpPr>
          <p:spPr bwMode="gray">
            <a:xfrm>
              <a:off x="7205776" y="256481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1" name="Freeform 309"/>
            <p:cNvSpPr>
              <a:spLocks/>
            </p:cNvSpPr>
            <p:nvPr/>
          </p:nvSpPr>
          <p:spPr bwMode="gray">
            <a:xfrm>
              <a:off x="7372489" y="375959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2" name="Freeform 310"/>
            <p:cNvSpPr>
              <a:spLocks/>
            </p:cNvSpPr>
            <p:nvPr/>
          </p:nvSpPr>
          <p:spPr bwMode="gray">
            <a:xfrm>
              <a:off x="7372489" y="375959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3" name="Freeform 311"/>
            <p:cNvSpPr>
              <a:spLocks/>
            </p:cNvSpPr>
            <p:nvPr/>
          </p:nvSpPr>
          <p:spPr bwMode="gray">
            <a:xfrm>
              <a:off x="7435999" y="366300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4" name="Freeform 312"/>
            <p:cNvSpPr>
              <a:spLocks/>
            </p:cNvSpPr>
            <p:nvPr/>
          </p:nvSpPr>
          <p:spPr bwMode="gray">
            <a:xfrm>
              <a:off x="7435999" y="366300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5" name="Freeform 313"/>
            <p:cNvSpPr>
              <a:spLocks/>
            </p:cNvSpPr>
            <p:nvPr/>
          </p:nvSpPr>
          <p:spPr bwMode="gray">
            <a:xfrm>
              <a:off x="6676526" y="276725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6" name="Freeform 314"/>
            <p:cNvSpPr>
              <a:spLocks/>
            </p:cNvSpPr>
            <p:nvPr/>
          </p:nvSpPr>
          <p:spPr bwMode="gray">
            <a:xfrm>
              <a:off x="6676526" y="276725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7" name="Freeform 315"/>
            <p:cNvSpPr>
              <a:spLocks/>
            </p:cNvSpPr>
            <p:nvPr/>
          </p:nvSpPr>
          <p:spPr bwMode="gray">
            <a:xfrm>
              <a:off x="6606401" y="2781806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1"/>
                    <a:pt x="14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8" name="Freeform 316"/>
            <p:cNvSpPr>
              <a:spLocks/>
            </p:cNvSpPr>
            <p:nvPr/>
          </p:nvSpPr>
          <p:spPr bwMode="gray">
            <a:xfrm>
              <a:off x="6606401" y="2781806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51"/>
                    <a:pt x="14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59" name="Freeform 317"/>
            <p:cNvSpPr>
              <a:spLocks/>
            </p:cNvSpPr>
            <p:nvPr/>
          </p:nvSpPr>
          <p:spPr bwMode="gray">
            <a:xfrm>
              <a:off x="6566708" y="2841347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0" name="Freeform 318"/>
            <p:cNvSpPr>
              <a:spLocks/>
            </p:cNvSpPr>
            <p:nvPr/>
          </p:nvSpPr>
          <p:spPr bwMode="gray">
            <a:xfrm>
              <a:off x="6566708" y="2841347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1" name="Freeform 319"/>
            <p:cNvSpPr>
              <a:spLocks/>
            </p:cNvSpPr>
            <p:nvPr/>
          </p:nvSpPr>
          <p:spPr bwMode="gray">
            <a:xfrm>
              <a:off x="6560091" y="3128464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2" name="Freeform 320"/>
            <p:cNvSpPr>
              <a:spLocks/>
            </p:cNvSpPr>
            <p:nvPr/>
          </p:nvSpPr>
          <p:spPr bwMode="gray">
            <a:xfrm>
              <a:off x="6560091" y="3128464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3" name="Freeform 321"/>
            <p:cNvSpPr>
              <a:spLocks/>
            </p:cNvSpPr>
            <p:nvPr/>
          </p:nvSpPr>
          <p:spPr bwMode="gray">
            <a:xfrm>
              <a:off x="6560091" y="3062308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4" name="Freeform 322"/>
            <p:cNvSpPr>
              <a:spLocks/>
            </p:cNvSpPr>
            <p:nvPr/>
          </p:nvSpPr>
          <p:spPr bwMode="gray">
            <a:xfrm>
              <a:off x="6560091" y="3062308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5" name="Freeform 323"/>
            <p:cNvSpPr>
              <a:spLocks/>
            </p:cNvSpPr>
            <p:nvPr/>
          </p:nvSpPr>
          <p:spPr bwMode="gray">
            <a:xfrm>
              <a:off x="6082444" y="2875748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6" name="Freeform 324"/>
            <p:cNvSpPr>
              <a:spLocks/>
            </p:cNvSpPr>
            <p:nvPr/>
          </p:nvSpPr>
          <p:spPr bwMode="gray">
            <a:xfrm>
              <a:off x="6082444" y="2875748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7" name="Freeform 325"/>
            <p:cNvSpPr>
              <a:spLocks/>
            </p:cNvSpPr>
            <p:nvPr/>
          </p:nvSpPr>
          <p:spPr bwMode="gray">
            <a:xfrm>
              <a:off x="6140662" y="2920734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0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8" name="Freeform 326"/>
            <p:cNvSpPr>
              <a:spLocks/>
            </p:cNvSpPr>
            <p:nvPr/>
          </p:nvSpPr>
          <p:spPr bwMode="gray">
            <a:xfrm>
              <a:off x="6140662" y="2920734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0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69" name="Freeform 327"/>
            <p:cNvSpPr>
              <a:spLocks/>
            </p:cNvSpPr>
            <p:nvPr/>
          </p:nvSpPr>
          <p:spPr bwMode="gray">
            <a:xfrm>
              <a:off x="6136692" y="2972335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0" name="Freeform 328"/>
            <p:cNvSpPr>
              <a:spLocks/>
            </p:cNvSpPr>
            <p:nvPr/>
          </p:nvSpPr>
          <p:spPr bwMode="gray">
            <a:xfrm>
              <a:off x="6136692" y="2972335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1" name="Freeform 329"/>
            <p:cNvSpPr>
              <a:spLocks/>
            </p:cNvSpPr>
            <p:nvPr/>
          </p:nvSpPr>
          <p:spPr bwMode="gray">
            <a:xfrm>
              <a:off x="6157862" y="3047754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2" name="Freeform 330"/>
            <p:cNvSpPr>
              <a:spLocks/>
            </p:cNvSpPr>
            <p:nvPr/>
          </p:nvSpPr>
          <p:spPr bwMode="gray">
            <a:xfrm>
              <a:off x="6157862" y="3047754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3" name="Freeform 331"/>
            <p:cNvSpPr>
              <a:spLocks/>
            </p:cNvSpPr>
            <p:nvPr/>
          </p:nvSpPr>
          <p:spPr bwMode="gray">
            <a:xfrm>
              <a:off x="6077152" y="2937934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4" name="Freeform 332"/>
            <p:cNvSpPr>
              <a:spLocks/>
            </p:cNvSpPr>
            <p:nvPr/>
          </p:nvSpPr>
          <p:spPr bwMode="gray">
            <a:xfrm>
              <a:off x="6077152" y="2937934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5" name="Freeform 333"/>
            <p:cNvSpPr>
              <a:spLocks/>
            </p:cNvSpPr>
            <p:nvPr/>
          </p:nvSpPr>
          <p:spPr bwMode="gray">
            <a:xfrm>
              <a:off x="2949289" y="248013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6" name="Freeform 334"/>
            <p:cNvSpPr>
              <a:spLocks/>
            </p:cNvSpPr>
            <p:nvPr/>
          </p:nvSpPr>
          <p:spPr bwMode="gray">
            <a:xfrm>
              <a:off x="2949289" y="248013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7" name="Freeform 335"/>
            <p:cNvSpPr>
              <a:spLocks/>
            </p:cNvSpPr>
            <p:nvPr/>
          </p:nvSpPr>
          <p:spPr bwMode="gray">
            <a:xfrm>
              <a:off x="3280070" y="2507920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8" name="Freeform 336"/>
            <p:cNvSpPr>
              <a:spLocks/>
            </p:cNvSpPr>
            <p:nvPr/>
          </p:nvSpPr>
          <p:spPr bwMode="gray">
            <a:xfrm>
              <a:off x="3280070" y="2507920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79" name="Freeform 337"/>
            <p:cNvSpPr>
              <a:spLocks/>
            </p:cNvSpPr>
            <p:nvPr/>
          </p:nvSpPr>
          <p:spPr bwMode="gray">
            <a:xfrm>
              <a:off x="3235083" y="257672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0" name="Freeform 338"/>
            <p:cNvSpPr>
              <a:spLocks/>
            </p:cNvSpPr>
            <p:nvPr/>
          </p:nvSpPr>
          <p:spPr bwMode="gray">
            <a:xfrm>
              <a:off x="3235083" y="257672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1" name="Freeform 339"/>
            <p:cNvSpPr>
              <a:spLocks/>
            </p:cNvSpPr>
            <p:nvPr/>
          </p:nvSpPr>
          <p:spPr bwMode="gray">
            <a:xfrm>
              <a:off x="3200682" y="2682572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2" name="Freeform 340"/>
            <p:cNvSpPr>
              <a:spLocks/>
            </p:cNvSpPr>
            <p:nvPr/>
          </p:nvSpPr>
          <p:spPr bwMode="gray">
            <a:xfrm>
              <a:off x="3200682" y="2682572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3" name="Freeform 341"/>
            <p:cNvSpPr>
              <a:spLocks/>
            </p:cNvSpPr>
            <p:nvPr/>
          </p:nvSpPr>
          <p:spPr bwMode="gray">
            <a:xfrm>
              <a:off x="3153051" y="2743436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4" name="Freeform 342"/>
            <p:cNvSpPr>
              <a:spLocks/>
            </p:cNvSpPr>
            <p:nvPr/>
          </p:nvSpPr>
          <p:spPr bwMode="gray">
            <a:xfrm>
              <a:off x="3153051" y="2743436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5" name="Freeform 343"/>
            <p:cNvSpPr>
              <a:spLocks/>
            </p:cNvSpPr>
            <p:nvPr/>
          </p:nvSpPr>
          <p:spPr bwMode="gray">
            <a:xfrm>
              <a:off x="2758759" y="282679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6" name="Freeform 344"/>
            <p:cNvSpPr>
              <a:spLocks/>
            </p:cNvSpPr>
            <p:nvPr/>
          </p:nvSpPr>
          <p:spPr bwMode="gray">
            <a:xfrm>
              <a:off x="2758759" y="282679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7" name="Freeform 345"/>
            <p:cNvSpPr>
              <a:spLocks/>
            </p:cNvSpPr>
            <p:nvPr/>
          </p:nvSpPr>
          <p:spPr bwMode="gray">
            <a:xfrm>
              <a:off x="2843439" y="2869132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8" name="Freeform 346"/>
            <p:cNvSpPr>
              <a:spLocks/>
            </p:cNvSpPr>
            <p:nvPr/>
          </p:nvSpPr>
          <p:spPr bwMode="gray">
            <a:xfrm>
              <a:off x="2843439" y="2869132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89" name="Freeform 347"/>
            <p:cNvSpPr>
              <a:spLocks/>
            </p:cNvSpPr>
            <p:nvPr/>
          </p:nvSpPr>
          <p:spPr bwMode="gray">
            <a:xfrm>
              <a:off x="2910918" y="2838700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0" name="Freeform 348"/>
            <p:cNvSpPr>
              <a:spLocks/>
            </p:cNvSpPr>
            <p:nvPr/>
          </p:nvSpPr>
          <p:spPr bwMode="gray">
            <a:xfrm>
              <a:off x="2910918" y="2838700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1" name="Freeform 349"/>
            <p:cNvSpPr>
              <a:spLocks/>
            </p:cNvSpPr>
            <p:nvPr/>
          </p:nvSpPr>
          <p:spPr bwMode="gray">
            <a:xfrm>
              <a:off x="3097479" y="298424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2" name="Freeform 350"/>
            <p:cNvSpPr>
              <a:spLocks/>
            </p:cNvSpPr>
            <p:nvPr/>
          </p:nvSpPr>
          <p:spPr bwMode="gray">
            <a:xfrm>
              <a:off x="3097479" y="298424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3" name="Freeform 351"/>
            <p:cNvSpPr>
              <a:spLocks/>
            </p:cNvSpPr>
            <p:nvPr/>
          </p:nvSpPr>
          <p:spPr bwMode="gray">
            <a:xfrm>
              <a:off x="3315794" y="3726515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4" name="Freeform 352"/>
            <p:cNvSpPr>
              <a:spLocks/>
            </p:cNvSpPr>
            <p:nvPr/>
          </p:nvSpPr>
          <p:spPr bwMode="gray">
            <a:xfrm>
              <a:off x="3315794" y="3726515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5" name="Freeform 353"/>
            <p:cNvSpPr>
              <a:spLocks/>
            </p:cNvSpPr>
            <p:nvPr/>
          </p:nvSpPr>
          <p:spPr bwMode="gray">
            <a:xfrm>
              <a:off x="3641282" y="367756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6" name="Freeform 354"/>
            <p:cNvSpPr>
              <a:spLocks/>
            </p:cNvSpPr>
            <p:nvPr/>
          </p:nvSpPr>
          <p:spPr bwMode="gray">
            <a:xfrm>
              <a:off x="3641282" y="367756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7" name="Freeform 355"/>
            <p:cNvSpPr>
              <a:spLocks/>
            </p:cNvSpPr>
            <p:nvPr/>
          </p:nvSpPr>
          <p:spPr bwMode="gray">
            <a:xfrm>
              <a:off x="3567187" y="3707992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8" name="Freeform 356"/>
            <p:cNvSpPr>
              <a:spLocks/>
            </p:cNvSpPr>
            <p:nvPr/>
          </p:nvSpPr>
          <p:spPr bwMode="gray">
            <a:xfrm>
              <a:off x="3567187" y="3707992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799" name="Freeform 357"/>
            <p:cNvSpPr>
              <a:spLocks/>
            </p:cNvSpPr>
            <p:nvPr/>
          </p:nvSpPr>
          <p:spPr bwMode="gray">
            <a:xfrm>
              <a:off x="3276100" y="333090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0" name="Freeform 358"/>
            <p:cNvSpPr>
              <a:spLocks/>
            </p:cNvSpPr>
            <p:nvPr/>
          </p:nvSpPr>
          <p:spPr bwMode="gray">
            <a:xfrm>
              <a:off x="3276100" y="3330902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1" name="Freeform 359"/>
            <p:cNvSpPr>
              <a:spLocks/>
            </p:cNvSpPr>
            <p:nvPr/>
          </p:nvSpPr>
          <p:spPr bwMode="gray">
            <a:xfrm>
              <a:off x="3205975" y="315889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2" name="Freeform 360"/>
            <p:cNvSpPr>
              <a:spLocks/>
            </p:cNvSpPr>
            <p:nvPr/>
          </p:nvSpPr>
          <p:spPr bwMode="gray">
            <a:xfrm>
              <a:off x="3205975" y="315889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3" name="Freeform 361"/>
            <p:cNvSpPr>
              <a:spLocks/>
            </p:cNvSpPr>
            <p:nvPr/>
          </p:nvSpPr>
          <p:spPr bwMode="gray">
            <a:xfrm>
              <a:off x="3359457" y="3090094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4" name="Freeform 362"/>
            <p:cNvSpPr>
              <a:spLocks/>
            </p:cNvSpPr>
            <p:nvPr/>
          </p:nvSpPr>
          <p:spPr bwMode="gray">
            <a:xfrm>
              <a:off x="3359457" y="3090094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5" name="Freeform 363"/>
            <p:cNvSpPr>
              <a:spLocks/>
            </p:cNvSpPr>
            <p:nvPr/>
          </p:nvSpPr>
          <p:spPr bwMode="gray">
            <a:xfrm>
              <a:off x="3408412" y="2993505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6" name="Freeform 364"/>
            <p:cNvSpPr>
              <a:spLocks/>
            </p:cNvSpPr>
            <p:nvPr/>
          </p:nvSpPr>
          <p:spPr bwMode="gray">
            <a:xfrm>
              <a:off x="3408412" y="2993505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7" name="Freeform 365"/>
            <p:cNvSpPr>
              <a:spLocks/>
            </p:cNvSpPr>
            <p:nvPr/>
          </p:nvSpPr>
          <p:spPr bwMode="gray">
            <a:xfrm>
              <a:off x="3235083" y="300541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8" name="Freeform 366"/>
            <p:cNvSpPr>
              <a:spLocks/>
            </p:cNvSpPr>
            <p:nvPr/>
          </p:nvSpPr>
          <p:spPr bwMode="gray">
            <a:xfrm>
              <a:off x="3235083" y="300541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09" name="Freeform 367"/>
            <p:cNvSpPr>
              <a:spLocks/>
            </p:cNvSpPr>
            <p:nvPr/>
          </p:nvSpPr>
          <p:spPr bwMode="gray">
            <a:xfrm>
              <a:off x="3192744" y="298027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0" name="Freeform 368"/>
            <p:cNvSpPr>
              <a:spLocks/>
            </p:cNvSpPr>
            <p:nvPr/>
          </p:nvSpPr>
          <p:spPr bwMode="gray">
            <a:xfrm>
              <a:off x="3192744" y="298027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1" name="Freeform 369"/>
            <p:cNvSpPr>
              <a:spLocks/>
            </p:cNvSpPr>
            <p:nvPr/>
          </p:nvSpPr>
          <p:spPr bwMode="gray">
            <a:xfrm>
              <a:off x="3065725" y="293793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2" name="Freeform 370"/>
            <p:cNvSpPr>
              <a:spLocks/>
            </p:cNvSpPr>
            <p:nvPr/>
          </p:nvSpPr>
          <p:spPr bwMode="gray">
            <a:xfrm>
              <a:off x="3065725" y="293793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3" name="Freeform 371"/>
            <p:cNvSpPr>
              <a:spLocks/>
            </p:cNvSpPr>
            <p:nvPr/>
          </p:nvSpPr>
          <p:spPr bwMode="gray">
            <a:xfrm>
              <a:off x="3016768" y="293793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4" name="Freeform 372"/>
            <p:cNvSpPr>
              <a:spLocks/>
            </p:cNvSpPr>
            <p:nvPr/>
          </p:nvSpPr>
          <p:spPr bwMode="gray">
            <a:xfrm>
              <a:off x="3016768" y="293793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5" name="Freeform 373"/>
            <p:cNvSpPr>
              <a:spLocks/>
            </p:cNvSpPr>
            <p:nvPr/>
          </p:nvSpPr>
          <p:spPr bwMode="gray">
            <a:xfrm>
              <a:off x="3016768" y="286913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6" name="Freeform 374"/>
            <p:cNvSpPr>
              <a:spLocks/>
            </p:cNvSpPr>
            <p:nvPr/>
          </p:nvSpPr>
          <p:spPr bwMode="gray">
            <a:xfrm>
              <a:off x="3016768" y="286913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7" name="Freeform 375"/>
            <p:cNvSpPr>
              <a:spLocks/>
            </p:cNvSpPr>
            <p:nvPr/>
          </p:nvSpPr>
          <p:spPr bwMode="gray">
            <a:xfrm>
              <a:off x="3089541" y="2854578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8" name="Freeform 376"/>
            <p:cNvSpPr>
              <a:spLocks/>
            </p:cNvSpPr>
            <p:nvPr/>
          </p:nvSpPr>
          <p:spPr bwMode="gray">
            <a:xfrm>
              <a:off x="3089541" y="2854578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9" name="Freeform 377"/>
            <p:cNvSpPr>
              <a:spLocks/>
            </p:cNvSpPr>
            <p:nvPr/>
          </p:nvSpPr>
          <p:spPr bwMode="gray">
            <a:xfrm>
              <a:off x="3117325" y="265214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0" name="Freeform 378"/>
            <p:cNvSpPr>
              <a:spLocks/>
            </p:cNvSpPr>
            <p:nvPr/>
          </p:nvSpPr>
          <p:spPr bwMode="gray">
            <a:xfrm>
              <a:off x="3117325" y="2652140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1" name="Freeform 379"/>
            <p:cNvSpPr>
              <a:spLocks/>
            </p:cNvSpPr>
            <p:nvPr/>
          </p:nvSpPr>
          <p:spPr bwMode="gray">
            <a:xfrm>
              <a:off x="3146434" y="2576722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2" name="Freeform 380"/>
            <p:cNvSpPr>
              <a:spLocks/>
            </p:cNvSpPr>
            <p:nvPr/>
          </p:nvSpPr>
          <p:spPr bwMode="gray">
            <a:xfrm>
              <a:off x="3146434" y="2576722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3" name="Freeform 381"/>
            <p:cNvSpPr>
              <a:spLocks/>
            </p:cNvSpPr>
            <p:nvPr/>
          </p:nvSpPr>
          <p:spPr bwMode="gray">
            <a:xfrm>
              <a:off x="3051169" y="2538351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0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4" name="Freeform 382"/>
            <p:cNvSpPr>
              <a:spLocks/>
            </p:cNvSpPr>
            <p:nvPr/>
          </p:nvSpPr>
          <p:spPr bwMode="gray">
            <a:xfrm>
              <a:off x="3051169" y="2538351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2 h 65"/>
                <a:gd name="T6" fmla="*/ 33 w 65"/>
                <a:gd name="T7" fmla="*/ 0 h 65"/>
                <a:gd name="T8" fmla="*/ 0 w 65"/>
                <a:gd name="T9" fmla="*/ 32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0"/>
                    <a:pt x="65" y="32"/>
                  </a:cubicBezTo>
                  <a:cubicBezTo>
                    <a:pt x="65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5" name="Freeform 383"/>
            <p:cNvSpPr>
              <a:spLocks/>
            </p:cNvSpPr>
            <p:nvPr/>
          </p:nvSpPr>
          <p:spPr bwMode="gray">
            <a:xfrm>
              <a:off x="3048523" y="289956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6" name="Freeform 384"/>
            <p:cNvSpPr>
              <a:spLocks/>
            </p:cNvSpPr>
            <p:nvPr/>
          </p:nvSpPr>
          <p:spPr bwMode="gray">
            <a:xfrm>
              <a:off x="3048523" y="289956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7" name="Freeform 385"/>
            <p:cNvSpPr>
              <a:spLocks/>
            </p:cNvSpPr>
            <p:nvPr/>
          </p:nvSpPr>
          <p:spPr bwMode="gray">
            <a:xfrm>
              <a:off x="3055139" y="2838700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8" name="Freeform 386"/>
            <p:cNvSpPr>
              <a:spLocks/>
            </p:cNvSpPr>
            <p:nvPr/>
          </p:nvSpPr>
          <p:spPr bwMode="gray">
            <a:xfrm>
              <a:off x="3055139" y="2838700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29" name="Freeform 387"/>
            <p:cNvSpPr>
              <a:spLocks/>
            </p:cNvSpPr>
            <p:nvPr/>
          </p:nvSpPr>
          <p:spPr bwMode="gray">
            <a:xfrm>
              <a:off x="3252284" y="2833408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0" name="Freeform 388"/>
            <p:cNvSpPr>
              <a:spLocks/>
            </p:cNvSpPr>
            <p:nvPr/>
          </p:nvSpPr>
          <p:spPr bwMode="gray">
            <a:xfrm>
              <a:off x="3252284" y="2833408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1" name="Freeform 389"/>
            <p:cNvSpPr>
              <a:spLocks/>
            </p:cNvSpPr>
            <p:nvPr/>
          </p:nvSpPr>
          <p:spPr bwMode="gray">
            <a:xfrm>
              <a:off x="3397827" y="281488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2" name="Freeform 390"/>
            <p:cNvSpPr>
              <a:spLocks/>
            </p:cNvSpPr>
            <p:nvPr/>
          </p:nvSpPr>
          <p:spPr bwMode="gray">
            <a:xfrm>
              <a:off x="3397827" y="281488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3" name="Freeform 391"/>
            <p:cNvSpPr>
              <a:spLocks/>
            </p:cNvSpPr>
            <p:nvPr/>
          </p:nvSpPr>
          <p:spPr bwMode="gray">
            <a:xfrm>
              <a:off x="4511897" y="2473519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4" name="Freeform 392"/>
            <p:cNvSpPr>
              <a:spLocks/>
            </p:cNvSpPr>
            <p:nvPr/>
          </p:nvSpPr>
          <p:spPr bwMode="gray">
            <a:xfrm>
              <a:off x="4511897" y="2473519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5" name="Freeform 393"/>
            <p:cNvSpPr>
              <a:spLocks/>
            </p:cNvSpPr>
            <p:nvPr/>
          </p:nvSpPr>
          <p:spPr bwMode="gray">
            <a:xfrm>
              <a:off x="4600547" y="231077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6" name="Freeform 394"/>
            <p:cNvSpPr>
              <a:spLocks/>
            </p:cNvSpPr>
            <p:nvPr/>
          </p:nvSpPr>
          <p:spPr bwMode="gray">
            <a:xfrm>
              <a:off x="4600547" y="2310774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7" name="Freeform 395"/>
            <p:cNvSpPr>
              <a:spLocks/>
            </p:cNvSpPr>
            <p:nvPr/>
          </p:nvSpPr>
          <p:spPr bwMode="gray">
            <a:xfrm>
              <a:off x="4657440" y="235708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8" name="Freeform 396"/>
            <p:cNvSpPr>
              <a:spLocks/>
            </p:cNvSpPr>
            <p:nvPr/>
          </p:nvSpPr>
          <p:spPr bwMode="gray">
            <a:xfrm>
              <a:off x="4657440" y="235708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39" name="Freeform 397"/>
            <p:cNvSpPr>
              <a:spLocks/>
            </p:cNvSpPr>
            <p:nvPr/>
          </p:nvSpPr>
          <p:spPr bwMode="gray">
            <a:xfrm>
              <a:off x="4587315" y="244705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0" name="Freeform 398"/>
            <p:cNvSpPr>
              <a:spLocks/>
            </p:cNvSpPr>
            <p:nvPr/>
          </p:nvSpPr>
          <p:spPr bwMode="gray">
            <a:xfrm>
              <a:off x="4587315" y="244705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1" name="Freeform 399"/>
            <p:cNvSpPr>
              <a:spLocks/>
            </p:cNvSpPr>
            <p:nvPr/>
          </p:nvSpPr>
          <p:spPr bwMode="gray">
            <a:xfrm>
              <a:off x="4511897" y="252776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2" name="Freeform 400"/>
            <p:cNvSpPr>
              <a:spLocks/>
            </p:cNvSpPr>
            <p:nvPr/>
          </p:nvSpPr>
          <p:spPr bwMode="gray">
            <a:xfrm>
              <a:off x="4511897" y="252776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3" name="Freeform 401"/>
            <p:cNvSpPr>
              <a:spLocks/>
            </p:cNvSpPr>
            <p:nvPr/>
          </p:nvSpPr>
          <p:spPr bwMode="gray">
            <a:xfrm>
              <a:off x="4513220" y="2636262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4" name="Freeform 402"/>
            <p:cNvSpPr>
              <a:spLocks/>
            </p:cNvSpPr>
            <p:nvPr/>
          </p:nvSpPr>
          <p:spPr bwMode="gray">
            <a:xfrm>
              <a:off x="4513220" y="2636262"/>
              <a:ext cx="64008" cy="64008"/>
            </a:xfrm>
            <a:custGeom>
              <a:avLst/>
              <a:gdLst>
                <a:gd name="T0" fmla="*/ 32 w 65"/>
                <a:gd name="T1" fmla="*/ 66 h 66"/>
                <a:gd name="T2" fmla="*/ 32 w 65"/>
                <a:gd name="T3" fmla="*/ 66 h 66"/>
                <a:gd name="T4" fmla="*/ 65 w 65"/>
                <a:gd name="T5" fmla="*/ 33 h 66"/>
                <a:gd name="T6" fmla="*/ 32 w 65"/>
                <a:gd name="T7" fmla="*/ 0 h 66"/>
                <a:gd name="T8" fmla="*/ 0 w 65"/>
                <a:gd name="T9" fmla="*/ 33 h 66"/>
                <a:gd name="T10" fmla="*/ 32 w 65"/>
                <a:gd name="T11" fmla="*/ 66 h 66"/>
                <a:gd name="T12" fmla="*/ 32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2" y="66"/>
                  </a:moveTo>
                  <a:lnTo>
                    <a:pt x="32" y="66"/>
                  </a:lnTo>
                  <a:cubicBezTo>
                    <a:pt x="50" y="66"/>
                    <a:pt x="65" y="51"/>
                    <a:pt x="65" y="33"/>
                  </a:cubicBezTo>
                  <a:cubicBezTo>
                    <a:pt x="65" y="15"/>
                    <a:pt x="50" y="0"/>
                    <a:pt x="32" y="0"/>
                  </a:cubicBez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2" y="66"/>
                  </a:cubicBezTo>
                  <a:lnTo>
                    <a:pt x="32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5" name="Freeform 403"/>
            <p:cNvSpPr>
              <a:spLocks/>
            </p:cNvSpPr>
            <p:nvPr/>
          </p:nvSpPr>
          <p:spPr bwMode="gray">
            <a:xfrm>
              <a:off x="4886342" y="261244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6" name="Freeform 404"/>
            <p:cNvSpPr>
              <a:spLocks/>
            </p:cNvSpPr>
            <p:nvPr/>
          </p:nvSpPr>
          <p:spPr bwMode="gray">
            <a:xfrm>
              <a:off x="4886342" y="261244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7" name="Freeform 405"/>
            <p:cNvSpPr>
              <a:spLocks/>
            </p:cNvSpPr>
            <p:nvPr/>
          </p:nvSpPr>
          <p:spPr bwMode="gray">
            <a:xfrm>
              <a:off x="5190659" y="265478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8" name="Freeform 406"/>
            <p:cNvSpPr>
              <a:spLocks/>
            </p:cNvSpPr>
            <p:nvPr/>
          </p:nvSpPr>
          <p:spPr bwMode="gray">
            <a:xfrm>
              <a:off x="5190659" y="265478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49" name="Freeform 407"/>
            <p:cNvSpPr>
              <a:spLocks/>
            </p:cNvSpPr>
            <p:nvPr/>
          </p:nvSpPr>
          <p:spPr bwMode="gray">
            <a:xfrm>
              <a:off x="5299156" y="2604507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0" name="Freeform 408"/>
            <p:cNvSpPr>
              <a:spLocks/>
            </p:cNvSpPr>
            <p:nvPr/>
          </p:nvSpPr>
          <p:spPr bwMode="gray">
            <a:xfrm>
              <a:off x="5299156" y="2604507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1" name="Freeform 409"/>
            <p:cNvSpPr>
              <a:spLocks/>
            </p:cNvSpPr>
            <p:nvPr/>
          </p:nvSpPr>
          <p:spPr bwMode="gray">
            <a:xfrm>
              <a:off x="5358695" y="266669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2" name="Freeform 410"/>
            <p:cNvSpPr>
              <a:spLocks/>
            </p:cNvSpPr>
            <p:nvPr/>
          </p:nvSpPr>
          <p:spPr bwMode="gray">
            <a:xfrm>
              <a:off x="5358695" y="266669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3" name="Freeform 411"/>
            <p:cNvSpPr>
              <a:spLocks/>
            </p:cNvSpPr>
            <p:nvPr/>
          </p:nvSpPr>
          <p:spPr bwMode="gray">
            <a:xfrm>
              <a:off x="5480423" y="2592600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4" name="Freeform 412"/>
            <p:cNvSpPr>
              <a:spLocks/>
            </p:cNvSpPr>
            <p:nvPr/>
          </p:nvSpPr>
          <p:spPr bwMode="gray">
            <a:xfrm>
              <a:off x="5480423" y="2592600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5" name="Freeform 413"/>
            <p:cNvSpPr>
              <a:spLocks/>
            </p:cNvSpPr>
            <p:nvPr/>
          </p:nvSpPr>
          <p:spPr bwMode="gray">
            <a:xfrm>
              <a:off x="5447345" y="252776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6" name="Freeform 414"/>
            <p:cNvSpPr>
              <a:spLocks/>
            </p:cNvSpPr>
            <p:nvPr/>
          </p:nvSpPr>
          <p:spPr bwMode="gray">
            <a:xfrm>
              <a:off x="5447345" y="2527766"/>
              <a:ext cx="64008" cy="64008"/>
            </a:xfrm>
            <a:custGeom>
              <a:avLst/>
              <a:gdLst>
                <a:gd name="T0" fmla="*/ 33 w 65"/>
                <a:gd name="T1" fmla="*/ 66 h 66"/>
                <a:gd name="T2" fmla="*/ 33 w 65"/>
                <a:gd name="T3" fmla="*/ 66 h 66"/>
                <a:gd name="T4" fmla="*/ 65 w 65"/>
                <a:gd name="T5" fmla="*/ 33 h 66"/>
                <a:gd name="T6" fmla="*/ 33 w 65"/>
                <a:gd name="T7" fmla="*/ 0 h 66"/>
                <a:gd name="T8" fmla="*/ 0 w 65"/>
                <a:gd name="T9" fmla="*/ 33 h 66"/>
                <a:gd name="T10" fmla="*/ 33 w 65"/>
                <a:gd name="T11" fmla="*/ 66 h 66"/>
                <a:gd name="T12" fmla="*/ 33 w 65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7" name="Freeform 415"/>
            <p:cNvSpPr>
              <a:spLocks/>
            </p:cNvSpPr>
            <p:nvPr/>
          </p:nvSpPr>
          <p:spPr bwMode="gray">
            <a:xfrm>
              <a:off x="5553195" y="260583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8" name="Freeform 416"/>
            <p:cNvSpPr>
              <a:spLocks/>
            </p:cNvSpPr>
            <p:nvPr/>
          </p:nvSpPr>
          <p:spPr bwMode="gray">
            <a:xfrm>
              <a:off x="5553195" y="2605831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59" name="Freeform 417"/>
            <p:cNvSpPr>
              <a:spLocks/>
            </p:cNvSpPr>
            <p:nvPr/>
          </p:nvSpPr>
          <p:spPr bwMode="gray">
            <a:xfrm>
              <a:off x="5553195" y="267595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0" name="Freeform 418"/>
            <p:cNvSpPr>
              <a:spLocks/>
            </p:cNvSpPr>
            <p:nvPr/>
          </p:nvSpPr>
          <p:spPr bwMode="gray">
            <a:xfrm>
              <a:off x="5553195" y="2675956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1" name="Freeform 419"/>
            <p:cNvSpPr>
              <a:spLocks/>
            </p:cNvSpPr>
            <p:nvPr/>
          </p:nvSpPr>
          <p:spPr bwMode="gray">
            <a:xfrm>
              <a:off x="5715940" y="2797683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2" name="Freeform 420"/>
            <p:cNvSpPr>
              <a:spLocks/>
            </p:cNvSpPr>
            <p:nvPr/>
          </p:nvSpPr>
          <p:spPr bwMode="gray">
            <a:xfrm>
              <a:off x="5715940" y="2797683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2 h 65"/>
                <a:gd name="T6" fmla="*/ 33 w 66"/>
                <a:gd name="T7" fmla="*/ 0 h 65"/>
                <a:gd name="T8" fmla="*/ 0 w 66"/>
                <a:gd name="T9" fmla="*/ 32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0"/>
                    <a:pt x="66" y="32"/>
                  </a:cubicBezTo>
                  <a:cubicBezTo>
                    <a:pt x="66" y="14"/>
                    <a:pt x="51" y="0"/>
                    <a:pt x="33" y="0"/>
                  </a:cubicBezTo>
                  <a:cubicBezTo>
                    <a:pt x="15" y="0"/>
                    <a:pt x="0" y="14"/>
                    <a:pt x="0" y="32"/>
                  </a:cubicBezTo>
                  <a:cubicBezTo>
                    <a:pt x="0" y="50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3" name="Freeform 421"/>
            <p:cNvSpPr>
              <a:spLocks/>
            </p:cNvSpPr>
            <p:nvPr/>
          </p:nvSpPr>
          <p:spPr bwMode="gray">
            <a:xfrm>
              <a:off x="6845886" y="3053046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4" name="Freeform 422"/>
            <p:cNvSpPr>
              <a:spLocks/>
            </p:cNvSpPr>
            <p:nvPr/>
          </p:nvSpPr>
          <p:spPr bwMode="gray">
            <a:xfrm>
              <a:off x="6845886" y="3053046"/>
              <a:ext cx="64008" cy="64008"/>
            </a:xfrm>
            <a:custGeom>
              <a:avLst/>
              <a:gdLst>
                <a:gd name="T0" fmla="*/ 33 w 65"/>
                <a:gd name="T1" fmla="*/ 65 h 65"/>
                <a:gd name="T2" fmla="*/ 33 w 65"/>
                <a:gd name="T3" fmla="*/ 65 h 65"/>
                <a:gd name="T4" fmla="*/ 65 w 65"/>
                <a:gd name="T5" fmla="*/ 33 h 65"/>
                <a:gd name="T6" fmla="*/ 33 w 65"/>
                <a:gd name="T7" fmla="*/ 0 h 65"/>
                <a:gd name="T8" fmla="*/ 0 w 65"/>
                <a:gd name="T9" fmla="*/ 33 h 65"/>
                <a:gd name="T10" fmla="*/ 33 w 65"/>
                <a:gd name="T11" fmla="*/ 65 h 65"/>
                <a:gd name="T12" fmla="*/ 33 w 65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5" y="51"/>
                    <a:pt x="65" y="33"/>
                  </a:cubicBezTo>
                  <a:cubicBezTo>
                    <a:pt x="65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5" name="Freeform 423"/>
            <p:cNvSpPr>
              <a:spLocks/>
            </p:cNvSpPr>
            <p:nvPr/>
          </p:nvSpPr>
          <p:spPr bwMode="gray">
            <a:xfrm>
              <a:off x="5402360" y="310729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6" name="Freeform 424"/>
            <p:cNvSpPr>
              <a:spLocks/>
            </p:cNvSpPr>
            <p:nvPr/>
          </p:nvSpPr>
          <p:spPr bwMode="gray">
            <a:xfrm>
              <a:off x="5402360" y="3107294"/>
              <a:ext cx="64008" cy="64008"/>
            </a:xfrm>
            <a:custGeom>
              <a:avLst/>
              <a:gdLst>
                <a:gd name="T0" fmla="*/ 33 w 66"/>
                <a:gd name="T1" fmla="*/ 65 h 65"/>
                <a:gd name="T2" fmla="*/ 33 w 66"/>
                <a:gd name="T3" fmla="*/ 65 h 65"/>
                <a:gd name="T4" fmla="*/ 66 w 66"/>
                <a:gd name="T5" fmla="*/ 33 h 65"/>
                <a:gd name="T6" fmla="*/ 33 w 66"/>
                <a:gd name="T7" fmla="*/ 0 h 65"/>
                <a:gd name="T8" fmla="*/ 0 w 66"/>
                <a:gd name="T9" fmla="*/ 33 h 65"/>
                <a:gd name="T10" fmla="*/ 33 w 66"/>
                <a:gd name="T11" fmla="*/ 65 h 65"/>
                <a:gd name="T12" fmla="*/ 33 w 66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5">
                  <a:moveTo>
                    <a:pt x="33" y="65"/>
                  </a:moveTo>
                  <a:lnTo>
                    <a:pt x="33" y="65"/>
                  </a:lnTo>
                  <a:cubicBezTo>
                    <a:pt x="51" y="65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5"/>
                    <a:pt x="33" y="65"/>
                  </a:cubicBezTo>
                  <a:lnTo>
                    <a:pt x="33" y="65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7" name="Freeform 425"/>
            <p:cNvSpPr>
              <a:spLocks/>
            </p:cNvSpPr>
            <p:nvPr/>
          </p:nvSpPr>
          <p:spPr bwMode="gray">
            <a:xfrm>
              <a:off x="5190659" y="362066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8" name="Freeform 426"/>
            <p:cNvSpPr>
              <a:spLocks/>
            </p:cNvSpPr>
            <p:nvPr/>
          </p:nvSpPr>
          <p:spPr bwMode="gray">
            <a:xfrm>
              <a:off x="5190659" y="3620665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69" name="Freeform 427"/>
            <p:cNvSpPr>
              <a:spLocks/>
            </p:cNvSpPr>
            <p:nvPr/>
          </p:nvSpPr>
          <p:spPr bwMode="gray">
            <a:xfrm>
              <a:off x="5543933" y="341558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lose/>
                </a:path>
              </a:pathLst>
            </a:custGeom>
            <a:solidFill>
              <a:srgbClr val="F01D24"/>
            </a:solidFill>
            <a:ln w="952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70" name="Freeform 428"/>
            <p:cNvSpPr>
              <a:spLocks/>
            </p:cNvSpPr>
            <p:nvPr/>
          </p:nvSpPr>
          <p:spPr bwMode="gray">
            <a:xfrm>
              <a:off x="5543933" y="3415582"/>
              <a:ext cx="64008" cy="64008"/>
            </a:xfrm>
            <a:custGeom>
              <a:avLst/>
              <a:gdLst>
                <a:gd name="T0" fmla="*/ 33 w 66"/>
                <a:gd name="T1" fmla="*/ 66 h 66"/>
                <a:gd name="T2" fmla="*/ 33 w 66"/>
                <a:gd name="T3" fmla="*/ 66 h 66"/>
                <a:gd name="T4" fmla="*/ 66 w 66"/>
                <a:gd name="T5" fmla="*/ 33 h 66"/>
                <a:gd name="T6" fmla="*/ 33 w 66"/>
                <a:gd name="T7" fmla="*/ 0 h 66"/>
                <a:gd name="T8" fmla="*/ 0 w 66"/>
                <a:gd name="T9" fmla="*/ 33 h 66"/>
                <a:gd name="T10" fmla="*/ 33 w 66"/>
                <a:gd name="T11" fmla="*/ 66 h 66"/>
                <a:gd name="T12" fmla="*/ 33 w 66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66">
                  <a:moveTo>
                    <a:pt x="33" y="66"/>
                  </a:moveTo>
                  <a:lnTo>
                    <a:pt x="33" y="66"/>
                  </a:ln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lnTo>
                    <a:pt x="33" y="66"/>
                  </a:lnTo>
                  <a:close/>
                </a:path>
              </a:pathLst>
            </a:custGeom>
            <a:solidFill>
              <a:srgbClr val="F01D24"/>
            </a:solidFill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grpSp>
          <p:nvGrpSpPr>
            <p:cNvPr id="871" name="Group 870"/>
            <p:cNvGrpSpPr/>
            <p:nvPr/>
          </p:nvGrpSpPr>
          <p:grpSpPr bwMode="gray">
            <a:xfrm>
              <a:off x="2836186" y="2048518"/>
              <a:ext cx="188718" cy="188718"/>
              <a:chOff x="7844637" y="3042922"/>
              <a:chExt cx="949960" cy="949958"/>
            </a:xfrm>
          </p:grpSpPr>
          <p:sp>
            <p:nvSpPr>
              <p:cNvPr id="997" name="Oval 996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98" name="Oval 997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91B0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99" name="Group 998"/>
              <p:cNvGrpSpPr/>
              <p:nvPr/>
            </p:nvGrpSpPr>
            <p:grpSpPr bwMode="gray">
              <a:xfrm>
                <a:off x="8013437" y="3195347"/>
                <a:ext cx="612360" cy="645108"/>
                <a:chOff x="9996579" y="3416297"/>
                <a:chExt cx="754607" cy="794965"/>
              </a:xfrm>
              <a:solidFill>
                <a:srgbClr val="FFFFFF"/>
              </a:solidFill>
            </p:grpSpPr>
            <p:sp>
              <p:nvSpPr>
                <p:cNvPr id="1000" name="Freeform 999"/>
                <p:cNvSpPr>
                  <a:spLocks/>
                </p:cNvSpPr>
                <p:nvPr/>
              </p:nvSpPr>
              <p:spPr bwMode="gray">
                <a:xfrm>
                  <a:off x="10049037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01" name="Freeform 1000"/>
                <p:cNvSpPr>
                  <a:spLocks/>
                </p:cNvSpPr>
                <p:nvPr/>
              </p:nvSpPr>
              <p:spPr bwMode="gray">
                <a:xfrm>
                  <a:off x="9996579" y="3622101"/>
                  <a:ext cx="197731" cy="480208"/>
                </a:xfrm>
                <a:custGeom>
                  <a:avLst/>
                  <a:gdLst>
                    <a:gd name="T0" fmla="*/ 20 w 74"/>
                    <a:gd name="T1" fmla="*/ 0 h 179"/>
                    <a:gd name="T2" fmla="*/ 20 w 74"/>
                    <a:gd name="T3" fmla="*/ 0 h 179"/>
                    <a:gd name="T4" fmla="*/ 68 w 74"/>
                    <a:gd name="T5" fmla="*/ 0 h 179"/>
                    <a:gd name="T6" fmla="*/ 62 w 74"/>
                    <a:gd name="T7" fmla="*/ 19 h 179"/>
                    <a:gd name="T8" fmla="*/ 62 w 74"/>
                    <a:gd name="T9" fmla="*/ 90 h 179"/>
                    <a:gd name="T10" fmla="*/ 74 w 74"/>
                    <a:gd name="T11" fmla="*/ 114 h 179"/>
                    <a:gd name="T12" fmla="*/ 74 w 74"/>
                    <a:gd name="T13" fmla="*/ 164 h 179"/>
                    <a:gd name="T14" fmla="*/ 59 w 74"/>
                    <a:gd name="T15" fmla="*/ 179 h 179"/>
                    <a:gd name="T16" fmla="*/ 45 w 74"/>
                    <a:gd name="T17" fmla="*/ 167 h 179"/>
                    <a:gd name="T18" fmla="*/ 30 w 74"/>
                    <a:gd name="T19" fmla="*/ 179 h 179"/>
                    <a:gd name="T20" fmla="*/ 15 w 74"/>
                    <a:gd name="T21" fmla="*/ 164 h 179"/>
                    <a:gd name="T22" fmla="*/ 15 w 74"/>
                    <a:gd name="T23" fmla="*/ 94 h 179"/>
                    <a:gd name="T24" fmla="*/ 0 w 74"/>
                    <a:gd name="T25" fmla="*/ 76 h 179"/>
                    <a:gd name="T26" fmla="*/ 0 w 74"/>
                    <a:gd name="T27" fmla="*/ 20 h 179"/>
                    <a:gd name="T28" fmla="*/ 20 w 74"/>
                    <a:gd name="T2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68" y="0"/>
                      </a:lnTo>
                      <a:cubicBezTo>
                        <a:pt x="64" y="5"/>
                        <a:pt x="62" y="12"/>
                        <a:pt x="62" y="19"/>
                      </a:cubicBezTo>
                      <a:lnTo>
                        <a:pt x="62" y="90"/>
                      </a:lnTo>
                      <a:cubicBezTo>
                        <a:pt x="62" y="100"/>
                        <a:pt x="67" y="109"/>
                        <a:pt x="74" y="114"/>
                      </a:cubicBezTo>
                      <a:lnTo>
                        <a:pt x="74" y="164"/>
                      </a:lnTo>
                      <a:cubicBezTo>
                        <a:pt x="74" y="172"/>
                        <a:pt x="68" y="179"/>
                        <a:pt x="59" y="179"/>
                      </a:cubicBezTo>
                      <a:cubicBezTo>
                        <a:pt x="52" y="179"/>
                        <a:pt x="46" y="174"/>
                        <a:pt x="45" y="167"/>
                      </a:cubicBezTo>
                      <a:cubicBezTo>
                        <a:pt x="43" y="174"/>
                        <a:pt x="37" y="179"/>
                        <a:pt x="30" y="179"/>
                      </a:cubicBezTo>
                      <a:cubicBezTo>
                        <a:pt x="22" y="179"/>
                        <a:pt x="15" y="172"/>
                        <a:pt x="15" y="164"/>
                      </a:cubicBezTo>
                      <a:lnTo>
                        <a:pt x="15" y="94"/>
                      </a:lnTo>
                      <a:cubicBezTo>
                        <a:pt x="7" y="92"/>
                        <a:pt x="0" y="85"/>
                        <a:pt x="0" y="76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2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02" name="Freeform 1001"/>
                <p:cNvSpPr>
                  <a:spLocks/>
                </p:cNvSpPr>
                <p:nvPr/>
              </p:nvSpPr>
              <p:spPr bwMode="gray">
                <a:xfrm>
                  <a:off x="10553455" y="3622101"/>
                  <a:ext cx="197731" cy="480208"/>
                </a:xfrm>
                <a:custGeom>
                  <a:avLst/>
                  <a:gdLst>
                    <a:gd name="T0" fmla="*/ 14 w 74"/>
                    <a:gd name="T1" fmla="*/ 90 h 179"/>
                    <a:gd name="T2" fmla="*/ 14 w 74"/>
                    <a:gd name="T3" fmla="*/ 90 h 179"/>
                    <a:gd name="T4" fmla="*/ 14 w 74"/>
                    <a:gd name="T5" fmla="*/ 19 h 179"/>
                    <a:gd name="T6" fmla="*/ 7 w 74"/>
                    <a:gd name="T7" fmla="*/ 0 h 179"/>
                    <a:gd name="T8" fmla="*/ 55 w 74"/>
                    <a:gd name="T9" fmla="*/ 0 h 179"/>
                    <a:gd name="T10" fmla="*/ 74 w 74"/>
                    <a:gd name="T11" fmla="*/ 20 h 179"/>
                    <a:gd name="T12" fmla="*/ 74 w 74"/>
                    <a:gd name="T13" fmla="*/ 76 h 179"/>
                    <a:gd name="T14" fmla="*/ 59 w 74"/>
                    <a:gd name="T15" fmla="*/ 94 h 179"/>
                    <a:gd name="T16" fmla="*/ 59 w 74"/>
                    <a:gd name="T17" fmla="*/ 164 h 179"/>
                    <a:gd name="T18" fmla="*/ 44 w 74"/>
                    <a:gd name="T19" fmla="*/ 179 h 179"/>
                    <a:gd name="T20" fmla="*/ 30 w 74"/>
                    <a:gd name="T21" fmla="*/ 167 h 179"/>
                    <a:gd name="T22" fmla="*/ 15 w 74"/>
                    <a:gd name="T23" fmla="*/ 179 h 179"/>
                    <a:gd name="T24" fmla="*/ 0 w 74"/>
                    <a:gd name="T25" fmla="*/ 164 h 179"/>
                    <a:gd name="T26" fmla="*/ 0 w 74"/>
                    <a:gd name="T27" fmla="*/ 115 h 179"/>
                    <a:gd name="T28" fmla="*/ 14 w 74"/>
                    <a:gd name="T29" fmla="*/ 9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14" y="90"/>
                      </a:moveTo>
                      <a:lnTo>
                        <a:pt x="14" y="90"/>
                      </a:lnTo>
                      <a:lnTo>
                        <a:pt x="14" y="19"/>
                      </a:lnTo>
                      <a:cubicBezTo>
                        <a:pt x="14" y="12"/>
                        <a:pt x="11" y="5"/>
                        <a:pt x="7" y="0"/>
                      </a:cubicBezTo>
                      <a:lnTo>
                        <a:pt x="55" y="0"/>
                      </a:lnTo>
                      <a:cubicBezTo>
                        <a:pt x="66" y="0"/>
                        <a:pt x="74" y="9"/>
                        <a:pt x="74" y="20"/>
                      </a:cubicBezTo>
                      <a:lnTo>
                        <a:pt x="74" y="76"/>
                      </a:lnTo>
                      <a:cubicBezTo>
                        <a:pt x="74" y="85"/>
                        <a:pt x="68" y="92"/>
                        <a:pt x="59" y="94"/>
                      </a:cubicBezTo>
                      <a:lnTo>
                        <a:pt x="59" y="164"/>
                      </a:lnTo>
                      <a:cubicBezTo>
                        <a:pt x="59" y="172"/>
                        <a:pt x="53" y="179"/>
                        <a:pt x="44" y="179"/>
                      </a:cubicBezTo>
                      <a:cubicBezTo>
                        <a:pt x="37" y="179"/>
                        <a:pt x="31" y="174"/>
                        <a:pt x="30" y="167"/>
                      </a:cubicBezTo>
                      <a:cubicBezTo>
                        <a:pt x="28" y="174"/>
                        <a:pt x="22" y="179"/>
                        <a:pt x="15" y="179"/>
                      </a:cubicBezTo>
                      <a:cubicBezTo>
                        <a:pt x="7" y="179"/>
                        <a:pt x="0" y="172"/>
                        <a:pt x="0" y="164"/>
                      </a:cubicBezTo>
                      <a:lnTo>
                        <a:pt x="0" y="115"/>
                      </a:lnTo>
                      <a:cubicBezTo>
                        <a:pt x="8" y="110"/>
                        <a:pt x="14" y="100"/>
                        <a:pt x="14" y="9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03" name="Freeform 1002"/>
                <p:cNvSpPr>
                  <a:spLocks/>
                </p:cNvSpPr>
                <p:nvPr/>
              </p:nvSpPr>
              <p:spPr bwMode="gray">
                <a:xfrm>
                  <a:off x="10565562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04" name="Freeform 1003"/>
                <p:cNvSpPr>
                  <a:spLocks/>
                </p:cNvSpPr>
                <p:nvPr/>
              </p:nvSpPr>
              <p:spPr bwMode="gray">
                <a:xfrm>
                  <a:off x="10210451" y="3618065"/>
                  <a:ext cx="334933" cy="593197"/>
                </a:xfrm>
                <a:custGeom>
                  <a:avLst/>
                  <a:gdLst>
                    <a:gd name="T0" fmla="*/ 19 w 125"/>
                    <a:gd name="T1" fmla="*/ 0 h 221"/>
                    <a:gd name="T2" fmla="*/ 19 w 125"/>
                    <a:gd name="T3" fmla="*/ 0 h 221"/>
                    <a:gd name="T4" fmla="*/ 44 w 125"/>
                    <a:gd name="T5" fmla="*/ 0 h 221"/>
                    <a:gd name="T6" fmla="*/ 63 w 125"/>
                    <a:gd name="T7" fmla="*/ 25 h 221"/>
                    <a:gd name="T8" fmla="*/ 82 w 125"/>
                    <a:gd name="T9" fmla="*/ 0 h 221"/>
                    <a:gd name="T10" fmla="*/ 106 w 125"/>
                    <a:gd name="T11" fmla="*/ 0 h 221"/>
                    <a:gd name="T12" fmla="*/ 125 w 125"/>
                    <a:gd name="T13" fmla="*/ 20 h 221"/>
                    <a:gd name="T14" fmla="*/ 125 w 125"/>
                    <a:gd name="T15" fmla="*/ 91 h 221"/>
                    <a:gd name="T16" fmla="*/ 106 w 125"/>
                    <a:gd name="T17" fmla="*/ 110 h 221"/>
                    <a:gd name="T18" fmla="*/ 100 w 125"/>
                    <a:gd name="T19" fmla="*/ 110 h 221"/>
                    <a:gd name="T20" fmla="*/ 100 w 125"/>
                    <a:gd name="T21" fmla="*/ 202 h 221"/>
                    <a:gd name="T22" fmla="*/ 81 w 125"/>
                    <a:gd name="T23" fmla="*/ 221 h 221"/>
                    <a:gd name="T24" fmla="*/ 63 w 125"/>
                    <a:gd name="T25" fmla="*/ 209 h 221"/>
                    <a:gd name="T26" fmla="*/ 45 w 125"/>
                    <a:gd name="T27" fmla="*/ 221 h 221"/>
                    <a:gd name="T28" fmla="*/ 26 w 125"/>
                    <a:gd name="T29" fmla="*/ 202 h 221"/>
                    <a:gd name="T30" fmla="*/ 26 w 125"/>
                    <a:gd name="T31" fmla="*/ 110 h 221"/>
                    <a:gd name="T32" fmla="*/ 19 w 125"/>
                    <a:gd name="T33" fmla="*/ 110 h 221"/>
                    <a:gd name="T34" fmla="*/ 0 w 125"/>
                    <a:gd name="T35" fmla="*/ 91 h 221"/>
                    <a:gd name="T36" fmla="*/ 0 w 125"/>
                    <a:gd name="T37" fmla="*/ 20 h 221"/>
                    <a:gd name="T38" fmla="*/ 19 w 125"/>
                    <a:gd name="T3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5" h="221">
                      <a:moveTo>
                        <a:pt x="19" y="0"/>
                      </a:moveTo>
                      <a:lnTo>
                        <a:pt x="19" y="0"/>
                      </a:lnTo>
                      <a:lnTo>
                        <a:pt x="44" y="0"/>
                      </a:lnTo>
                      <a:lnTo>
                        <a:pt x="63" y="25"/>
                      </a:lnTo>
                      <a:lnTo>
                        <a:pt x="82" y="0"/>
                      </a:lnTo>
                      <a:lnTo>
                        <a:pt x="106" y="0"/>
                      </a:lnTo>
                      <a:cubicBezTo>
                        <a:pt x="117" y="0"/>
                        <a:pt x="125" y="9"/>
                        <a:pt x="125" y="20"/>
                      </a:cubicBezTo>
                      <a:lnTo>
                        <a:pt x="125" y="91"/>
                      </a:lnTo>
                      <a:cubicBezTo>
                        <a:pt x="125" y="102"/>
                        <a:pt x="117" y="110"/>
                        <a:pt x="106" y="110"/>
                      </a:cubicBezTo>
                      <a:lnTo>
                        <a:pt x="100" y="110"/>
                      </a:lnTo>
                      <a:lnTo>
                        <a:pt x="100" y="202"/>
                      </a:lnTo>
                      <a:cubicBezTo>
                        <a:pt x="100" y="213"/>
                        <a:pt x="91" y="221"/>
                        <a:pt x="81" y="221"/>
                      </a:cubicBezTo>
                      <a:cubicBezTo>
                        <a:pt x="73" y="221"/>
                        <a:pt x="66" y="216"/>
                        <a:pt x="63" y="209"/>
                      </a:cubicBezTo>
                      <a:cubicBezTo>
                        <a:pt x="60" y="216"/>
                        <a:pt x="53" y="221"/>
                        <a:pt x="45" y="221"/>
                      </a:cubicBezTo>
                      <a:cubicBezTo>
                        <a:pt x="34" y="221"/>
                        <a:pt x="26" y="213"/>
                        <a:pt x="26" y="202"/>
                      </a:cubicBezTo>
                      <a:lnTo>
                        <a:pt x="26" y="110"/>
                      </a:lnTo>
                      <a:lnTo>
                        <a:pt x="19" y="110"/>
                      </a:lnTo>
                      <a:cubicBezTo>
                        <a:pt x="9" y="110"/>
                        <a:pt x="0" y="102"/>
                        <a:pt x="0" y="91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19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05" name="Freeform 1004"/>
                <p:cNvSpPr>
                  <a:spLocks/>
                </p:cNvSpPr>
                <p:nvPr/>
              </p:nvSpPr>
              <p:spPr bwMode="gray">
                <a:xfrm>
                  <a:off x="10291158" y="3416297"/>
                  <a:ext cx="169485" cy="169485"/>
                </a:xfrm>
                <a:custGeom>
                  <a:avLst/>
                  <a:gdLst>
                    <a:gd name="T0" fmla="*/ 32 w 63"/>
                    <a:gd name="T1" fmla="*/ 63 h 63"/>
                    <a:gd name="T2" fmla="*/ 32 w 63"/>
                    <a:gd name="T3" fmla="*/ 63 h 63"/>
                    <a:gd name="T4" fmla="*/ 0 w 63"/>
                    <a:gd name="T5" fmla="*/ 32 h 63"/>
                    <a:gd name="T6" fmla="*/ 32 w 63"/>
                    <a:gd name="T7" fmla="*/ 0 h 63"/>
                    <a:gd name="T8" fmla="*/ 63 w 63"/>
                    <a:gd name="T9" fmla="*/ 32 h 63"/>
                    <a:gd name="T10" fmla="*/ 32 w 63"/>
                    <a:gd name="T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3" h="63">
                      <a:moveTo>
                        <a:pt x="32" y="63"/>
                      </a:moveTo>
                      <a:lnTo>
                        <a:pt x="32" y="63"/>
                      </a:lnTo>
                      <a:cubicBezTo>
                        <a:pt x="16" y="63"/>
                        <a:pt x="0" y="50"/>
                        <a:pt x="0" y="32"/>
                      </a:cubicBezTo>
                      <a:cubicBezTo>
                        <a:pt x="0" y="14"/>
                        <a:pt x="14" y="0"/>
                        <a:pt x="32" y="0"/>
                      </a:cubicBezTo>
                      <a:cubicBezTo>
                        <a:pt x="49" y="0"/>
                        <a:pt x="63" y="14"/>
                        <a:pt x="63" y="32"/>
                      </a:cubicBezTo>
                      <a:cubicBezTo>
                        <a:pt x="63" y="50"/>
                        <a:pt x="48" y="63"/>
                        <a:pt x="32" y="63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872" name="Group 871"/>
            <p:cNvGrpSpPr/>
            <p:nvPr/>
          </p:nvGrpSpPr>
          <p:grpSpPr bwMode="gray">
            <a:xfrm>
              <a:off x="2532044" y="2048518"/>
              <a:ext cx="188718" cy="188718"/>
              <a:chOff x="7844637" y="3042922"/>
              <a:chExt cx="949960" cy="949958"/>
            </a:xfrm>
          </p:grpSpPr>
          <p:sp>
            <p:nvSpPr>
              <p:cNvPr id="989" name="Oval 988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90" name="Oval 989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B9BAE9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91" name="Group 990"/>
              <p:cNvGrpSpPr/>
              <p:nvPr/>
            </p:nvGrpSpPr>
            <p:grpSpPr bwMode="gray">
              <a:xfrm>
                <a:off x="8001195" y="3253833"/>
                <a:ext cx="636843" cy="455989"/>
                <a:chOff x="7980901" y="3252751"/>
                <a:chExt cx="636843" cy="455989"/>
              </a:xfrm>
            </p:grpSpPr>
            <p:sp>
              <p:nvSpPr>
                <p:cNvPr id="992" name="Freeform 5"/>
                <p:cNvSpPr>
                  <a:spLocks/>
                </p:cNvSpPr>
                <p:nvPr/>
              </p:nvSpPr>
              <p:spPr bwMode="gray">
                <a:xfrm>
                  <a:off x="7980901" y="3252751"/>
                  <a:ext cx="636843" cy="455989"/>
                </a:xfrm>
                <a:custGeom>
                  <a:avLst/>
                  <a:gdLst>
                    <a:gd name="T0" fmla="*/ 602 w 743"/>
                    <a:gd name="T1" fmla="*/ 180 h 532"/>
                    <a:gd name="T2" fmla="*/ 602 w 743"/>
                    <a:gd name="T3" fmla="*/ 242 h 532"/>
                    <a:gd name="T4" fmla="*/ 564 w 743"/>
                    <a:gd name="T5" fmla="*/ 242 h 532"/>
                    <a:gd name="T6" fmla="*/ 564 w 743"/>
                    <a:gd name="T7" fmla="*/ 182 h 532"/>
                    <a:gd name="T8" fmla="*/ 461 w 743"/>
                    <a:gd name="T9" fmla="*/ 99 h 532"/>
                    <a:gd name="T10" fmla="*/ 354 w 743"/>
                    <a:gd name="T11" fmla="*/ 99 h 532"/>
                    <a:gd name="T12" fmla="*/ 354 w 743"/>
                    <a:gd name="T13" fmla="*/ 67 h 532"/>
                    <a:gd name="T14" fmla="*/ 440 w 743"/>
                    <a:gd name="T15" fmla="*/ 67 h 532"/>
                    <a:gd name="T16" fmla="*/ 440 w 743"/>
                    <a:gd name="T17" fmla="*/ 0 h 532"/>
                    <a:gd name="T18" fmla="*/ 160 w 743"/>
                    <a:gd name="T19" fmla="*/ 0 h 532"/>
                    <a:gd name="T20" fmla="*/ 160 w 743"/>
                    <a:gd name="T21" fmla="*/ 67 h 532"/>
                    <a:gd name="T22" fmla="*/ 251 w 743"/>
                    <a:gd name="T23" fmla="*/ 67 h 532"/>
                    <a:gd name="T24" fmla="*/ 251 w 743"/>
                    <a:gd name="T25" fmla="*/ 99 h 532"/>
                    <a:gd name="T26" fmla="*/ 125 w 743"/>
                    <a:gd name="T27" fmla="*/ 99 h 532"/>
                    <a:gd name="T28" fmla="*/ 125 w 743"/>
                    <a:gd name="T29" fmla="*/ 235 h 532"/>
                    <a:gd name="T30" fmla="*/ 86 w 743"/>
                    <a:gd name="T31" fmla="*/ 235 h 532"/>
                    <a:gd name="T32" fmla="*/ 86 w 743"/>
                    <a:gd name="T33" fmla="*/ 96 h 532"/>
                    <a:gd name="T34" fmla="*/ 0 w 743"/>
                    <a:gd name="T35" fmla="*/ 96 h 532"/>
                    <a:gd name="T36" fmla="*/ 0 w 743"/>
                    <a:gd name="T37" fmla="*/ 463 h 532"/>
                    <a:gd name="T38" fmla="*/ 86 w 743"/>
                    <a:gd name="T39" fmla="*/ 463 h 532"/>
                    <a:gd name="T40" fmla="*/ 86 w 743"/>
                    <a:gd name="T41" fmla="*/ 319 h 532"/>
                    <a:gd name="T42" fmla="*/ 125 w 743"/>
                    <a:gd name="T43" fmla="*/ 319 h 532"/>
                    <a:gd name="T44" fmla="*/ 125 w 743"/>
                    <a:gd name="T45" fmla="*/ 319 h 532"/>
                    <a:gd name="T46" fmla="*/ 125 w 743"/>
                    <a:gd name="T47" fmla="*/ 448 h 532"/>
                    <a:gd name="T48" fmla="*/ 265 w 743"/>
                    <a:gd name="T49" fmla="*/ 530 h 532"/>
                    <a:gd name="T50" fmla="*/ 564 w 743"/>
                    <a:gd name="T51" fmla="*/ 530 h 532"/>
                    <a:gd name="T52" fmla="*/ 564 w 743"/>
                    <a:gd name="T53" fmla="*/ 458 h 532"/>
                    <a:gd name="T54" fmla="*/ 602 w 743"/>
                    <a:gd name="T55" fmla="*/ 458 h 532"/>
                    <a:gd name="T56" fmla="*/ 602 w 743"/>
                    <a:gd name="T57" fmla="*/ 532 h 532"/>
                    <a:gd name="T58" fmla="*/ 743 w 743"/>
                    <a:gd name="T59" fmla="*/ 532 h 532"/>
                    <a:gd name="T60" fmla="*/ 743 w 743"/>
                    <a:gd name="T61" fmla="*/ 180 h 532"/>
                    <a:gd name="T62" fmla="*/ 602 w 743"/>
                    <a:gd name="T63" fmla="*/ 180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43" h="532">
                      <a:moveTo>
                        <a:pt x="602" y="180"/>
                      </a:moveTo>
                      <a:lnTo>
                        <a:pt x="602" y="242"/>
                      </a:lnTo>
                      <a:lnTo>
                        <a:pt x="564" y="242"/>
                      </a:lnTo>
                      <a:lnTo>
                        <a:pt x="564" y="182"/>
                      </a:lnTo>
                      <a:lnTo>
                        <a:pt x="461" y="99"/>
                      </a:lnTo>
                      <a:lnTo>
                        <a:pt x="354" y="99"/>
                      </a:lnTo>
                      <a:lnTo>
                        <a:pt x="354" y="67"/>
                      </a:lnTo>
                      <a:lnTo>
                        <a:pt x="440" y="67"/>
                      </a:lnTo>
                      <a:lnTo>
                        <a:pt x="440" y="0"/>
                      </a:lnTo>
                      <a:lnTo>
                        <a:pt x="160" y="0"/>
                      </a:lnTo>
                      <a:lnTo>
                        <a:pt x="160" y="67"/>
                      </a:lnTo>
                      <a:lnTo>
                        <a:pt x="251" y="67"/>
                      </a:lnTo>
                      <a:lnTo>
                        <a:pt x="251" y="99"/>
                      </a:lnTo>
                      <a:lnTo>
                        <a:pt x="125" y="99"/>
                      </a:lnTo>
                      <a:lnTo>
                        <a:pt x="125" y="235"/>
                      </a:lnTo>
                      <a:lnTo>
                        <a:pt x="86" y="235"/>
                      </a:lnTo>
                      <a:lnTo>
                        <a:pt x="86" y="96"/>
                      </a:lnTo>
                      <a:lnTo>
                        <a:pt x="0" y="96"/>
                      </a:lnTo>
                      <a:lnTo>
                        <a:pt x="0" y="463"/>
                      </a:lnTo>
                      <a:lnTo>
                        <a:pt x="86" y="463"/>
                      </a:lnTo>
                      <a:lnTo>
                        <a:pt x="86" y="319"/>
                      </a:lnTo>
                      <a:lnTo>
                        <a:pt x="125" y="319"/>
                      </a:lnTo>
                      <a:lnTo>
                        <a:pt x="125" y="319"/>
                      </a:lnTo>
                      <a:lnTo>
                        <a:pt x="125" y="448"/>
                      </a:lnTo>
                      <a:lnTo>
                        <a:pt x="265" y="530"/>
                      </a:lnTo>
                      <a:lnTo>
                        <a:pt x="564" y="530"/>
                      </a:lnTo>
                      <a:lnTo>
                        <a:pt x="564" y="458"/>
                      </a:lnTo>
                      <a:lnTo>
                        <a:pt x="602" y="458"/>
                      </a:lnTo>
                      <a:lnTo>
                        <a:pt x="602" y="532"/>
                      </a:lnTo>
                      <a:lnTo>
                        <a:pt x="743" y="532"/>
                      </a:lnTo>
                      <a:lnTo>
                        <a:pt x="743" y="180"/>
                      </a:lnTo>
                      <a:lnTo>
                        <a:pt x="602" y="1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grpSp>
              <p:nvGrpSpPr>
                <p:cNvPr id="993" name="Group 992"/>
                <p:cNvGrpSpPr/>
                <p:nvPr/>
              </p:nvGrpSpPr>
              <p:grpSpPr bwMode="gray">
                <a:xfrm>
                  <a:off x="8111965" y="3364531"/>
                  <a:ext cx="345141" cy="326278"/>
                  <a:chOff x="8148830" y="3562085"/>
                  <a:chExt cx="345141" cy="326278"/>
                </a:xfrm>
                <a:solidFill>
                  <a:srgbClr val="E1261C"/>
                </a:solidFill>
              </p:grpSpPr>
              <p:sp>
                <p:nvSpPr>
                  <p:cNvPr id="994" name="Freeform 993"/>
                  <p:cNvSpPr/>
                  <p:nvPr/>
                </p:nvSpPr>
                <p:spPr bwMode="gray">
                  <a:xfrm>
                    <a:off x="8148830" y="3562085"/>
                    <a:ext cx="198245" cy="197902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95" name="Freeform 994"/>
                  <p:cNvSpPr/>
                  <p:nvPr/>
                </p:nvSpPr>
                <p:spPr bwMode="gray">
                  <a:xfrm>
                    <a:off x="8339293" y="3616567"/>
                    <a:ext cx="154678" cy="154410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96" name="Freeform 995"/>
                  <p:cNvSpPr/>
                  <p:nvPr/>
                </p:nvSpPr>
                <p:spPr bwMode="gray">
                  <a:xfrm>
                    <a:off x="8252804" y="3733953"/>
                    <a:ext cx="154678" cy="154410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  <p:grpSp>
          <p:nvGrpSpPr>
            <p:cNvPr id="873" name="Group 872"/>
            <p:cNvGrpSpPr/>
            <p:nvPr/>
          </p:nvGrpSpPr>
          <p:grpSpPr bwMode="gray">
            <a:xfrm>
              <a:off x="2833824" y="2354455"/>
              <a:ext cx="188718" cy="188718"/>
              <a:chOff x="6731050" y="3759441"/>
              <a:chExt cx="949960" cy="949958"/>
            </a:xfrm>
          </p:grpSpPr>
          <p:grpSp>
            <p:nvGrpSpPr>
              <p:cNvPr id="983" name="Group 982"/>
              <p:cNvGrpSpPr/>
              <p:nvPr/>
            </p:nvGrpSpPr>
            <p:grpSpPr bwMode="gray">
              <a:xfrm>
                <a:off x="6731050" y="3759441"/>
                <a:ext cx="949960" cy="949958"/>
                <a:chOff x="7887708" y="3050570"/>
                <a:chExt cx="949960" cy="949958"/>
              </a:xfrm>
            </p:grpSpPr>
            <p:sp>
              <p:nvSpPr>
                <p:cNvPr id="987" name="Oval 986"/>
                <p:cNvSpPr/>
                <p:nvPr/>
              </p:nvSpPr>
              <p:spPr bwMode="gray">
                <a:xfrm>
                  <a:off x="7887708" y="3050570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88" name="Oval 987"/>
                <p:cNvSpPr/>
                <p:nvPr/>
              </p:nvSpPr>
              <p:spPr bwMode="gray">
                <a:xfrm>
                  <a:off x="7962407" y="3125266"/>
                  <a:ext cx="800568" cy="800567"/>
                </a:xfrm>
                <a:prstGeom prst="ellipse">
                  <a:avLst/>
                </a:prstGeom>
                <a:solidFill>
                  <a:srgbClr val="244296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84" name="Freeform 983"/>
              <p:cNvSpPr>
                <a:spLocks/>
              </p:cNvSpPr>
              <p:nvPr/>
            </p:nvSpPr>
            <p:spPr bwMode="gray">
              <a:xfrm>
                <a:off x="6855676" y="4104537"/>
                <a:ext cx="714256" cy="191220"/>
              </a:xfrm>
              <a:custGeom>
                <a:avLst/>
                <a:gdLst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475572 w 2932955"/>
                  <a:gd name="connsiteY22" fmla="*/ 130490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504903 w 2932955"/>
                  <a:gd name="connsiteY22" fmla="*/ 159821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32955" h="785207">
                    <a:moveTo>
                      <a:pt x="1326195" y="359"/>
                    </a:moveTo>
                    <a:cubicBezTo>
                      <a:pt x="1475598" y="1838"/>
                      <a:pt x="1629877" y="8376"/>
                      <a:pt x="1720948" y="28608"/>
                    </a:cubicBezTo>
                    <a:cubicBezTo>
                      <a:pt x="1903384" y="69073"/>
                      <a:pt x="1881093" y="183749"/>
                      <a:pt x="2054437" y="245166"/>
                    </a:cubicBezTo>
                    <a:cubicBezTo>
                      <a:pt x="2227780" y="306503"/>
                      <a:pt x="2606438" y="354965"/>
                      <a:pt x="2760717" y="396869"/>
                    </a:cubicBezTo>
                    <a:cubicBezTo>
                      <a:pt x="2907663" y="434774"/>
                      <a:pt x="2956645" y="400547"/>
                      <a:pt x="2922621" y="663248"/>
                    </a:cubicBezTo>
                    <a:cubicBezTo>
                      <a:pt x="2911403" y="765989"/>
                      <a:pt x="2893749" y="783082"/>
                      <a:pt x="2783911" y="785207"/>
                    </a:cubicBezTo>
                    <a:lnTo>
                      <a:pt x="2671331" y="785015"/>
                    </a:lnTo>
                    <a:lnTo>
                      <a:pt x="2682243" y="730966"/>
                    </a:lnTo>
                    <a:cubicBezTo>
                      <a:pt x="2682243" y="562630"/>
                      <a:pt x="2545779" y="426166"/>
                      <a:pt x="2377443" y="426166"/>
                    </a:cubicBezTo>
                    <a:cubicBezTo>
                      <a:pt x="2209107" y="426166"/>
                      <a:pt x="2072643" y="562630"/>
                      <a:pt x="2072643" y="730966"/>
                    </a:cubicBezTo>
                    <a:lnTo>
                      <a:pt x="2082769" y="781123"/>
                    </a:lnTo>
                    <a:lnTo>
                      <a:pt x="873797" y="781123"/>
                    </a:lnTo>
                    <a:lnTo>
                      <a:pt x="883923" y="730965"/>
                    </a:lnTo>
                    <a:cubicBezTo>
                      <a:pt x="883923" y="562629"/>
                      <a:pt x="747459" y="426165"/>
                      <a:pt x="579123" y="426165"/>
                    </a:cubicBezTo>
                    <a:cubicBezTo>
                      <a:pt x="410787" y="426165"/>
                      <a:pt x="274323" y="562629"/>
                      <a:pt x="274323" y="730965"/>
                    </a:cubicBezTo>
                    <a:lnTo>
                      <a:pt x="277299" y="745705"/>
                    </a:lnTo>
                    <a:lnTo>
                      <a:pt x="194109" y="730272"/>
                    </a:lnTo>
                    <a:cubicBezTo>
                      <a:pt x="150810" y="722166"/>
                      <a:pt x="108500" y="712629"/>
                      <a:pt x="69050" y="697395"/>
                    </a:cubicBezTo>
                    <a:cubicBezTo>
                      <a:pt x="-2517" y="670765"/>
                      <a:pt x="-2517" y="590875"/>
                      <a:pt x="1297" y="526180"/>
                    </a:cubicBezTo>
                    <a:cubicBezTo>
                      <a:pt x="1297" y="484275"/>
                      <a:pt x="23881" y="442451"/>
                      <a:pt x="31507" y="400547"/>
                    </a:cubicBezTo>
                    <a:cubicBezTo>
                      <a:pt x="38840" y="362562"/>
                      <a:pt x="50279" y="320738"/>
                      <a:pt x="42653" y="286511"/>
                    </a:cubicBezTo>
                    <a:cubicBezTo>
                      <a:pt x="31507" y="229412"/>
                      <a:pt x="54092" y="206541"/>
                      <a:pt x="99261" y="198944"/>
                    </a:cubicBezTo>
                    <a:cubicBezTo>
                      <a:pt x="129178" y="191267"/>
                      <a:pt x="361477" y="192528"/>
                      <a:pt x="504903" y="159821"/>
                    </a:cubicBezTo>
                    <a:cubicBezTo>
                      <a:pt x="648330" y="127113"/>
                      <a:pt x="738667" y="6217"/>
                      <a:pt x="960700" y="2458"/>
                    </a:cubicBezTo>
                    <a:cubicBezTo>
                      <a:pt x="1032266" y="2458"/>
                      <a:pt x="1176793" y="-1121"/>
                      <a:pt x="1326195" y="3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85" name="Freeform 984"/>
              <p:cNvSpPr/>
              <p:nvPr/>
            </p:nvSpPr>
            <p:spPr bwMode="gray">
              <a:xfrm>
                <a:off x="6935471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86" name="Freeform 985"/>
              <p:cNvSpPr/>
              <p:nvPr/>
            </p:nvSpPr>
            <p:spPr bwMode="gray">
              <a:xfrm>
                <a:off x="7373103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74" name="Group 873"/>
            <p:cNvGrpSpPr/>
            <p:nvPr/>
          </p:nvGrpSpPr>
          <p:grpSpPr bwMode="gray">
            <a:xfrm>
              <a:off x="2529143" y="2354455"/>
              <a:ext cx="188718" cy="188718"/>
              <a:chOff x="7844637" y="3042922"/>
              <a:chExt cx="949960" cy="949958"/>
            </a:xfrm>
          </p:grpSpPr>
          <p:grpSp>
            <p:nvGrpSpPr>
              <p:cNvPr id="979" name="Group 978"/>
              <p:cNvGrpSpPr/>
              <p:nvPr/>
            </p:nvGrpSpPr>
            <p:grpSpPr bwMode="gray">
              <a:xfrm>
                <a:off x="7844637" y="3042922"/>
                <a:ext cx="949960" cy="949958"/>
                <a:chOff x="7844637" y="3042922"/>
                <a:chExt cx="949960" cy="949958"/>
              </a:xfrm>
            </p:grpSpPr>
            <p:sp>
              <p:nvSpPr>
                <p:cNvPr id="981" name="Oval 980"/>
                <p:cNvSpPr/>
                <p:nvPr/>
              </p:nvSpPr>
              <p:spPr bwMode="gray">
                <a:xfrm>
                  <a:off x="7844637" y="3042922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82" name="Oval 981"/>
                <p:cNvSpPr/>
                <p:nvPr/>
              </p:nvSpPr>
              <p:spPr bwMode="gray">
                <a:xfrm>
                  <a:off x="7919333" y="3117618"/>
                  <a:ext cx="800568" cy="800567"/>
                </a:xfrm>
                <a:prstGeom prst="ellipse">
                  <a:avLst/>
                </a:prstGeom>
                <a:solidFill>
                  <a:srgbClr val="0066CC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80" name="Freeform 979"/>
              <p:cNvSpPr/>
              <p:nvPr/>
            </p:nvSpPr>
            <p:spPr bwMode="gray">
              <a:xfrm>
                <a:off x="8081449" y="3192562"/>
                <a:ext cx="492973" cy="539565"/>
              </a:xfrm>
              <a:custGeom>
                <a:avLst/>
                <a:gdLst>
                  <a:gd name="connsiteX0" fmla="*/ 931340 w 1293073"/>
                  <a:gd name="connsiteY0" fmla="*/ 415895 h 1415284"/>
                  <a:gd name="connsiteX1" fmla="*/ 885620 w 1293073"/>
                  <a:gd name="connsiteY1" fmla="*/ 461615 h 1415284"/>
                  <a:gd name="connsiteX2" fmla="*/ 931340 w 1293073"/>
                  <a:gd name="connsiteY2" fmla="*/ 507335 h 1415284"/>
                  <a:gd name="connsiteX3" fmla="*/ 977060 w 1293073"/>
                  <a:gd name="connsiteY3" fmla="*/ 461615 h 1415284"/>
                  <a:gd name="connsiteX4" fmla="*/ 931340 w 1293073"/>
                  <a:gd name="connsiteY4" fmla="*/ 415895 h 1415284"/>
                  <a:gd name="connsiteX5" fmla="*/ 367253 w 1293073"/>
                  <a:gd name="connsiteY5" fmla="*/ 377291 h 1415284"/>
                  <a:gd name="connsiteX6" fmla="*/ 321533 w 1293073"/>
                  <a:gd name="connsiteY6" fmla="*/ 423011 h 1415284"/>
                  <a:gd name="connsiteX7" fmla="*/ 367253 w 1293073"/>
                  <a:gd name="connsiteY7" fmla="*/ 468731 h 1415284"/>
                  <a:gd name="connsiteX8" fmla="*/ 412973 w 1293073"/>
                  <a:gd name="connsiteY8" fmla="*/ 423011 h 1415284"/>
                  <a:gd name="connsiteX9" fmla="*/ 367253 w 1293073"/>
                  <a:gd name="connsiteY9" fmla="*/ 377291 h 1415284"/>
                  <a:gd name="connsiteX10" fmla="*/ 1089685 w 1293073"/>
                  <a:gd name="connsiteY10" fmla="*/ 340720 h 1415284"/>
                  <a:gd name="connsiteX11" fmla="*/ 1293073 w 1293073"/>
                  <a:gd name="connsiteY11" fmla="*/ 1197580 h 1415284"/>
                  <a:gd name="connsiteX12" fmla="*/ 1147551 w 1293073"/>
                  <a:gd name="connsiteY12" fmla="*/ 1359833 h 1415284"/>
                  <a:gd name="connsiteX13" fmla="*/ 658035 w 1293073"/>
                  <a:gd name="connsiteY13" fmla="*/ 79417 h 1415284"/>
                  <a:gd name="connsiteX14" fmla="*/ 520484 w 1293073"/>
                  <a:gd name="connsiteY14" fmla="*/ 121952 h 1415284"/>
                  <a:gd name="connsiteX15" fmla="*/ 412770 w 1293073"/>
                  <a:gd name="connsiteY15" fmla="*/ 287823 h 1415284"/>
                  <a:gd name="connsiteX16" fmla="*/ 409112 w 1293073"/>
                  <a:gd name="connsiteY16" fmla="*/ 320104 h 1415284"/>
                  <a:gd name="connsiteX17" fmla="*/ 896009 w 1293073"/>
                  <a:gd name="connsiteY17" fmla="*/ 337604 h 1415284"/>
                  <a:gd name="connsiteX18" fmla="*/ 893234 w 1293073"/>
                  <a:gd name="connsiteY18" fmla="*/ 300041 h 1415284"/>
                  <a:gd name="connsiteX19" fmla="*/ 793479 w 1293073"/>
                  <a:gd name="connsiteY19" fmla="*/ 129831 h 1415284"/>
                  <a:gd name="connsiteX20" fmla="*/ 658035 w 1293073"/>
                  <a:gd name="connsiteY20" fmla="*/ 79417 h 1415284"/>
                  <a:gd name="connsiteX21" fmla="*/ 659969 w 1293073"/>
                  <a:gd name="connsiteY21" fmla="*/ 114 h 1415284"/>
                  <a:gd name="connsiteX22" fmla="*/ 835494 w 1293073"/>
                  <a:gd name="connsiteY22" fmla="*/ 62205 h 1415284"/>
                  <a:gd name="connsiteX23" fmla="*/ 970660 w 1293073"/>
                  <a:gd name="connsiteY23" fmla="*/ 282687 h 1415284"/>
                  <a:gd name="connsiteX24" fmla="*/ 975081 w 1293073"/>
                  <a:gd name="connsiteY24" fmla="*/ 340446 h 1415284"/>
                  <a:gd name="connsiteX25" fmla="*/ 1064394 w 1293073"/>
                  <a:gd name="connsiteY25" fmla="*/ 343656 h 1415284"/>
                  <a:gd name="connsiteX26" fmla="*/ 1130919 w 1293073"/>
                  <a:gd name="connsiteY26" fmla="*/ 1415284 h 1415284"/>
                  <a:gd name="connsiteX27" fmla="*/ 0 w 1293073"/>
                  <a:gd name="connsiteY27" fmla="*/ 1298311 h 1415284"/>
                  <a:gd name="connsiteX28" fmla="*/ 224521 w 1293073"/>
                  <a:gd name="connsiteY28" fmla="*/ 313469 h 1415284"/>
                  <a:gd name="connsiteX29" fmla="*/ 330299 w 1293073"/>
                  <a:gd name="connsiteY29" fmla="*/ 317271 h 1415284"/>
                  <a:gd name="connsiteX30" fmla="*/ 336264 w 1293073"/>
                  <a:gd name="connsiteY30" fmla="*/ 266733 h 1415284"/>
                  <a:gd name="connsiteX31" fmla="*/ 481808 w 1293073"/>
                  <a:gd name="connsiteY31" fmla="*/ 52391 h 1415284"/>
                  <a:gd name="connsiteX32" fmla="*/ 659969 w 1293073"/>
                  <a:gd name="connsiteY32" fmla="*/ 114 h 141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293073" h="1415284">
                    <a:moveTo>
                      <a:pt x="931340" y="415895"/>
                    </a:moveTo>
                    <a:cubicBezTo>
                      <a:pt x="906090" y="415895"/>
                      <a:pt x="885620" y="436365"/>
                      <a:pt x="885620" y="461615"/>
                    </a:cubicBezTo>
                    <a:cubicBezTo>
                      <a:pt x="885620" y="486865"/>
                      <a:pt x="906090" y="507335"/>
                      <a:pt x="931340" y="507335"/>
                    </a:cubicBezTo>
                    <a:cubicBezTo>
                      <a:pt x="956590" y="507335"/>
                      <a:pt x="977060" y="486865"/>
                      <a:pt x="977060" y="461615"/>
                    </a:cubicBezTo>
                    <a:cubicBezTo>
                      <a:pt x="977060" y="436365"/>
                      <a:pt x="956590" y="415895"/>
                      <a:pt x="931340" y="415895"/>
                    </a:cubicBezTo>
                    <a:close/>
                    <a:moveTo>
                      <a:pt x="367253" y="377291"/>
                    </a:moveTo>
                    <a:cubicBezTo>
                      <a:pt x="342003" y="377291"/>
                      <a:pt x="321533" y="397761"/>
                      <a:pt x="321533" y="423011"/>
                    </a:cubicBezTo>
                    <a:cubicBezTo>
                      <a:pt x="321533" y="448261"/>
                      <a:pt x="342003" y="468731"/>
                      <a:pt x="367253" y="468731"/>
                    </a:cubicBezTo>
                    <a:cubicBezTo>
                      <a:pt x="392503" y="468731"/>
                      <a:pt x="412973" y="448261"/>
                      <a:pt x="412973" y="423011"/>
                    </a:cubicBezTo>
                    <a:cubicBezTo>
                      <a:pt x="412973" y="397761"/>
                      <a:pt x="392503" y="377291"/>
                      <a:pt x="367253" y="377291"/>
                    </a:cubicBezTo>
                    <a:close/>
                    <a:moveTo>
                      <a:pt x="1089685" y="340720"/>
                    </a:moveTo>
                    <a:lnTo>
                      <a:pt x="1293073" y="1197580"/>
                    </a:lnTo>
                    <a:lnTo>
                      <a:pt x="1147551" y="1359833"/>
                    </a:lnTo>
                    <a:close/>
                    <a:moveTo>
                      <a:pt x="658035" y="79417"/>
                    </a:moveTo>
                    <a:cubicBezTo>
                      <a:pt x="610465" y="78044"/>
                      <a:pt x="562545" y="92162"/>
                      <a:pt x="520484" y="121952"/>
                    </a:cubicBezTo>
                    <a:cubicBezTo>
                      <a:pt x="466504" y="160184"/>
                      <a:pt x="428432" y="219897"/>
                      <a:pt x="412770" y="287823"/>
                    </a:cubicBezTo>
                    <a:lnTo>
                      <a:pt x="409112" y="320104"/>
                    </a:lnTo>
                    <a:lnTo>
                      <a:pt x="896009" y="337604"/>
                    </a:lnTo>
                    <a:lnTo>
                      <a:pt x="893234" y="300041"/>
                    </a:lnTo>
                    <a:cubicBezTo>
                      <a:pt x="880402" y="231939"/>
                      <a:pt x="845218" y="170779"/>
                      <a:pt x="793479" y="129831"/>
                    </a:cubicBezTo>
                    <a:cubicBezTo>
                      <a:pt x="752823" y="97654"/>
                      <a:pt x="705604" y="80790"/>
                      <a:pt x="658035" y="79417"/>
                    </a:cubicBezTo>
                    <a:close/>
                    <a:moveTo>
                      <a:pt x="659969" y="114"/>
                    </a:moveTo>
                    <a:cubicBezTo>
                      <a:pt x="721476" y="1820"/>
                      <a:pt x="782544" y="22588"/>
                      <a:pt x="835494" y="62205"/>
                    </a:cubicBezTo>
                    <a:cubicBezTo>
                      <a:pt x="905513" y="114591"/>
                      <a:pt x="953266" y="193999"/>
                      <a:pt x="970660" y="282687"/>
                    </a:cubicBezTo>
                    <a:lnTo>
                      <a:pt x="975081" y="340446"/>
                    </a:lnTo>
                    <a:lnTo>
                      <a:pt x="1064394" y="343656"/>
                    </a:lnTo>
                    <a:lnTo>
                      <a:pt x="1130919" y="1415284"/>
                    </a:lnTo>
                    <a:lnTo>
                      <a:pt x="0" y="1298311"/>
                    </a:lnTo>
                    <a:lnTo>
                      <a:pt x="224521" y="313469"/>
                    </a:lnTo>
                    <a:lnTo>
                      <a:pt x="330299" y="317271"/>
                    </a:lnTo>
                    <a:lnTo>
                      <a:pt x="336264" y="266733"/>
                    </a:lnTo>
                    <a:cubicBezTo>
                      <a:pt x="357473" y="178466"/>
                      <a:pt x="408994" y="101143"/>
                      <a:pt x="481808" y="52391"/>
                    </a:cubicBezTo>
                    <a:cubicBezTo>
                      <a:pt x="536516" y="15762"/>
                      <a:pt x="598462" y="-1593"/>
                      <a:pt x="659969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75" name="Group 874"/>
            <p:cNvGrpSpPr/>
            <p:nvPr/>
          </p:nvGrpSpPr>
          <p:grpSpPr bwMode="gray">
            <a:xfrm>
              <a:off x="3624610" y="3124200"/>
              <a:ext cx="188718" cy="188718"/>
              <a:chOff x="7844637" y="3042922"/>
              <a:chExt cx="949960" cy="949958"/>
            </a:xfrm>
          </p:grpSpPr>
          <p:sp>
            <p:nvSpPr>
              <p:cNvPr id="970" name="Oval 969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71" name="Oval 970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91B0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72" name="Group 971"/>
              <p:cNvGrpSpPr/>
              <p:nvPr/>
            </p:nvGrpSpPr>
            <p:grpSpPr bwMode="gray">
              <a:xfrm>
                <a:off x="8013437" y="3195347"/>
                <a:ext cx="612360" cy="645108"/>
                <a:chOff x="9996579" y="3416297"/>
                <a:chExt cx="754607" cy="794965"/>
              </a:xfrm>
              <a:solidFill>
                <a:srgbClr val="FFFFFF"/>
              </a:solidFill>
            </p:grpSpPr>
            <p:sp>
              <p:nvSpPr>
                <p:cNvPr id="973" name="Freeform 972"/>
                <p:cNvSpPr>
                  <a:spLocks/>
                </p:cNvSpPr>
                <p:nvPr/>
              </p:nvSpPr>
              <p:spPr bwMode="gray">
                <a:xfrm>
                  <a:off x="10049037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74" name="Freeform 973"/>
                <p:cNvSpPr>
                  <a:spLocks/>
                </p:cNvSpPr>
                <p:nvPr/>
              </p:nvSpPr>
              <p:spPr bwMode="gray">
                <a:xfrm>
                  <a:off x="9996579" y="3622101"/>
                  <a:ext cx="197731" cy="480208"/>
                </a:xfrm>
                <a:custGeom>
                  <a:avLst/>
                  <a:gdLst>
                    <a:gd name="T0" fmla="*/ 20 w 74"/>
                    <a:gd name="T1" fmla="*/ 0 h 179"/>
                    <a:gd name="T2" fmla="*/ 20 w 74"/>
                    <a:gd name="T3" fmla="*/ 0 h 179"/>
                    <a:gd name="T4" fmla="*/ 68 w 74"/>
                    <a:gd name="T5" fmla="*/ 0 h 179"/>
                    <a:gd name="T6" fmla="*/ 62 w 74"/>
                    <a:gd name="T7" fmla="*/ 19 h 179"/>
                    <a:gd name="T8" fmla="*/ 62 w 74"/>
                    <a:gd name="T9" fmla="*/ 90 h 179"/>
                    <a:gd name="T10" fmla="*/ 74 w 74"/>
                    <a:gd name="T11" fmla="*/ 114 h 179"/>
                    <a:gd name="T12" fmla="*/ 74 w 74"/>
                    <a:gd name="T13" fmla="*/ 164 h 179"/>
                    <a:gd name="T14" fmla="*/ 59 w 74"/>
                    <a:gd name="T15" fmla="*/ 179 h 179"/>
                    <a:gd name="T16" fmla="*/ 45 w 74"/>
                    <a:gd name="T17" fmla="*/ 167 h 179"/>
                    <a:gd name="T18" fmla="*/ 30 w 74"/>
                    <a:gd name="T19" fmla="*/ 179 h 179"/>
                    <a:gd name="T20" fmla="*/ 15 w 74"/>
                    <a:gd name="T21" fmla="*/ 164 h 179"/>
                    <a:gd name="T22" fmla="*/ 15 w 74"/>
                    <a:gd name="T23" fmla="*/ 94 h 179"/>
                    <a:gd name="T24" fmla="*/ 0 w 74"/>
                    <a:gd name="T25" fmla="*/ 76 h 179"/>
                    <a:gd name="T26" fmla="*/ 0 w 74"/>
                    <a:gd name="T27" fmla="*/ 20 h 179"/>
                    <a:gd name="T28" fmla="*/ 20 w 74"/>
                    <a:gd name="T2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68" y="0"/>
                      </a:lnTo>
                      <a:cubicBezTo>
                        <a:pt x="64" y="5"/>
                        <a:pt x="62" y="12"/>
                        <a:pt x="62" y="19"/>
                      </a:cubicBezTo>
                      <a:lnTo>
                        <a:pt x="62" y="90"/>
                      </a:lnTo>
                      <a:cubicBezTo>
                        <a:pt x="62" y="100"/>
                        <a:pt x="67" y="109"/>
                        <a:pt x="74" y="114"/>
                      </a:cubicBezTo>
                      <a:lnTo>
                        <a:pt x="74" y="164"/>
                      </a:lnTo>
                      <a:cubicBezTo>
                        <a:pt x="74" y="172"/>
                        <a:pt x="68" y="179"/>
                        <a:pt x="59" y="179"/>
                      </a:cubicBezTo>
                      <a:cubicBezTo>
                        <a:pt x="52" y="179"/>
                        <a:pt x="46" y="174"/>
                        <a:pt x="45" y="167"/>
                      </a:cubicBezTo>
                      <a:cubicBezTo>
                        <a:pt x="43" y="174"/>
                        <a:pt x="37" y="179"/>
                        <a:pt x="30" y="179"/>
                      </a:cubicBezTo>
                      <a:cubicBezTo>
                        <a:pt x="22" y="179"/>
                        <a:pt x="15" y="172"/>
                        <a:pt x="15" y="164"/>
                      </a:cubicBezTo>
                      <a:lnTo>
                        <a:pt x="15" y="94"/>
                      </a:lnTo>
                      <a:cubicBezTo>
                        <a:pt x="7" y="92"/>
                        <a:pt x="0" y="85"/>
                        <a:pt x="0" y="76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2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75" name="Freeform 974"/>
                <p:cNvSpPr>
                  <a:spLocks/>
                </p:cNvSpPr>
                <p:nvPr/>
              </p:nvSpPr>
              <p:spPr bwMode="gray">
                <a:xfrm>
                  <a:off x="10553455" y="3622101"/>
                  <a:ext cx="197731" cy="480208"/>
                </a:xfrm>
                <a:custGeom>
                  <a:avLst/>
                  <a:gdLst>
                    <a:gd name="T0" fmla="*/ 14 w 74"/>
                    <a:gd name="T1" fmla="*/ 90 h 179"/>
                    <a:gd name="T2" fmla="*/ 14 w 74"/>
                    <a:gd name="T3" fmla="*/ 90 h 179"/>
                    <a:gd name="T4" fmla="*/ 14 w 74"/>
                    <a:gd name="T5" fmla="*/ 19 h 179"/>
                    <a:gd name="T6" fmla="*/ 7 w 74"/>
                    <a:gd name="T7" fmla="*/ 0 h 179"/>
                    <a:gd name="T8" fmla="*/ 55 w 74"/>
                    <a:gd name="T9" fmla="*/ 0 h 179"/>
                    <a:gd name="T10" fmla="*/ 74 w 74"/>
                    <a:gd name="T11" fmla="*/ 20 h 179"/>
                    <a:gd name="T12" fmla="*/ 74 w 74"/>
                    <a:gd name="T13" fmla="*/ 76 h 179"/>
                    <a:gd name="T14" fmla="*/ 59 w 74"/>
                    <a:gd name="T15" fmla="*/ 94 h 179"/>
                    <a:gd name="T16" fmla="*/ 59 w 74"/>
                    <a:gd name="T17" fmla="*/ 164 h 179"/>
                    <a:gd name="T18" fmla="*/ 44 w 74"/>
                    <a:gd name="T19" fmla="*/ 179 h 179"/>
                    <a:gd name="T20" fmla="*/ 30 w 74"/>
                    <a:gd name="T21" fmla="*/ 167 h 179"/>
                    <a:gd name="T22" fmla="*/ 15 w 74"/>
                    <a:gd name="T23" fmla="*/ 179 h 179"/>
                    <a:gd name="T24" fmla="*/ 0 w 74"/>
                    <a:gd name="T25" fmla="*/ 164 h 179"/>
                    <a:gd name="T26" fmla="*/ 0 w 74"/>
                    <a:gd name="T27" fmla="*/ 115 h 179"/>
                    <a:gd name="T28" fmla="*/ 14 w 74"/>
                    <a:gd name="T29" fmla="*/ 9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14" y="90"/>
                      </a:moveTo>
                      <a:lnTo>
                        <a:pt x="14" y="90"/>
                      </a:lnTo>
                      <a:lnTo>
                        <a:pt x="14" y="19"/>
                      </a:lnTo>
                      <a:cubicBezTo>
                        <a:pt x="14" y="12"/>
                        <a:pt x="11" y="5"/>
                        <a:pt x="7" y="0"/>
                      </a:cubicBezTo>
                      <a:lnTo>
                        <a:pt x="55" y="0"/>
                      </a:lnTo>
                      <a:cubicBezTo>
                        <a:pt x="66" y="0"/>
                        <a:pt x="74" y="9"/>
                        <a:pt x="74" y="20"/>
                      </a:cubicBezTo>
                      <a:lnTo>
                        <a:pt x="74" y="76"/>
                      </a:lnTo>
                      <a:cubicBezTo>
                        <a:pt x="74" y="85"/>
                        <a:pt x="68" y="92"/>
                        <a:pt x="59" y="94"/>
                      </a:cubicBezTo>
                      <a:lnTo>
                        <a:pt x="59" y="164"/>
                      </a:lnTo>
                      <a:cubicBezTo>
                        <a:pt x="59" y="172"/>
                        <a:pt x="53" y="179"/>
                        <a:pt x="44" y="179"/>
                      </a:cubicBezTo>
                      <a:cubicBezTo>
                        <a:pt x="37" y="179"/>
                        <a:pt x="31" y="174"/>
                        <a:pt x="30" y="167"/>
                      </a:cubicBezTo>
                      <a:cubicBezTo>
                        <a:pt x="28" y="174"/>
                        <a:pt x="22" y="179"/>
                        <a:pt x="15" y="179"/>
                      </a:cubicBezTo>
                      <a:cubicBezTo>
                        <a:pt x="7" y="179"/>
                        <a:pt x="0" y="172"/>
                        <a:pt x="0" y="164"/>
                      </a:cubicBezTo>
                      <a:lnTo>
                        <a:pt x="0" y="115"/>
                      </a:lnTo>
                      <a:cubicBezTo>
                        <a:pt x="8" y="110"/>
                        <a:pt x="14" y="100"/>
                        <a:pt x="14" y="9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76" name="Freeform 975"/>
                <p:cNvSpPr>
                  <a:spLocks/>
                </p:cNvSpPr>
                <p:nvPr/>
              </p:nvSpPr>
              <p:spPr bwMode="gray">
                <a:xfrm>
                  <a:off x="10565562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77" name="Freeform 976"/>
                <p:cNvSpPr>
                  <a:spLocks/>
                </p:cNvSpPr>
                <p:nvPr/>
              </p:nvSpPr>
              <p:spPr bwMode="gray">
                <a:xfrm>
                  <a:off x="10210451" y="3618065"/>
                  <a:ext cx="334933" cy="593197"/>
                </a:xfrm>
                <a:custGeom>
                  <a:avLst/>
                  <a:gdLst>
                    <a:gd name="T0" fmla="*/ 19 w 125"/>
                    <a:gd name="T1" fmla="*/ 0 h 221"/>
                    <a:gd name="T2" fmla="*/ 19 w 125"/>
                    <a:gd name="T3" fmla="*/ 0 h 221"/>
                    <a:gd name="T4" fmla="*/ 44 w 125"/>
                    <a:gd name="T5" fmla="*/ 0 h 221"/>
                    <a:gd name="T6" fmla="*/ 63 w 125"/>
                    <a:gd name="T7" fmla="*/ 25 h 221"/>
                    <a:gd name="T8" fmla="*/ 82 w 125"/>
                    <a:gd name="T9" fmla="*/ 0 h 221"/>
                    <a:gd name="T10" fmla="*/ 106 w 125"/>
                    <a:gd name="T11" fmla="*/ 0 h 221"/>
                    <a:gd name="T12" fmla="*/ 125 w 125"/>
                    <a:gd name="T13" fmla="*/ 20 h 221"/>
                    <a:gd name="T14" fmla="*/ 125 w 125"/>
                    <a:gd name="T15" fmla="*/ 91 h 221"/>
                    <a:gd name="T16" fmla="*/ 106 w 125"/>
                    <a:gd name="T17" fmla="*/ 110 h 221"/>
                    <a:gd name="T18" fmla="*/ 100 w 125"/>
                    <a:gd name="T19" fmla="*/ 110 h 221"/>
                    <a:gd name="T20" fmla="*/ 100 w 125"/>
                    <a:gd name="T21" fmla="*/ 202 h 221"/>
                    <a:gd name="T22" fmla="*/ 81 w 125"/>
                    <a:gd name="T23" fmla="*/ 221 h 221"/>
                    <a:gd name="T24" fmla="*/ 63 w 125"/>
                    <a:gd name="T25" fmla="*/ 209 h 221"/>
                    <a:gd name="T26" fmla="*/ 45 w 125"/>
                    <a:gd name="T27" fmla="*/ 221 h 221"/>
                    <a:gd name="T28" fmla="*/ 26 w 125"/>
                    <a:gd name="T29" fmla="*/ 202 h 221"/>
                    <a:gd name="T30" fmla="*/ 26 w 125"/>
                    <a:gd name="T31" fmla="*/ 110 h 221"/>
                    <a:gd name="T32" fmla="*/ 19 w 125"/>
                    <a:gd name="T33" fmla="*/ 110 h 221"/>
                    <a:gd name="T34" fmla="*/ 0 w 125"/>
                    <a:gd name="T35" fmla="*/ 91 h 221"/>
                    <a:gd name="T36" fmla="*/ 0 w 125"/>
                    <a:gd name="T37" fmla="*/ 20 h 221"/>
                    <a:gd name="T38" fmla="*/ 19 w 125"/>
                    <a:gd name="T3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5" h="221">
                      <a:moveTo>
                        <a:pt x="19" y="0"/>
                      </a:moveTo>
                      <a:lnTo>
                        <a:pt x="19" y="0"/>
                      </a:lnTo>
                      <a:lnTo>
                        <a:pt x="44" y="0"/>
                      </a:lnTo>
                      <a:lnTo>
                        <a:pt x="63" y="25"/>
                      </a:lnTo>
                      <a:lnTo>
                        <a:pt x="82" y="0"/>
                      </a:lnTo>
                      <a:lnTo>
                        <a:pt x="106" y="0"/>
                      </a:lnTo>
                      <a:cubicBezTo>
                        <a:pt x="117" y="0"/>
                        <a:pt x="125" y="9"/>
                        <a:pt x="125" y="20"/>
                      </a:cubicBezTo>
                      <a:lnTo>
                        <a:pt x="125" y="91"/>
                      </a:lnTo>
                      <a:cubicBezTo>
                        <a:pt x="125" y="102"/>
                        <a:pt x="117" y="110"/>
                        <a:pt x="106" y="110"/>
                      </a:cubicBezTo>
                      <a:lnTo>
                        <a:pt x="100" y="110"/>
                      </a:lnTo>
                      <a:lnTo>
                        <a:pt x="100" y="202"/>
                      </a:lnTo>
                      <a:cubicBezTo>
                        <a:pt x="100" y="213"/>
                        <a:pt x="91" y="221"/>
                        <a:pt x="81" y="221"/>
                      </a:cubicBezTo>
                      <a:cubicBezTo>
                        <a:pt x="73" y="221"/>
                        <a:pt x="66" y="216"/>
                        <a:pt x="63" y="209"/>
                      </a:cubicBezTo>
                      <a:cubicBezTo>
                        <a:pt x="60" y="216"/>
                        <a:pt x="53" y="221"/>
                        <a:pt x="45" y="221"/>
                      </a:cubicBezTo>
                      <a:cubicBezTo>
                        <a:pt x="34" y="221"/>
                        <a:pt x="26" y="213"/>
                        <a:pt x="26" y="202"/>
                      </a:cubicBezTo>
                      <a:lnTo>
                        <a:pt x="26" y="110"/>
                      </a:lnTo>
                      <a:lnTo>
                        <a:pt x="19" y="110"/>
                      </a:lnTo>
                      <a:cubicBezTo>
                        <a:pt x="9" y="110"/>
                        <a:pt x="0" y="102"/>
                        <a:pt x="0" y="91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19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78" name="Freeform 977"/>
                <p:cNvSpPr>
                  <a:spLocks/>
                </p:cNvSpPr>
                <p:nvPr/>
              </p:nvSpPr>
              <p:spPr bwMode="gray">
                <a:xfrm>
                  <a:off x="10291158" y="3416297"/>
                  <a:ext cx="169485" cy="169485"/>
                </a:xfrm>
                <a:custGeom>
                  <a:avLst/>
                  <a:gdLst>
                    <a:gd name="T0" fmla="*/ 32 w 63"/>
                    <a:gd name="T1" fmla="*/ 63 h 63"/>
                    <a:gd name="T2" fmla="*/ 32 w 63"/>
                    <a:gd name="T3" fmla="*/ 63 h 63"/>
                    <a:gd name="T4" fmla="*/ 0 w 63"/>
                    <a:gd name="T5" fmla="*/ 32 h 63"/>
                    <a:gd name="T6" fmla="*/ 32 w 63"/>
                    <a:gd name="T7" fmla="*/ 0 h 63"/>
                    <a:gd name="T8" fmla="*/ 63 w 63"/>
                    <a:gd name="T9" fmla="*/ 32 h 63"/>
                    <a:gd name="T10" fmla="*/ 32 w 63"/>
                    <a:gd name="T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3" h="63">
                      <a:moveTo>
                        <a:pt x="32" y="63"/>
                      </a:moveTo>
                      <a:lnTo>
                        <a:pt x="32" y="63"/>
                      </a:lnTo>
                      <a:cubicBezTo>
                        <a:pt x="16" y="63"/>
                        <a:pt x="0" y="50"/>
                        <a:pt x="0" y="32"/>
                      </a:cubicBezTo>
                      <a:cubicBezTo>
                        <a:pt x="0" y="14"/>
                        <a:pt x="14" y="0"/>
                        <a:pt x="32" y="0"/>
                      </a:cubicBezTo>
                      <a:cubicBezTo>
                        <a:pt x="49" y="0"/>
                        <a:pt x="63" y="14"/>
                        <a:pt x="63" y="32"/>
                      </a:cubicBezTo>
                      <a:cubicBezTo>
                        <a:pt x="63" y="50"/>
                        <a:pt x="48" y="63"/>
                        <a:pt x="32" y="63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876" name="Group 875"/>
            <p:cNvGrpSpPr/>
            <p:nvPr/>
          </p:nvGrpSpPr>
          <p:grpSpPr bwMode="gray">
            <a:xfrm>
              <a:off x="3609479" y="3424006"/>
              <a:ext cx="188718" cy="188718"/>
              <a:chOff x="7844637" y="3042922"/>
              <a:chExt cx="949960" cy="949958"/>
            </a:xfrm>
          </p:grpSpPr>
          <p:grpSp>
            <p:nvGrpSpPr>
              <p:cNvPr id="966" name="Group 965"/>
              <p:cNvGrpSpPr/>
              <p:nvPr/>
            </p:nvGrpSpPr>
            <p:grpSpPr bwMode="gray">
              <a:xfrm>
                <a:off x="7844637" y="3042922"/>
                <a:ext cx="949960" cy="949958"/>
                <a:chOff x="7844637" y="3042922"/>
                <a:chExt cx="949960" cy="949958"/>
              </a:xfrm>
            </p:grpSpPr>
            <p:sp>
              <p:nvSpPr>
                <p:cNvPr id="968" name="Oval 967"/>
                <p:cNvSpPr/>
                <p:nvPr/>
              </p:nvSpPr>
              <p:spPr bwMode="gray">
                <a:xfrm>
                  <a:off x="7844637" y="3042922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69" name="Oval 968"/>
                <p:cNvSpPr/>
                <p:nvPr/>
              </p:nvSpPr>
              <p:spPr bwMode="gray">
                <a:xfrm>
                  <a:off x="7919333" y="3117618"/>
                  <a:ext cx="800568" cy="800567"/>
                </a:xfrm>
                <a:prstGeom prst="ellipse">
                  <a:avLst/>
                </a:prstGeom>
                <a:solidFill>
                  <a:srgbClr val="0066CC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67" name="Freeform 966"/>
              <p:cNvSpPr/>
              <p:nvPr/>
            </p:nvSpPr>
            <p:spPr bwMode="gray">
              <a:xfrm>
                <a:off x="8081449" y="3192562"/>
                <a:ext cx="492973" cy="539565"/>
              </a:xfrm>
              <a:custGeom>
                <a:avLst/>
                <a:gdLst>
                  <a:gd name="connsiteX0" fmla="*/ 931340 w 1293073"/>
                  <a:gd name="connsiteY0" fmla="*/ 415895 h 1415284"/>
                  <a:gd name="connsiteX1" fmla="*/ 885620 w 1293073"/>
                  <a:gd name="connsiteY1" fmla="*/ 461615 h 1415284"/>
                  <a:gd name="connsiteX2" fmla="*/ 931340 w 1293073"/>
                  <a:gd name="connsiteY2" fmla="*/ 507335 h 1415284"/>
                  <a:gd name="connsiteX3" fmla="*/ 977060 w 1293073"/>
                  <a:gd name="connsiteY3" fmla="*/ 461615 h 1415284"/>
                  <a:gd name="connsiteX4" fmla="*/ 931340 w 1293073"/>
                  <a:gd name="connsiteY4" fmla="*/ 415895 h 1415284"/>
                  <a:gd name="connsiteX5" fmla="*/ 367253 w 1293073"/>
                  <a:gd name="connsiteY5" fmla="*/ 377291 h 1415284"/>
                  <a:gd name="connsiteX6" fmla="*/ 321533 w 1293073"/>
                  <a:gd name="connsiteY6" fmla="*/ 423011 h 1415284"/>
                  <a:gd name="connsiteX7" fmla="*/ 367253 w 1293073"/>
                  <a:gd name="connsiteY7" fmla="*/ 468731 h 1415284"/>
                  <a:gd name="connsiteX8" fmla="*/ 412973 w 1293073"/>
                  <a:gd name="connsiteY8" fmla="*/ 423011 h 1415284"/>
                  <a:gd name="connsiteX9" fmla="*/ 367253 w 1293073"/>
                  <a:gd name="connsiteY9" fmla="*/ 377291 h 1415284"/>
                  <a:gd name="connsiteX10" fmla="*/ 1089685 w 1293073"/>
                  <a:gd name="connsiteY10" fmla="*/ 340720 h 1415284"/>
                  <a:gd name="connsiteX11" fmla="*/ 1293073 w 1293073"/>
                  <a:gd name="connsiteY11" fmla="*/ 1197580 h 1415284"/>
                  <a:gd name="connsiteX12" fmla="*/ 1147551 w 1293073"/>
                  <a:gd name="connsiteY12" fmla="*/ 1359833 h 1415284"/>
                  <a:gd name="connsiteX13" fmla="*/ 658035 w 1293073"/>
                  <a:gd name="connsiteY13" fmla="*/ 79417 h 1415284"/>
                  <a:gd name="connsiteX14" fmla="*/ 520484 w 1293073"/>
                  <a:gd name="connsiteY14" fmla="*/ 121952 h 1415284"/>
                  <a:gd name="connsiteX15" fmla="*/ 412770 w 1293073"/>
                  <a:gd name="connsiteY15" fmla="*/ 287823 h 1415284"/>
                  <a:gd name="connsiteX16" fmla="*/ 409112 w 1293073"/>
                  <a:gd name="connsiteY16" fmla="*/ 320104 h 1415284"/>
                  <a:gd name="connsiteX17" fmla="*/ 896009 w 1293073"/>
                  <a:gd name="connsiteY17" fmla="*/ 337604 h 1415284"/>
                  <a:gd name="connsiteX18" fmla="*/ 893234 w 1293073"/>
                  <a:gd name="connsiteY18" fmla="*/ 300041 h 1415284"/>
                  <a:gd name="connsiteX19" fmla="*/ 793479 w 1293073"/>
                  <a:gd name="connsiteY19" fmla="*/ 129831 h 1415284"/>
                  <a:gd name="connsiteX20" fmla="*/ 658035 w 1293073"/>
                  <a:gd name="connsiteY20" fmla="*/ 79417 h 1415284"/>
                  <a:gd name="connsiteX21" fmla="*/ 659969 w 1293073"/>
                  <a:gd name="connsiteY21" fmla="*/ 114 h 1415284"/>
                  <a:gd name="connsiteX22" fmla="*/ 835494 w 1293073"/>
                  <a:gd name="connsiteY22" fmla="*/ 62205 h 1415284"/>
                  <a:gd name="connsiteX23" fmla="*/ 970660 w 1293073"/>
                  <a:gd name="connsiteY23" fmla="*/ 282687 h 1415284"/>
                  <a:gd name="connsiteX24" fmla="*/ 975081 w 1293073"/>
                  <a:gd name="connsiteY24" fmla="*/ 340446 h 1415284"/>
                  <a:gd name="connsiteX25" fmla="*/ 1064394 w 1293073"/>
                  <a:gd name="connsiteY25" fmla="*/ 343656 h 1415284"/>
                  <a:gd name="connsiteX26" fmla="*/ 1130919 w 1293073"/>
                  <a:gd name="connsiteY26" fmla="*/ 1415284 h 1415284"/>
                  <a:gd name="connsiteX27" fmla="*/ 0 w 1293073"/>
                  <a:gd name="connsiteY27" fmla="*/ 1298311 h 1415284"/>
                  <a:gd name="connsiteX28" fmla="*/ 224521 w 1293073"/>
                  <a:gd name="connsiteY28" fmla="*/ 313469 h 1415284"/>
                  <a:gd name="connsiteX29" fmla="*/ 330299 w 1293073"/>
                  <a:gd name="connsiteY29" fmla="*/ 317271 h 1415284"/>
                  <a:gd name="connsiteX30" fmla="*/ 336264 w 1293073"/>
                  <a:gd name="connsiteY30" fmla="*/ 266733 h 1415284"/>
                  <a:gd name="connsiteX31" fmla="*/ 481808 w 1293073"/>
                  <a:gd name="connsiteY31" fmla="*/ 52391 h 1415284"/>
                  <a:gd name="connsiteX32" fmla="*/ 659969 w 1293073"/>
                  <a:gd name="connsiteY32" fmla="*/ 114 h 141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293073" h="1415284">
                    <a:moveTo>
                      <a:pt x="931340" y="415895"/>
                    </a:moveTo>
                    <a:cubicBezTo>
                      <a:pt x="906090" y="415895"/>
                      <a:pt x="885620" y="436365"/>
                      <a:pt x="885620" y="461615"/>
                    </a:cubicBezTo>
                    <a:cubicBezTo>
                      <a:pt x="885620" y="486865"/>
                      <a:pt x="906090" y="507335"/>
                      <a:pt x="931340" y="507335"/>
                    </a:cubicBezTo>
                    <a:cubicBezTo>
                      <a:pt x="956590" y="507335"/>
                      <a:pt x="977060" y="486865"/>
                      <a:pt x="977060" y="461615"/>
                    </a:cubicBezTo>
                    <a:cubicBezTo>
                      <a:pt x="977060" y="436365"/>
                      <a:pt x="956590" y="415895"/>
                      <a:pt x="931340" y="415895"/>
                    </a:cubicBezTo>
                    <a:close/>
                    <a:moveTo>
                      <a:pt x="367253" y="377291"/>
                    </a:moveTo>
                    <a:cubicBezTo>
                      <a:pt x="342003" y="377291"/>
                      <a:pt x="321533" y="397761"/>
                      <a:pt x="321533" y="423011"/>
                    </a:cubicBezTo>
                    <a:cubicBezTo>
                      <a:pt x="321533" y="448261"/>
                      <a:pt x="342003" y="468731"/>
                      <a:pt x="367253" y="468731"/>
                    </a:cubicBezTo>
                    <a:cubicBezTo>
                      <a:pt x="392503" y="468731"/>
                      <a:pt x="412973" y="448261"/>
                      <a:pt x="412973" y="423011"/>
                    </a:cubicBezTo>
                    <a:cubicBezTo>
                      <a:pt x="412973" y="397761"/>
                      <a:pt x="392503" y="377291"/>
                      <a:pt x="367253" y="377291"/>
                    </a:cubicBezTo>
                    <a:close/>
                    <a:moveTo>
                      <a:pt x="1089685" y="340720"/>
                    </a:moveTo>
                    <a:lnTo>
                      <a:pt x="1293073" y="1197580"/>
                    </a:lnTo>
                    <a:lnTo>
                      <a:pt x="1147551" y="1359833"/>
                    </a:lnTo>
                    <a:close/>
                    <a:moveTo>
                      <a:pt x="658035" y="79417"/>
                    </a:moveTo>
                    <a:cubicBezTo>
                      <a:pt x="610465" y="78044"/>
                      <a:pt x="562545" y="92162"/>
                      <a:pt x="520484" y="121952"/>
                    </a:cubicBezTo>
                    <a:cubicBezTo>
                      <a:pt x="466504" y="160184"/>
                      <a:pt x="428432" y="219897"/>
                      <a:pt x="412770" y="287823"/>
                    </a:cubicBezTo>
                    <a:lnTo>
                      <a:pt x="409112" y="320104"/>
                    </a:lnTo>
                    <a:lnTo>
                      <a:pt x="896009" y="337604"/>
                    </a:lnTo>
                    <a:lnTo>
                      <a:pt x="893234" y="300041"/>
                    </a:lnTo>
                    <a:cubicBezTo>
                      <a:pt x="880402" y="231939"/>
                      <a:pt x="845218" y="170779"/>
                      <a:pt x="793479" y="129831"/>
                    </a:cubicBezTo>
                    <a:cubicBezTo>
                      <a:pt x="752823" y="97654"/>
                      <a:pt x="705604" y="80790"/>
                      <a:pt x="658035" y="79417"/>
                    </a:cubicBezTo>
                    <a:close/>
                    <a:moveTo>
                      <a:pt x="659969" y="114"/>
                    </a:moveTo>
                    <a:cubicBezTo>
                      <a:pt x="721476" y="1820"/>
                      <a:pt x="782544" y="22588"/>
                      <a:pt x="835494" y="62205"/>
                    </a:cubicBezTo>
                    <a:cubicBezTo>
                      <a:pt x="905513" y="114591"/>
                      <a:pt x="953266" y="193999"/>
                      <a:pt x="970660" y="282687"/>
                    </a:cubicBezTo>
                    <a:lnTo>
                      <a:pt x="975081" y="340446"/>
                    </a:lnTo>
                    <a:lnTo>
                      <a:pt x="1064394" y="343656"/>
                    </a:lnTo>
                    <a:lnTo>
                      <a:pt x="1130919" y="1415284"/>
                    </a:lnTo>
                    <a:lnTo>
                      <a:pt x="0" y="1298311"/>
                    </a:lnTo>
                    <a:lnTo>
                      <a:pt x="224521" y="313469"/>
                    </a:lnTo>
                    <a:lnTo>
                      <a:pt x="330299" y="317271"/>
                    </a:lnTo>
                    <a:lnTo>
                      <a:pt x="336264" y="266733"/>
                    </a:lnTo>
                    <a:cubicBezTo>
                      <a:pt x="357473" y="178466"/>
                      <a:pt x="408994" y="101143"/>
                      <a:pt x="481808" y="52391"/>
                    </a:cubicBezTo>
                    <a:cubicBezTo>
                      <a:pt x="536516" y="15762"/>
                      <a:pt x="598462" y="-1593"/>
                      <a:pt x="659969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77" name="Group 876"/>
            <p:cNvGrpSpPr/>
            <p:nvPr/>
          </p:nvGrpSpPr>
          <p:grpSpPr bwMode="gray">
            <a:xfrm>
              <a:off x="4327472" y="2191378"/>
              <a:ext cx="188718" cy="188718"/>
              <a:chOff x="7844637" y="3042922"/>
              <a:chExt cx="949960" cy="949958"/>
            </a:xfrm>
          </p:grpSpPr>
          <p:sp>
            <p:nvSpPr>
              <p:cNvPr id="957" name="Oval 956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58" name="Oval 957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91B0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59" name="Group 958"/>
              <p:cNvGrpSpPr/>
              <p:nvPr/>
            </p:nvGrpSpPr>
            <p:grpSpPr bwMode="gray">
              <a:xfrm>
                <a:off x="8013437" y="3195347"/>
                <a:ext cx="612360" cy="645108"/>
                <a:chOff x="9996579" y="3416297"/>
                <a:chExt cx="754607" cy="794965"/>
              </a:xfrm>
              <a:solidFill>
                <a:srgbClr val="FFFFFF"/>
              </a:solidFill>
            </p:grpSpPr>
            <p:sp>
              <p:nvSpPr>
                <p:cNvPr id="960" name="Freeform 959"/>
                <p:cNvSpPr>
                  <a:spLocks/>
                </p:cNvSpPr>
                <p:nvPr/>
              </p:nvSpPr>
              <p:spPr bwMode="gray">
                <a:xfrm>
                  <a:off x="10049037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61" name="Freeform 960"/>
                <p:cNvSpPr>
                  <a:spLocks/>
                </p:cNvSpPr>
                <p:nvPr/>
              </p:nvSpPr>
              <p:spPr bwMode="gray">
                <a:xfrm>
                  <a:off x="9996579" y="3622101"/>
                  <a:ext cx="197731" cy="480208"/>
                </a:xfrm>
                <a:custGeom>
                  <a:avLst/>
                  <a:gdLst>
                    <a:gd name="T0" fmla="*/ 20 w 74"/>
                    <a:gd name="T1" fmla="*/ 0 h 179"/>
                    <a:gd name="T2" fmla="*/ 20 w 74"/>
                    <a:gd name="T3" fmla="*/ 0 h 179"/>
                    <a:gd name="T4" fmla="*/ 68 w 74"/>
                    <a:gd name="T5" fmla="*/ 0 h 179"/>
                    <a:gd name="T6" fmla="*/ 62 w 74"/>
                    <a:gd name="T7" fmla="*/ 19 h 179"/>
                    <a:gd name="T8" fmla="*/ 62 w 74"/>
                    <a:gd name="T9" fmla="*/ 90 h 179"/>
                    <a:gd name="T10" fmla="*/ 74 w 74"/>
                    <a:gd name="T11" fmla="*/ 114 h 179"/>
                    <a:gd name="T12" fmla="*/ 74 w 74"/>
                    <a:gd name="T13" fmla="*/ 164 h 179"/>
                    <a:gd name="T14" fmla="*/ 59 w 74"/>
                    <a:gd name="T15" fmla="*/ 179 h 179"/>
                    <a:gd name="T16" fmla="*/ 45 w 74"/>
                    <a:gd name="T17" fmla="*/ 167 h 179"/>
                    <a:gd name="T18" fmla="*/ 30 w 74"/>
                    <a:gd name="T19" fmla="*/ 179 h 179"/>
                    <a:gd name="T20" fmla="*/ 15 w 74"/>
                    <a:gd name="T21" fmla="*/ 164 h 179"/>
                    <a:gd name="T22" fmla="*/ 15 w 74"/>
                    <a:gd name="T23" fmla="*/ 94 h 179"/>
                    <a:gd name="T24" fmla="*/ 0 w 74"/>
                    <a:gd name="T25" fmla="*/ 76 h 179"/>
                    <a:gd name="T26" fmla="*/ 0 w 74"/>
                    <a:gd name="T27" fmla="*/ 20 h 179"/>
                    <a:gd name="T28" fmla="*/ 20 w 74"/>
                    <a:gd name="T2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68" y="0"/>
                      </a:lnTo>
                      <a:cubicBezTo>
                        <a:pt x="64" y="5"/>
                        <a:pt x="62" y="12"/>
                        <a:pt x="62" y="19"/>
                      </a:cubicBezTo>
                      <a:lnTo>
                        <a:pt x="62" y="90"/>
                      </a:lnTo>
                      <a:cubicBezTo>
                        <a:pt x="62" y="100"/>
                        <a:pt x="67" y="109"/>
                        <a:pt x="74" y="114"/>
                      </a:cubicBezTo>
                      <a:lnTo>
                        <a:pt x="74" y="164"/>
                      </a:lnTo>
                      <a:cubicBezTo>
                        <a:pt x="74" y="172"/>
                        <a:pt x="68" y="179"/>
                        <a:pt x="59" y="179"/>
                      </a:cubicBezTo>
                      <a:cubicBezTo>
                        <a:pt x="52" y="179"/>
                        <a:pt x="46" y="174"/>
                        <a:pt x="45" y="167"/>
                      </a:cubicBezTo>
                      <a:cubicBezTo>
                        <a:pt x="43" y="174"/>
                        <a:pt x="37" y="179"/>
                        <a:pt x="30" y="179"/>
                      </a:cubicBezTo>
                      <a:cubicBezTo>
                        <a:pt x="22" y="179"/>
                        <a:pt x="15" y="172"/>
                        <a:pt x="15" y="164"/>
                      </a:cubicBezTo>
                      <a:lnTo>
                        <a:pt x="15" y="94"/>
                      </a:lnTo>
                      <a:cubicBezTo>
                        <a:pt x="7" y="92"/>
                        <a:pt x="0" y="85"/>
                        <a:pt x="0" y="76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2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62" name="Freeform 961"/>
                <p:cNvSpPr>
                  <a:spLocks/>
                </p:cNvSpPr>
                <p:nvPr/>
              </p:nvSpPr>
              <p:spPr bwMode="gray">
                <a:xfrm>
                  <a:off x="10553455" y="3622101"/>
                  <a:ext cx="197731" cy="480208"/>
                </a:xfrm>
                <a:custGeom>
                  <a:avLst/>
                  <a:gdLst>
                    <a:gd name="T0" fmla="*/ 14 w 74"/>
                    <a:gd name="T1" fmla="*/ 90 h 179"/>
                    <a:gd name="T2" fmla="*/ 14 w 74"/>
                    <a:gd name="T3" fmla="*/ 90 h 179"/>
                    <a:gd name="T4" fmla="*/ 14 w 74"/>
                    <a:gd name="T5" fmla="*/ 19 h 179"/>
                    <a:gd name="T6" fmla="*/ 7 w 74"/>
                    <a:gd name="T7" fmla="*/ 0 h 179"/>
                    <a:gd name="T8" fmla="*/ 55 w 74"/>
                    <a:gd name="T9" fmla="*/ 0 h 179"/>
                    <a:gd name="T10" fmla="*/ 74 w 74"/>
                    <a:gd name="T11" fmla="*/ 20 h 179"/>
                    <a:gd name="T12" fmla="*/ 74 w 74"/>
                    <a:gd name="T13" fmla="*/ 76 h 179"/>
                    <a:gd name="T14" fmla="*/ 59 w 74"/>
                    <a:gd name="T15" fmla="*/ 94 h 179"/>
                    <a:gd name="T16" fmla="*/ 59 w 74"/>
                    <a:gd name="T17" fmla="*/ 164 h 179"/>
                    <a:gd name="T18" fmla="*/ 44 w 74"/>
                    <a:gd name="T19" fmla="*/ 179 h 179"/>
                    <a:gd name="T20" fmla="*/ 30 w 74"/>
                    <a:gd name="T21" fmla="*/ 167 h 179"/>
                    <a:gd name="T22" fmla="*/ 15 w 74"/>
                    <a:gd name="T23" fmla="*/ 179 h 179"/>
                    <a:gd name="T24" fmla="*/ 0 w 74"/>
                    <a:gd name="T25" fmla="*/ 164 h 179"/>
                    <a:gd name="T26" fmla="*/ 0 w 74"/>
                    <a:gd name="T27" fmla="*/ 115 h 179"/>
                    <a:gd name="T28" fmla="*/ 14 w 74"/>
                    <a:gd name="T29" fmla="*/ 9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14" y="90"/>
                      </a:moveTo>
                      <a:lnTo>
                        <a:pt x="14" y="90"/>
                      </a:lnTo>
                      <a:lnTo>
                        <a:pt x="14" y="19"/>
                      </a:lnTo>
                      <a:cubicBezTo>
                        <a:pt x="14" y="12"/>
                        <a:pt x="11" y="5"/>
                        <a:pt x="7" y="0"/>
                      </a:cubicBezTo>
                      <a:lnTo>
                        <a:pt x="55" y="0"/>
                      </a:lnTo>
                      <a:cubicBezTo>
                        <a:pt x="66" y="0"/>
                        <a:pt x="74" y="9"/>
                        <a:pt x="74" y="20"/>
                      </a:cubicBezTo>
                      <a:lnTo>
                        <a:pt x="74" y="76"/>
                      </a:lnTo>
                      <a:cubicBezTo>
                        <a:pt x="74" y="85"/>
                        <a:pt x="68" y="92"/>
                        <a:pt x="59" y="94"/>
                      </a:cubicBezTo>
                      <a:lnTo>
                        <a:pt x="59" y="164"/>
                      </a:lnTo>
                      <a:cubicBezTo>
                        <a:pt x="59" y="172"/>
                        <a:pt x="53" y="179"/>
                        <a:pt x="44" y="179"/>
                      </a:cubicBezTo>
                      <a:cubicBezTo>
                        <a:pt x="37" y="179"/>
                        <a:pt x="31" y="174"/>
                        <a:pt x="30" y="167"/>
                      </a:cubicBezTo>
                      <a:cubicBezTo>
                        <a:pt x="28" y="174"/>
                        <a:pt x="22" y="179"/>
                        <a:pt x="15" y="179"/>
                      </a:cubicBezTo>
                      <a:cubicBezTo>
                        <a:pt x="7" y="179"/>
                        <a:pt x="0" y="172"/>
                        <a:pt x="0" y="164"/>
                      </a:cubicBezTo>
                      <a:lnTo>
                        <a:pt x="0" y="115"/>
                      </a:lnTo>
                      <a:cubicBezTo>
                        <a:pt x="8" y="110"/>
                        <a:pt x="14" y="100"/>
                        <a:pt x="14" y="9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63" name="Freeform 962"/>
                <p:cNvSpPr>
                  <a:spLocks/>
                </p:cNvSpPr>
                <p:nvPr/>
              </p:nvSpPr>
              <p:spPr bwMode="gray">
                <a:xfrm>
                  <a:off x="10565562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64" name="Freeform 963"/>
                <p:cNvSpPr>
                  <a:spLocks/>
                </p:cNvSpPr>
                <p:nvPr/>
              </p:nvSpPr>
              <p:spPr bwMode="gray">
                <a:xfrm>
                  <a:off x="10210451" y="3618065"/>
                  <a:ext cx="334933" cy="593197"/>
                </a:xfrm>
                <a:custGeom>
                  <a:avLst/>
                  <a:gdLst>
                    <a:gd name="T0" fmla="*/ 19 w 125"/>
                    <a:gd name="T1" fmla="*/ 0 h 221"/>
                    <a:gd name="T2" fmla="*/ 19 w 125"/>
                    <a:gd name="T3" fmla="*/ 0 h 221"/>
                    <a:gd name="T4" fmla="*/ 44 w 125"/>
                    <a:gd name="T5" fmla="*/ 0 h 221"/>
                    <a:gd name="T6" fmla="*/ 63 w 125"/>
                    <a:gd name="T7" fmla="*/ 25 h 221"/>
                    <a:gd name="T8" fmla="*/ 82 w 125"/>
                    <a:gd name="T9" fmla="*/ 0 h 221"/>
                    <a:gd name="T10" fmla="*/ 106 w 125"/>
                    <a:gd name="T11" fmla="*/ 0 h 221"/>
                    <a:gd name="T12" fmla="*/ 125 w 125"/>
                    <a:gd name="T13" fmla="*/ 20 h 221"/>
                    <a:gd name="T14" fmla="*/ 125 w 125"/>
                    <a:gd name="T15" fmla="*/ 91 h 221"/>
                    <a:gd name="T16" fmla="*/ 106 w 125"/>
                    <a:gd name="T17" fmla="*/ 110 h 221"/>
                    <a:gd name="T18" fmla="*/ 100 w 125"/>
                    <a:gd name="T19" fmla="*/ 110 h 221"/>
                    <a:gd name="T20" fmla="*/ 100 w 125"/>
                    <a:gd name="T21" fmla="*/ 202 h 221"/>
                    <a:gd name="T22" fmla="*/ 81 w 125"/>
                    <a:gd name="T23" fmla="*/ 221 h 221"/>
                    <a:gd name="T24" fmla="*/ 63 w 125"/>
                    <a:gd name="T25" fmla="*/ 209 h 221"/>
                    <a:gd name="T26" fmla="*/ 45 w 125"/>
                    <a:gd name="T27" fmla="*/ 221 h 221"/>
                    <a:gd name="T28" fmla="*/ 26 w 125"/>
                    <a:gd name="T29" fmla="*/ 202 h 221"/>
                    <a:gd name="T30" fmla="*/ 26 w 125"/>
                    <a:gd name="T31" fmla="*/ 110 h 221"/>
                    <a:gd name="T32" fmla="*/ 19 w 125"/>
                    <a:gd name="T33" fmla="*/ 110 h 221"/>
                    <a:gd name="T34" fmla="*/ 0 w 125"/>
                    <a:gd name="T35" fmla="*/ 91 h 221"/>
                    <a:gd name="T36" fmla="*/ 0 w 125"/>
                    <a:gd name="T37" fmla="*/ 20 h 221"/>
                    <a:gd name="T38" fmla="*/ 19 w 125"/>
                    <a:gd name="T3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5" h="221">
                      <a:moveTo>
                        <a:pt x="19" y="0"/>
                      </a:moveTo>
                      <a:lnTo>
                        <a:pt x="19" y="0"/>
                      </a:lnTo>
                      <a:lnTo>
                        <a:pt x="44" y="0"/>
                      </a:lnTo>
                      <a:lnTo>
                        <a:pt x="63" y="25"/>
                      </a:lnTo>
                      <a:lnTo>
                        <a:pt x="82" y="0"/>
                      </a:lnTo>
                      <a:lnTo>
                        <a:pt x="106" y="0"/>
                      </a:lnTo>
                      <a:cubicBezTo>
                        <a:pt x="117" y="0"/>
                        <a:pt x="125" y="9"/>
                        <a:pt x="125" y="20"/>
                      </a:cubicBezTo>
                      <a:lnTo>
                        <a:pt x="125" y="91"/>
                      </a:lnTo>
                      <a:cubicBezTo>
                        <a:pt x="125" y="102"/>
                        <a:pt x="117" y="110"/>
                        <a:pt x="106" y="110"/>
                      </a:cubicBezTo>
                      <a:lnTo>
                        <a:pt x="100" y="110"/>
                      </a:lnTo>
                      <a:lnTo>
                        <a:pt x="100" y="202"/>
                      </a:lnTo>
                      <a:cubicBezTo>
                        <a:pt x="100" y="213"/>
                        <a:pt x="91" y="221"/>
                        <a:pt x="81" y="221"/>
                      </a:cubicBezTo>
                      <a:cubicBezTo>
                        <a:pt x="73" y="221"/>
                        <a:pt x="66" y="216"/>
                        <a:pt x="63" y="209"/>
                      </a:cubicBezTo>
                      <a:cubicBezTo>
                        <a:pt x="60" y="216"/>
                        <a:pt x="53" y="221"/>
                        <a:pt x="45" y="221"/>
                      </a:cubicBezTo>
                      <a:cubicBezTo>
                        <a:pt x="34" y="221"/>
                        <a:pt x="26" y="213"/>
                        <a:pt x="26" y="202"/>
                      </a:cubicBezTo>
                      <a:lnTo>
                        <a:pt x="26" y="110"/>
                      </a:lnTo>
                      <a:lnTo>
                        <a:pt x="19" y="110"/>
                      </a:lnTo>
                      <a:cubicBezTo>
                        <a:pt x="9" y="110"/>
                        <a:pt x="0" y="102"/>
                        <a:pt x="0" y="91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19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65" name="Freeform 964"/>
                <p:cNvSpPr>
                  <a:spLocks/>
                </p:cNvSpPr>
                <p:nvPr/>
              </p:nvSpPr>
              <p:spPr bwMode="gray">
                <a:xfrm>
                  <a:off x="10291158" y="3416297"/>
                  <a:ext cx="169485" cy="169485"/>
                </a:xfrm>
                <a:custGeom>
                  <a:avLst/>
                  <a:gdLst>
                    <a:gd name="T0" fmla="*/ 32 w 63"/>
                    <a:gd name="T1" fmla="*/ 63 h 63"/>
                    <a:gd name="T2" fmla="*/ 32 w 63"/>
                    <a:gd name="T3" fmla="*/ 63 h 63"/>
                    <a:gd name="T4" fmla="*/ 0 w 63"/>
                    <a:gd name="T5" fmla="*/ 32 h 63"/>
                    <a:gd name="T6" fmla="*/ 32 w 63"/>
                    <a:gd name="T7" fmla="*/ 0 h 63"/>
                    <a:gd name="T8" fmla="*/ 63 w 63"/>
                    <a:gd name="T9" fmla="*/ 32 h 63"/>
                    <a:gd name="T10" fmla="*/ 32 w 63"/>
                    <a:gd name="T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3" h="63">
                      <a:moveTo>
                        <a:pt x="32" y="63"/>
                      </a:moveTo>
                      <a:lnTo>
                        <a:pt x="32" y="63"/>
                      </a:lnTo>
                      <a:cubicBezTo>
                        <a:pt x="16" y="63"/>
                        <a:pt x="0" y="50"/>
                        <a:pt x="0" y="32"/>
                      </a:cubicBezTo>
                      <a:cubicBezTo>
                        <a:pt x="0" y="14"/>
                        <a:pt x="14" y="0"/>
                        <a:pt x="32" y="0"/>
                      </a:cubicBezTo>
                      <a:cubicBezTo>
                        <a:pt x="49" y="0"/>
                        <a:pt x="63" y="14"/>
                        <a:pt x="63" y="32"/>
                      </a:cubicBezTo>
                      <a:cubicBezTo>
                        <a:pt x="63" y="50"/>
                        <a:pt x="48" y="63"/>
                        <a:pt x="32" y="63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878" name="Group 877"/>
            <p:cNvGrpSpPr/>
            <p:nvPr/>
          </p:nvGrpSpPr>
          <p:grpSpPr bwMode="gray">
            <a:xfrm>
              <a:off x="4696779" y="2154332"/>
              <a:ext cx="188718" cy="188718"/>
              <a:chOff x="7844637" y="3042922"/>
              <a:chExt cx="949960" cy="949958"/>
            </a:xfrm>
          </p:grpSpPr>
          <p:sp>
            <p:nvSpPr>
              <p:cNvPr id="949" name="Oval 948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50" name="Oval 949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B9BAE9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51" name="Group 950"/>
              <p:cNvGrpSpPr/>
              <p:nvPr/>
            </p:nvGrpSpPr>
            <p:grpSpPr bwMode="gray">
              <a:xfrm>
                <a:off x="8001195" y="3253833"/>
                <a:ext cx="636843" cy="455989"/>
                <a:chOff x="7980901" y="3252751"/>
                <a:chExt cx="636843" cy="455989"/>
              </a:xfrm>
            </p:grpSpPr>
            <p:sp>
              <p:nvSpPr>
                <p:cNvPr id="952" name="Freeform 5"/>
                <p:cNvSpPr>
                  <a:spLocks/>
                </p:cNvSpPr>
                <p:nvPr/>
              </p:nvSpPr>
              <p:spPr bwMode="gray">
                <a:xfrm>
                  <a:off x="7980901" y="3252751"/>
                  <a:ext cx="636843" cy="455989"/>
                </a:xfrm>
                <a:custGeom>
                  <a:avLst/>
                  <a:gdLst>
                    <a:gd name="T0" fmla="*/ 602 w 743"/>
                    <a:gd name="T1" fmla="*/ 180 h 532"/>
                    <a:gd name="T2" fmla="*/ 602 w 743"/>
                    <a:gd name="T3" fmla="*/ 242 h 532"/>
                    <a:gd name="T4" fmla="*/ 564 w 743"/>
                    <a:gd name="T5" fmla="*/ 242 h 532"/>
                    <a:gd name="T6" fmla="*/ 564 w 743"/>
                    <a:gd name="T7" fmla="*/ 182 h 532"/>
                    <a:gd name="T8" fmla="*/ 461 w 743"/>
                    <a:gd name="T9" fmla="*/ 99 h 532"/>
                    <a:gd name="T10" fmla="*/ 354 w 743"/>
                    <a:gd name="T11" fmla="*/ 99 h 532"/>
                    <a:gd name="T12" fmla="*/ 354 w 743"/>
                    <a:gd name="T13" fmla="*/ 67 h 532"/>
                    <a:gd name="T14" fmla="*/ 440 w 743"/>
                    <a:gd name="T15" fmla="*/ 67 h 532"/>
                    <a:gd name="T16" fmla="*/ 440 w 743"/>
                    <a:gd name="T17" fmla="*/ 0 h 532"/>
                    <a:gd name="T18" fmla="*/ 160 w 743"/>
                    <a:gd name="T19" fmla="*/ 0 h 532"/>
                    <a:gd name="T20" fmla="*/ 160 w 743"/>
                    <a:gd name="T21" fmla="*/ 67 h 532"/>
                    <a:gd name="T22" fmla="*/ 251 w 743"/>
                    <a:gd name="T23" fmla="*/ 67 h 532"/>
                    <a:gd name="T24" fmla="*/ 251 w 743"/>
                    <a:gd name="T25" fmla="*/ 99 h 532"/>
                    <a:gd name="T26" fmla="*/ 125 w 743"/>
                    <a:gd name="T27" fmla="*/ 99 h 532"/>
                    <a:gd name="T28" fmla="*/ 125 w 743"/>
                    <a:gd name="T29" fmla="*/ 235 h 532"/>
                    <a:gd name="T30" fmla="*/ 86 w 743"/>
                    <a:gd name="T31" fmla="*/ 235 h 532"/>
                    <a:gd name="T32" fmla="*/ 86 w 743"/>
                    <a:gd name="T33" fmla="*/ 96 h 532"/>
                    <a:gd name="T34" fmla="*/ 0 w 743"/>
                    <a:gd name="T35" fmla="*/ 96 h 532"/>
                    <a:gd name="T36" fmla="*/ 0 w 743"/>
                    <a:gd name="T37" fmla="*/ 463 h 532"/>
                    <a:gd name="T38" fmla="*/ 86 w 743"/>
                    <a:gd name="T39" fmla="*/ 463 h 532"/>
                    <a:gd name="T40" fmla="*/ 86 w 743"/>
                    <a:gd name="T41" fmla="*/ 319 h 532"/>
                    <a:gd name="T42" fmla="*/ 125 w 743"/>
                    <a:gd name="T43" fmla="*/ 319 h 532"/>
                    <a:gd name="T44" fmla="*/ 125 w 743"/>
                    <a:gd name="T45" fmla="*/ 319 h 532"/>
                    <a:gd name="T46" fmla="*/ 125 w 743"/>
                    <a:gd name="T47" fmla="*/ 448 h 532"/>
                    <a:gd name="T48" fmla="*/ 265 w 743"/>
                    <a:gd name="T49" fmla="*/ 530 h 532"/>
                    <a:gd name="T50" fmla="*/ 564 w 743"/>
                    <a:gd name="T51" fmla="*/ 530 h 532"/>
                    <a:gd name="T52" fmla="*/ 564 w 743"/>
                    <a:gd name="T53" fmla="*/ 458 h 532"/>
                    <a:gd name="T54" fmla="*/ 602 w 743"/>
                    <a:gd name="T55" fmla="*/ 458 h 532"/>
                    <a:gd name="T56" fmla="*/ 602 w 743"/>
                    <a:gd name="T57" fmla="*/ 532 h 532"/>
                    <a:gd name="T58" fmla="*/ 743 w 743"/>
                    <a:gd name="T59" fmla="*/ 532 h 532"/>
                    <a:gd name="T60" fmla="*/ 743 w 743"/>
                    <a:gd name="T61" fmla="*/ 180 h 532"/>
                    <a:gd name="T62" fmla="*/ 602 w 743"/>
                    <a:gd name="T63" fmla="*/ 180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43" h="532">
                      <a:moveTo>
                        <a:pt x="602" y="180"/>
                      </a:moveTo>
                      <a:lnTo>
                        <a:pt x="602" y="242"/>
                      </a:lnTo>
                      <a:lnTo>
                        <a:pt x="564" y="242"/>
                      </a:lnTo>
                      <a:lnTo>
                        <a:pt x="564" y="182"/>
                      </a:lnTo>
                      <a:lnTo>
                        <a:pt x="461" y="99"/>
                      </a:lnTo>
                      <a:lnTo>
                        <a:pt x="354" y="99"/>
                      </a:lnTo>
                      <a:lnTo>
                        <a:pt x="354" y="67"/>
                      </a:lnTo>
                      <a:lnTo>
                        <a:pt x="440" y="67"/>
                      </a:lnTo>
                      <a:lnTo>
                        <a:pt x="440" y="0"/>
                      </a:lnTo>
                      <a:lnTo>
                        <a:pt x="160" y="0"/>
                      </a:lnTo>
                      <a:lnTo>
                        <a:pt x="160" y="67"/>
                      </a:lnTo>
                      <a:lnTo>
                        <a:pt x="251" y="67"/>
                      </a:lnTo>
                      <a:lnTo>
                        <a:pt x="251" y="99"/>
                      </a:lnTo>
                      <a:lnTo>
                        <a:pt x="125" y="99"/>
                      </a:lnTo>
                      <a:lnTo>
                        <a:pt x="125" y="235"/>
                      </a:lnTo>
                      <a:lnTo>
                        <a:pt x="86" y="235"/>
                      </a:lnTo>
                      <a:lnTo>
                        <a:pt x="86" y="96"/>
                      </a:lnTo>
                      <a:lnTo>
                        <a:pt x="0" y="96"/>
                      </a:lnTo>
                      <a:lnTo>
                        <a:pt x="0" y="463"/>
                      </a:lnTo>
                      <a:lnTo>
                        <a:pt x="86" y="463"/>
                      </a:lnTo>
                      <a:lnTo>
                        <a:pt x="86" y="319"/>
                      </a:lnTo>
                      <a:lnTo>
                        <a:pt x="125" y="319"/>
                      </a:lnTo>
                      <a:lnTo>
                        <a:pt x="125" y="319"/>
                      </a:lnTo>
                      <a:lnTo>
                        <a:pt x="125" y="448"/>
                      </a:lnTo>
                      <a:lnTo>
                        <a:pt x="265" y="530"/>
                      </a:lnTo>
                      <a:lnTo>
                        <a:pt x="564" y="530"/>
                      </a:lnTo>
                      <a:lnTo>
                        <a:pt x="564" y="458"/>
                      </a:lnTo>
                      <a:lnTo>
                        <a:pt x="602" y="458"/>
                      </a:lnTo>
                      <a:lnTo>
                        <a:pt x="602" y="532"/>
                      </a:lnTo>
                      <a:lnTo>
                        <a:pt x="743" y="532"/>
                      </a:lnTo>
                      <a:lnTo>
                        <a:pt x="743" y="180"/>
                      </a:lnTo>
                      <a:lnTo>
                        <a:pt x="602" y="1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grpSp>
              <p:nvGrpSpPr>
                <p:cNvPr id="953" name="Group 952"/>
                <p:cNvGrpSpPr/>
                <p:nvPr/>
              </p:nvGrpSpPr>
              <p:grpSpPr bwMode="gray">
                <a:xfrm>
                  <a:off x="8111965" y="3364531"/>
                  <a:ext cx="345141" cy="326278"/>
                  <a:chOff x="8148830" y="3562085"/>
                  <a:chExt cx="345141" cy="326278"/>
                </a:xfrm>
                <a:solidFill>
                  <a:srgbClr val="E1261C"/>
                </a:solidFill>
              </p:grpSpPr>
              <p:sp>
                <p:nvSpPr>
                  <p:cNvPr id="954" name="Freeform 953"/>
                  <p:cNvSpPr/>
                  <p:nvPr/>
                </p:nvSpPr>
                <p:spPr bwMode="gray">
                  <a:xfrm>
                    <a:off x="8148830" y="3562085"/>
                    <a:ext cx="198245" cy="197902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55" name="Freeform 954"/>
                  <p:cNvSpPr/>
                  <p:nvPr/>
                </p:nvSpPr>
                <p:spPr bwMode="gray">
                  <a:xfrm>
                    <a:off x="8339293" y="3616567"/>
                    <a:ext cx="154678" cy="154410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56" name="Freeform 955"/>
                  <p:cNvSpPr/>
                  <p:nvPr/>
                </p:nvSpPr>
                <p:spPr bwMode="gray">
                  <a:xfrm>
                    <a:off x="8252804" y="3733953"/>
                    <a:ext cx="154678" cy="154410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  <p:grpSp>
          <p:nvGrpSpPr>
            <p:cNvPr id="879" name="Group 878"/>
            <p:cNvGrpSpPr/>
            <p:nvPr/>
          </p:nvGrpSpPr>
          <p:grpSpPr bwMode="gray">
            <a:xfrm>
              <a:off x="4704759" y="2444977"/>
              <a:ext cx="188718" cy="188718"/>
              <a:chOff x="7844637" y="3042922"/>
              <a:chExt cx="949960" cy="949958"/>
            </a:xfrm>
          </p:grpSpPr>
          <p:grpSp>
            <p:nvGrpSpPr>
              <p:cNvPr id="945" name="Group 944"/>
              <p:cNvGrpSpPr/>
              <p:nvPr/>
            </p:nvGrpSpPr>
            <p:grpSpPr bwMode="gray">
              <a:xfrm>
                <a:off x="7844637" y="3042922"/>
                <a:ext cx="949960" cy="949958"/>
                <a:chOff x="7844637" y="3042922"/>
                <a:chExt cx="949960" cy="949958"/>
              </a:xfrm>
            </p:grpSpPr>
            <p:sp>
              <p:nvSpPr>
                <p:cNvPr id="947" name="Oval 946"/>
                <p:cNvSpPr/>
                <p:nvPr/>
              </p:nvSpPr>
              <p:spPr bwMode="gray">
                <a:xfrm>
                  <a:off x="7844637" y="3042922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48" name="Oval 947"/>
                <p:cNvSpPr/>
                <p:nvPr/>
              </p:nvSpPr>
              <p:spPr bwMode="gray">
                <a:xfrm>
                  <a:off x="7919333" y="3117618"/>
                  <a:ext cx="800568" cy="800567"/>
                </a:xfrm>
                <a:prstGeom prst="ellipse">
                  <a:avLst/>
                </a:prstGeom>
                <a:solidFill>
                  <a:srgbClr val="0066CC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46" name="Freeform 945"/>
              <p:cNvSpPr/>
              <p:nvPr/>
            </p:nvSpPr>
            <p:spPr bwMode="gray">
              <a:xfrm>
                <a:off x="8081449" y="3192562"/>
                <a:ext cx="492973" cy="539565"/>
              </a:xfrm>
              <a:custGeom>
                <a:avLst/>
                <a:gdLst>
                  <a:gd name="connsiteX0" fmla="*/ 931340 w 1293073"/>
                  <a:gd name="connsiteY0" fmla="*/ 415895 h 1415284"/>
                  <a:gd name="connsiteX1" fmla="*/ 885620 w 1293073"/>
                  <a:gd name="connsiteY1" fmla="*/ 461615 h 1415284"/>
                  <a:gd name="connsiteX2" fmla="*/ 931340 w 1293073"/>
                  <a:gd name="connsiteY2" fmla="*/ 507335 h 1415284"/>
                  <a:gd name="connsiteX3" fmla="*/ 977060 w 1293073"/>
                  <a:gd name="connsiteY3" fmla="*/ 461615 h 1415284"/>
                  <a:gd name="connsiteX4" fmla="*/ 931340 w 1293073"/>
                  <a:gd name="connsiteY4" fmla="*/ 415895 h 1415284"/>
                  <a:gd name="connsiteX5" fmla="*/ 367253 w 1293073"/>
                  <a:gd name="connsiteY5" fmla="*/ 377291 h 1415284"/>
                  <a:gd name="connsiteX6" fmla="*/ 321533 w 1293073"/>
                  <a:gd name="connsiteY6" fmla="*/ 423011 h 1415284"/>
                  <a:gd name="connsiteX7" fmla="*/ 367253 w 1293073"/>
                  <a:gd name="connsiteY7" fmla="*/ 468731 h 1415284"/>
                  <a:gd name="connsiteX8" fmla="*/ 412973 w 1293073"/>
                  <a:gd name="connsiteY8" fmla="*/ 423011 h 1415284"/>
                  <a:gd name="connsiteX9" fmla="*/ 367253 w 1293073"/>
                  <a:gd name="connsiteY9" fmla="*/ 377291 h 1415284"/>
                  <a:gd name="connsiteX10" fmla="*/ 1089685 w 1293073"/>
                  <a:gd name="connsiteY10" fmla="*/ 340720 h 1415284"/>
                  <a:gd name="connsiteX11" fmla="*/ 1293073 w 1293073"/>
                  <a:gd name="connsiteY11" fmla="*/ 1197580 h 1415284"/>
                  <a:gd name="connsiteX12" fmla="*/ 1147551 w 1293073"/>
                  <a:gd name="connsiteY12" fmla="*/ 1359833 h 1415284"/>
                  <a:gd name="connsiteX13" fmla="*/ 658035 w 1293073"/>
                  <a:gd name="connsiteY13" fmla="*/ 79417 h 1415284"/>
                  <a:gd name="connsiteX14" fmla="*/ 520484 w 1293073"/>
                  <a:gd name="connsiteY14" fmla="*/ 121952 h 1415284"/>
                  <a:gd name="connsiteX15" fmla="*/ 412770 w 1293073"/>
                  <a:gd name="connsiteY15" fmla="*/ 287823 h 1415284"/>
                  <a:gd name="connsiteX16" fmla="*/ 409112 w 1293073"/>
                  <a:gd name="connsiteY16" fmla="*/ 320104 h 1415284"/>
                  <a:gd name="connsiteX17" fmla="*/ 896009 w 1293073"/>
                  <a:gd name="connsiteY17" fmla="*/ 337604 h 1415284"/>
                  <a:gd name="connsiteX18" fmla="*/ 893234 w 1293073"/>
                  <a:gd name="connsiteY18" fmla="*/ 300041 h 1415284"/>
                  <a:gd name="connsiteX19" fmla="*/ 793479 w 1293073"/>
                  <a:gd name="connsiteY19" fmla="*/ 129831 h 1415284"/>
                  <a:gd name="connsiteX20" fmla="*/ 658035 w 1293073"/>
                  <a:gd name="connsiteY20" fmla="*/ 79417 h 1415284"/>
                  <a:gd name="connsiteX21" fmla="*/ 659969 w 1293073"/>
                  <a:gd name="connsiteY21" fmla="*/ 114 h 1415284"/>
                  <a:gd name="connsiteX22" fmla="*/ 835494 w 1293073"/>
                  <a:gd name="connsiteY22" fmla="*/ 62205 h 1415284"/>
                  <a:gd name="connsiteX23" fmla="*/ 970660 w 1293073"/>
                  <a:gd name="connsiteY23" fmla="*/ 282687 h 1415284"/>
                  <a:gd name="connsiteX24" fmla="*/ 975081 w 1293073"/>
                  <a:gd name="connsiteY24" fmla="*/ 340446 h 1415284"/>
                  <a:gd name="connsiteX25" fmla="*/ 1064394 w 1293073"/>
                  <a:gd name="connsiteY25" fmla="*/ 343656 h 1415284"/>
                  <a:gd name="connsiteX26" fmla="*/ 1130919 w 1293073"/>
                  <a:gd name="connsiteY26" fmla="*/ 1415284 h 1415284"/>
                  <a:gd name="connsiteX27" fmla="*/ 0 w 1293073"/>
                  <a:gd name="connsiteY27" fmla="*/ 1298311 h 1415284"/>
                  <a:gd name="connsiteX28" fmla="*/ 224521 w 1293073"/>
                  <a:gd name="connsiteY28" fmla="*/ 313469 h 1415284"/>
                  <a:gd name="connsiteX29" fmla="*/ 330299 w 1293073"/>
                  <a:gd name="connsiteY29" fmla="*/ 317271 h 1415284"/>
                  <a:gd name="connsiteX30" fmla="*/ 336264 w 1293073"/>
                  <a:gd name="connsiteY30" fmla="*/ 266733 h 1415284"/>
                  <a:gd name="connsiteX31" fmla="*/ 481808 w 1293073"/>
                  <a:gd name="connsiteY31" fmla="*/ 52391 h 1415284"/>
                  <a:gd name="connsiteX32" fmla="*/ 659969 w 1293073"/>
                  <a:gd name="connsiteY32" fmla="*/ 114 h 141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293073" h="1415284">
                    <a:moveTo>
                      <a:pt x="931340" y="415895"/>
                    </a:moveTo>
                    <a:cubicBezTo>
                      <a:pt x="906090" y="415895"/>
                      <a:pt x="885620" y="436365"/>
                      <a:pt x="885620" y="461615"/>
                    </a:cubicBezTo>
                    <a:cubicBezTo>
                      <a:pt x="885620" y="486865"/>
                      <a:pt x="906090" y="507335"/>
                      <a:pt x="931340" y="507335"/>
                    </a:cubicBezTo>
                    <a:cubicBezTo>
                      <a:pt x="956590" y="507335"/>
                      <a:pt x="977060" y="486865"/>
                      <a:pt x="977060" y="461615"/>
                    </a:cubicBezTo>
                    <a:cubicBezTo>
                      <a:pt x="977060" y="436365"/>
                      <a:pt x="956590" y="415895"/>
                      <a:pt x="931340" y="415895"/>
                    </a:cubicBezTo>
                    <a:close/>
                    <a:moveTo>
                      <a:pt x="367253" y="377291"/>
                    </a:moveTo>
                    <a:cubicBezTo>
                      <a:pt x="342003" y="377291"/>
                      <a:pt x="321533" y="397761"/>
                      <a:pt x="321533" y="423011"/>
                    </a:cubicBezTo>
                    <a:cubicBezTo>
                      <a:pt x="321533" y="448261"/>
                      <a:pt x="342003" y="468731"/>
                      <a:pt x="367253" y="468731"/>
                    </a:cubicBezTo>
                    <a:cubicBezTo>
                      <a:pt x="392503" y="468731"/>
                      <a:pt x="412973" y="448261"/>
                      <a:pt x="412973" y="423011"/>
                    </a:cubicBezTo>
                    <a:cubicBezTo>
                      <a:pt x="412973" y="397761"/>
                      <a:pt x="392503" y="377291"/>
                      <a:pt x="367253" y="377291"/>
                    </a:cubicBezTo>
                    <a:close/>
                    <a:moveTo>
                      <a:pt x="1089685" y="340720"/>
                    </a:moveTo>
                    <a:lnTo>
                      <a:pt x="1293073" y="1197580"/>
                    </a:lnTo>
                    <a:lnTo>
                      <a:pt x="1147551" y="1359833"/>
                    </a:lnTo>
                    <a:close/>
                    <a:moveTo>
                      <a:pt x="658035" y="79417"/>
                    </a:moveTo>
                    <a:cubicBezTo>
                      <a:pt x="610465" y="78044"/>
                      <a:pt x="562545" y="92162"/>
                      <a:pt x="520484" y="121952"/>
                    </a:cubicBezTo>
                    <a:cubicBezTo>
                      <a:pt x="466504" y="160184"/>
                      <a:pt x="428432" y="219897"/>
                      <a:pt x="412770" y="287823"/>
                    </a:cubicBezTo>
                    <a:lnTo>
                      <a:pt x="409112" y="320104"/>
                    </a:lnTo>
                    <a:lnTo>
                      <a:pt x="896009" y="337604"/>
                    </a:lnTo>
                    <a:lnTo>
                      <a:pt x="893234" y="300041"/>
                    </a:lnTo>
                    <a:cubicBezTo>
                      <a:pt x="880402" y="231939"/>
                      <a:pt x="845218" y="170779"/>
                      <a:pt x="793479" y="129831"/>
                    </a:cubicBezTo>
                    <a:cubicBezTo>
                      <a:pt x="752823" y="97654"/>
                      <a:pt x="705604" y="80790"/>
                      <a:pt x="658035" y="79417"/>
                    </a:cubicBezTo>
                    <a:close/>
                    <a:moveTo>
                      <a:pt x="659969" y="114"/>
                    </a:moveTo>
                    <a:cubicBezTo>
                      <a:pt x="721476" y="1820"/>
                      <a:pt x="782544" y="22588"/>
                      <a:pt x="835494" y="62205"/>
                    </a:cubicBezTo>
                    <a:cubicBezTo>
                      <a:pt x="905513" y="114591"/>
                      <a:pt x="953266" y="193999"/>
                      <a:pt x="970660" y="282687"/>
                    </a:cubicBezTo>
                    <a:lnTo>
                      <a:pt x="975081" y="340446"/>
                    </a:lnTo>
                    <a:lnTo>
                      <a:pt x="1064394" y="343656"/>
                    </a:lnTo>
                    <a:lnTo>
                      <a:pt x="1130919" y="1415284"/>
                    </a:lnTo>
                    <a:lnTo>
                      <a:pt x="0" y="1298311"/>
                    </a:lnTo>
                    <a:lnTo>
                      <a:pt x="224521" y="313469"/>
                    </a:lnTo>
                    <a:lnTo>
                      <a:pt x="330299" y="317271"/>
                    </a:lnTo>
                    <a:lnTo>
                      <a:pt x="336264" y="266733"/>
                    </a:lnTo>
                    <a:cubicBezTo>
                      <a:pt x="357473" y="178466"/>
                      <a:pt x="408994" y="101143"/>
                      <a:pt x="481808" y="52391"/>
                    </a:cubicBezTo>
                    <a:cubicBezTo>
                      <a:pt x="536516" y="15762"/>
                      <a:pt x="598462" y="-1593"/>
                      <a:pt x="659969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80" name="Group 879"/>
            <p:cNvGrpSpPr/>
            <p:nvPr/>
          </p:nvGrpSpPr>
          <p:grpSpPr bwMode="gray">
            <a:xfrm>
              <a:off x="5773839" y="2630234"/>
              <a:ext cx="188718" cy="188718"/>
              <a:chOff x="7844637" y="3042922"/>
              <a:chExt cx="949960" cy="949958"/>
            </a:xfrm>
          </p:grpSpPr>
          <p:grpSp>
            <p:nvGrpSpPr>
              <p:cNvPr id="941" name="Group 940"/>
              <p:cNvGrpSpPr/>
              <p:nvPr/>
            </p:nvGrpSpPr>
            <p:grpSpPr bwMode="gray">
              <a:xfrm>
                <a:off x="7844637" y="3042922"/>
                <a:ext cx="949960" cy="949958"/>
                <a:chOff x="7844637" y="3042922"/>
                <a:chExt cx="949960" cy="949958"/>
              </a:xfrm>
            </p:grpSpPr>
            <p:sp>
              <p:nvSpPr>
                <p:cNvPr id="943" name="Oval 942"/>
                <p:cNvSpPr/>
                <p:nvPr/>
              </p:nvSpPr>
              <p:spPr bwMode="gray">
                <a:xfrm>
                  <a:off x="7844637" y="3042922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44" name="Oval 943"/>
                <p:cNvSpPr/>
                <p:nvPr/>
              </p:nvSpPr>
              <p:spPr bwMode="gray">
                <a:xfrm>
                  <a:off x="7919333" y="3117618"/>
                  <a:ext cx="800568" cy="800567"/>
                </a:xfrm>
                <a:prstGeom prst="ellipse">
                  <a:avLst/>
                </a:prstGeom>
                <a:solidFill>
                  <a:srgbClr val="0066CC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42" name="Freeform 941"/>
              <p:cNvSpPr/>
              <p:nvPr/>
            </p:nvSpPr>
            <p:spPr bwMode="gray">
              <a:xfrm>
                <a:off x="8081449" y="3192562"/>
                <a:ext cx="492973" cy="539565"/>
              </a:xfrm>
              <a:custGeom>
                <a:avLst/>
                <a:gdLst>
                  <a:gd name="connsiteX0" fmla="*/ 931340 w 1293073"/>
                  <a:gd name="connsiteY0" fmla="*/ 415895 h 1415284"/>
                  <a:gd name="connsiteX1" fmla="*/ 885620 w 1293073"/>
                  <a:gd name="connsiteY1" fmla="*/ 461615 h 1415284"/>
                  <a:gd name="connsiteX2" fmla="*/ 931340 w 1293073"/>
                  <a:gd name="connsiteY2" fmla="*/ 507335 h 1415284"/>
                  <a:gd name="connsiteX3" fmla="*/ 977060 w 1293073"/>
                  <a:gd name="connsiteY3" fmla="*/ 461615 h 1415284"/>
                  <a:gd name="connsiteX4" fmla="*/ 931340 w 1293073"/>
                  <a:gd name="connsiteY4" fmla="*/ 415895 h 1415284"/>
                  <a:gd name="connsiteX5" fmla="*/ 367253 w 1293073"/>
                  <a:gd name="connsiteY5" fmla="*/ 377291 h 1415284"/>
                  <a:gd name="connsiteX6" fmla="*/ 321533 w 1293073"/>
                  <a:gd name="connsiteY6" fmla="*/ 423011 h 1415284"/>
                  <a:gd name="connsiteX7" fmla="*/ 367253 w 1293073"/>
                  <a:gd name="connsiteY7" fmla="*/ 468731 h 1415284"/>
                  <a:gd name="connsiteX8" fmla="*/ 412973 w 1293073"/>
                  <a:gd name="connsiteY8" fmla="*/ 423011 h 1415284"/>
                  <a:gd name="connsiteX9" fmla="*/ 367253 w 1293073"/>
                  <a:gd name="connsiteY9" fmla="*/ 377291 h 1415284"/>
                  <a:gd name="connsiteX10" fmla="*/ 1089685 w 1293073"/>
                  <a:gd name="connsiteY10" fmla="*/ 340720 h 1415284"/>
                  <a:gd name="connsiteX11" fmla="*/ 1293073 w 1293073"/>
                  <a:gd name="connsiteY11" fmla="*/ 1197580 h 1415284"/>
                  <a:gd name="connsiteX12" fmla="*/ 1147551 w 1293073"/>
                  <a:gd name="connsiteY12" fmla="*/ 1359833 h 1415284"/>
                  <a:gd name="connsiteX13" fmla="*/ 658035 w 1293073"/>
                  <a:gd name="connsiteY13" fmla="*/ 79417 h 1415284"/>
                  <a:gd name="connsiteX14" fmla="*/ 520484 w 1293073"/>
                  <a:gd name="connsiteY14" fmla="*/ 121952 h 1415284"/>
                  <a:gd name="connsiteX15" fmla="*/ 412770 w 1293073"/>
                  <a:gd name="connsiteY15" fmla="*/ 287823 h 1415284"/>
                  <a:gd name="connsiteX16" fmla="*/ 409112 w 1293073"/>
                  <a:gd name="connsiteY16" fmla="*/ 320104 h 1415284"/>
                  <a:gd name="connsiteX17" fmla="*/ 896009 w 1293073"/>
                  <a:gd name="connsiteY17" fmla="*/ 337604 h 1415284"/>
                  <a:gd name="connsiteX18" fmla="*/ 893234 w 1293073"/>
                  <a:gd name="connsiteY18" fmla="*/ 300041 h 1415284"/>
                  <a:gd name="connsiteX19" fmla="*/ 793479 w 1293073"/>
                  <a:gd name="connsiteY19" fmla="*/ 129831 h 1415284"/>
                  <a:gd name="connsiteX20" fmla="*/ 658035 w 1293073"/>
                  <a:gd name="connsiteY20" fmla="*/ 79417 h 1415284"/>
                  <a:gd name="connsiteX21" fmla="*/ 659969 w 1293073"/>
                  <a:gd name="connsiteY21" fmla="*/ 114 h 1415284"/>
                  <a:gd name="connsiteX22" fmla="*/ 835494 w 1293073"/>
                  <a:gd name="connsiteY22" fmla="*/ 62205 h 1415284"/>
                  <a:gd name="connsiteX23" fmla="*/ 970660 w 1293073"/>
                  <a:gd name="connsiteY23" fmla="*/ 282687 h 1415284"/>
                  <a:gd name="connsiteX24" fmla="*/ 975081 w 1293073"/>
                  <a:gd name="connsiteY24" fmla="*/ 340446 h 1415284"/>
                  <a:gd name="connsiteX25" fmla="*/ 1064394 w 1293073"/>
                  <a:gd name="connsiteY25" fmla="*/ 343656 h 1415284"/>
                  <a:gd name="connsiteX26" fmla="*/ 1130919 w 1293073"/>
                  <a:gd name="connsiteY26" fmla="*/ 1415284 h 1415284"/>
                  <a:gd name="connsiteX27" fmla="*/ 0 w 1293073"/>
                  <a:gd name="connsiteY27" fmla="*/ 1298311 h 1415284"/>
                  <a:gd name="connsiteX28" fmla="*/ 224521 w 1293073"/>
                  <a:gd name="connsiteY28" fmla="*/ 313469 h 1415284"/>
                  <a:gd name="connsiteX29" fmla="*/ 330299 w 1293073"/>
                  <a:gd name="connsiteY29" fmla="*/ 317271 h 1415284"/>
                  <a:gd name="connsiteX30" fmla="*/ 336264 w 1293073"/>
                  <a:gd name="connsiteY30" fmla="*/ 266733 h 1415284"/>
                  <a:gd name="connsiteX31" fmla="*/ 481808 w 1293073"/>
                  <a:gd name="connsiteY31" fmla="*/ 52391 h 1415284"/>
                  <a:gd name="connsiteX32" fmla="*/ 659969 w 1293073"/>
                  <a:gd name="connsiteY32" fmla="*/ 114 h 141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293073" h="1415284">
                    <a:moveTo>
                      <a:pt x="931340" y="415895"/>
                    </a:moveTo>
                    <a:cubicBezTo>
                      <a:pt x="906090" y="415895"/>
                      <a:pt x="885620" y="436365"/>
                      <a:pt x="885620" y="461615"/>
                    </a:cubicBezTo>
                    <a:cubicBezTo>
                      <a:pt x="885620" y="486865"/>
                      <a:pt x="906090" y="507335"/>
                      <a:pt x="931340" y="507335"/>
                    </a:cubicBezTo>
                    <a:cubicBezTo>
                      <a:pt x="956590" y="507335"/>
                      <a:pt x="977060" y="486865"/>
                      <a:pt x="977060" y="461615"/>
                    </a:cubicBezTo>
                    <a:cubicBezTo>
                      <a:pt x="977060" y="436365"/>
                      <a:pt x="956590" y="415895"/>
                      <a:pt x="931340" y="415895"/>
                    </a:cubicBezTo>
                    <a:close/>
                    <a:moveTo>
                      <a:pt x="367253" y="377291"/>
                    </a:moveTo>
                    <a:cubicBezTo>
                      <a:pt x="342003" y="377291"/>
                      <a:pt x="321533" y="397761"/>
                      <a:pt x="321533" y="423011"/>
                    </a:cubicBezTo>
                    <a:cubicBezTo>
                      <a:pt x="321533" y="448261"/>
                      <a:pt x="342003" y="468731"/>
                      <a:pt x="367253" y="468731"/>
                    </a:cubicBezTo>
                    <a:cubicBezTo>
                      <a:pt x="392503" y="468731"/>
                      <a:pt x="412973" y="448261"/>
                      <a:pt x="412973" y="423011"/>
                    </a:cubicBezTo>
                    <a:cubicBezTo>
                      <a:pt x="412973" y="397761"/>
                      <a:pt x="392503" y="377291"/>
                      <a:pt x="367253" y="377291"/>
                    </a:cubicBezTo>
                    <a:close/>
                    <a:moveTo>
                      <a:pt x="1089685" y="340720"/>
                    </a:moveTo>
                    <a:lnTo>
                      <a:pt x="1293073" y="1197580"/>
                    </a:lnTo>
                    <a:lnTo>
                      <a:pt x="1147551" y="1359833"/>
                    </a:lnTo>
                    <a:close/>
                    <a:moveTo>
                      <a:pt x="658035" y="79417"/>
                    </a:moveTo>
                    <a:cubicBezTo>
                      <a:pt x="610465" y="78044"/>
                      <a:pt x="562545" y="92162"/>
                      <a:pt x="520484" y="121952"/>
                    </a:cubicBezTo>
                    <a:cubicBezTo>
                      <a:pt x="466504" y="160184"/>
                      <a:pt x="428432" y="219897"/>
                      <a:pt x="412770" y="287823"/>
                    </a:cubicBezTo>
                    <a:lnTo>
                      <a:pt x="409112" y="320104"/>
                    </a:lnTo>
                    <a:lnTo>
                      <a:pt x="896009" y="337604"/>
                    </a:lnTo>
                    <a:lnTo>
                      <a:pt x="893234" y="300041"/>
                    </a:lnTo>
                    <a:cubicBezTo>
                      <a:pt x="880402" y="231939"/>
                      <a:pt x="845218" y="170779"/>
                      <a:pt x="793479" y="129831"/>
                    </a:cubicBezTo>
                    <a:cubicBezTo>
                      <a:pt x="752823" y="97654"/>
                      <a:pt x="705604" y="80790"/>
                      <a:pt x="658035" y="79417"/>
                    </a:cubicBezTo>
                    <a:close/>
                    <a:moveTo>
                      <a:pt x="659969" y="114"/>
                    </a:moveTo>
                    <a:cubicBezTo>
                      <a:pt x="721476" y="1820"/>
                      <a:pt x="782544" y="22588"/>
                      <a:pt x="835494" y="62205"/>
                    </a:cubicBezTo>
                    <a:cubicBezTo>
                      <a:pt x="905513" y="114591"/>
                      <a:pt x="953266" y="193999"/>
                      <a:pt x="970660" y="282687"/>
                    </a:cubicBezTo>
                    <a:lnTo>
                      <a:pt x="975081" y="340446"/>
                    </a:lnTo>
                    <a:lnTo>
                      <a:pt x="1064394" y="343656"/>
                    </a:lnTo>
                    <a:lnTo>
                      <a:pt x="1130919" y="1415284"/>
                    </a:lnTo>
                    <a:lnTo>
                      <a:pt x="0" y="1298311"/>
                    </a:lnTo>
                    <a:lnTo>
                      <a:pt x="224521" y="313469"/>
                    </a:lnTo>
                    <a:lnTo>
                      <a:pt x="330299" y="317271"/>
                    </a:lnTo>
                    <a:lnTo>
                      <a:pt x="336264" y="266733"/>
                    </a:lnTo>
                    <a:cubicBezTo>
                      <a:pt x="357473" y="178466"/>
                      <a:pt x="408994" y="101143"/>
                      <a:pt x="481808" y="52391"/>
                    </a:cubicBezTo>
                    <a:cubicBezTo>
                      <a:pt x="536516" y="15762"/>
                      <a:pt x="598462" y="-1593"/>
                      <a:pt x="659969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81" name="Group 880"/>
            <p:cNvGrpSpPr/>
            <p:nvPr/>
          </p:nvGrpSpPr>
          <p:grpSpPr bwMode="gray">
            <a:xfrm>
              <a:off x="6098677" y="2634928"/>
              <a:ext cx="188718" cy="188718"/>
              <a:chOff x="6731050" y="3759441"/>
              <a:chExt cx="949960" cy="949958"/>
            </a:xfrm>
          </p:grpSpPr>
          <p:grpSp>
            <p:nvGrpSpPr>
              <p:cNvPr id="935" name="Group 934"/>
              <p:cNvGrpSpPr/>
              <p:nvPr/>
            </p:nvGrpSpPr>
            <p:grpSpPr bwMode="gray">
              <a:xfrm>
                <a:off x="6731050" y="3759441"/>
                <a:ext cx="949960" cy="949958"/>
                <a:chOff x="7887708" y="3050570"/>
                <a:chExt cx="949960" cy="949958"/>
              </a:xfrm>
            </p:grpSpPr>
            <p:sp>
              <p:nvSpPr>
                <p:cNvPr id="939" name="Oval 938"/>
                <p:cNvSpPr/>
                <p:nvPr/>
              </p:nvSpPr>
              <p:spPr bwMode="gray">
                <a:xfrm>
                  <a:off x="7887708" y="3050570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40" name="Oval 939"/>
                <p:cNvSpPr/>
                <p:nvPr/>
              </p:nvSpPr>
              <p:spPr bwMode="gray">
                <a:xfrm>
                  <a:off x="7962407" y="3125266"/>
                  <a:ext cx="800568" cy="800567"/>
                </a:xfrm>
                <a:prstGeom prst="ellipse">
                  <a:avLst/>
                </a:prstGeom>
                <a:solidFill>
                  <a:srgbClr val="244296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36" name="Freeform 935"/>
              <p:cNvSpPr>
                <a:spLocks/>
              </p:cNvSpPr>
              <p:nvPr/>
            </p:nvSpPr>
            <p:spPr bwMode="gray">
              <a:xfrm>
                <a:off x="6855676" y="4104537"/>
                <a:ext cx="714256" cy="191220"/>
              </a:xfrm>
              <a:custGeom>
                <a:avLst/>
                <a:gdLst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475572 w 2932955"/>
                  <a:gd name="connsiteY22" fmla="*/ 130490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504903 w 2932955"/>
                  <a:gd name="connsiteY22" fmla="*/ 159821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32955" h="785207">
                    <a:moveTo>
                      <a:pt x="1326195" y="359"/>
                    </a:moveTo>
                    <a:cubicBezTo>
                      <a:pt x="1475598" y="1838"/>
                      <a:pt x="1629877" y="8376"/>
                      <a:pt x="1720948" y="28608"/>
                    </a:cubicBezTo>
                    <a:cubicBezTo>
                      <a:pt x="1903384" y="69073"/>
                      <a:pt x="1881093" y="183749"/>
                      <a:pt x="2054437" y="245166"/>
                    </a:cubicBezTo>
                    <a:cubicBezTo>
                      <a:pt x="2227780" y="306503"/>
                      <a:pt x="2606438" y="354965"/>
                      <a:pt x="2760717" y="396869"/>
                    </a:cubicBezTo>
                    <a:cubicBezTo>
                      <a:pt x="2907663" y="434774"/>
                      <a:pt x="2956645" y="400547"/>
                      <a:pt x="2922621" y="663248"/>
                    </a:cubicBezTo>
                    <a:cubicBezTo>
                      <a:pt x="2911403" y="765989"/>
                      <a:pt x="2893749" y="783082"/>
                      <a:pt x="2783911" y="785207"/>
                    </a:cubicBezTo>
                    <a:lnTo>
                      <a:pt x="2671331" y="785015"/>
                    </a:lnTo>
                    <a:lnTo>
                      <a:pt x="2682243" y="730966"/>
                    </a:lnTo>
                    <a:cubicBezTo>
                      <a:pt x="2682243" y="562630"/>
                      <a:pt x="2545779" y="426166"/>
                      <a:pt x="2377443" y="426166"/>
                    </a:cubicBezTo>
                    <a:cubicBezTo>
                      <a:pt x="2209107" y="426166"/>
                      <a:pt x="2072643" y="562630"/>
                      <a:pt x="2072643" y="730966"/>
                    </a:cubicBezTo>
                    <a:lnTo>
                      <a:pt x="2082769" y="781123"/>
                    </a:lnTo>
                    <a:lnTo>
                      <a:pt x="873797" y="781123"/>
                    </a:lnTo>
                    <a:lnTo>
                      <a:pt x="883923" y="730965"/>
                    </a:lnTo>
                    <a:cubicBezTo>
                      <a:pt x="883923" y="562629"/>
                      <a:pt x="747459" y="426165"/>
                      <a:pt x="579123" y="426165"/>
                    </a:cubicBezTo>
                    <a:cubicBezTo>
                      <a:pt x="410787" y="426165"/>
                      <a:pt x="274323" y="562629"/>
                      <a:pt x="274323" y="730965"/>
                    </a:cubicBezTo>
                    <a:lnTo>
                      <a:pt x="277299" y="745705"/>
                    </a:lnTo>
                    <a:lnTo>
                      <a:pt x="194109" y="730272"/>
                    </a:lnTo>
                    <a:cubicBezTo>
                      <a:pt x="150810" y="722166"/>
                      <a:pt x="108500" y="712629"/>
                      <a:pt x="69050" y="697395"/>
                    </a:cubicBezTo>
                    <a:cubicBezTo>
                      <a:pt x="-2517" y="670765"/>
                      <a:pt x="-2517" y="590875"/>
                      <a:pt x="1297" y="526180"/>
                    </a:cubicBezTo>
                    <a:cubicBezTo>
                      <a:pt x="1297" y="484275"/>
                      <a:pt x="23881" y="442451"/>
                      <a:pt x="31507" y="400547"/>
                    </a:cubicBezTo>
                    <a:cubicBezTo>
                      <a:pt x="38840" y="362562"/>
                      <a:pt x="50279" y="320738"/>
                      <a:pt x="42653" y="286511"/>
                    </a:cubicBezTo>
                    <a:cubicBezTo>
                      <a:pt x="31507" y="229412"/>
                      <a:pt x="54092" y="206541"/>
                      <a:pt x="99261" y="198944"/>
                    </a:cubicBezTo>
                    <a:cubicBezTo>
                      <a:pt x="129178" y="191267"/>
                      <a:pt x="361477" y="192528"/>
                      <a:pt x="504903" y="159821"/>
                    </a:cubicBezTo>
                    <a:cubicBezTo>
                      <a:pt x="648330" y="127113"/>
                      <a:pt x="738667" y="6217"/>
                      <a:pt x="960700" y="2458"/>
                    </a:cubicBezTo>
                    <a:cubicBezTo>
                      <a:pt x="1032266" y="2458"/>
                      <a:pt x="1176793" y="-1121"/>
                      <a:pt x="1326195" y="3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37" name="Freeform 936"/>
              <p:cNvSpPr/>
              <p:nvPr/>
            </p:nvSpPr>
            <p:spPr bwMode="gray">
              <a:xfrm>
                <a:off x="6935471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38" name="Freeform 937"/>
              <p:cNvSpPr/>
              <p:nvPr/>
            </p:nvSpPr>
            <p:spPr bwMode="gray">
              <a:xfrm>
                <a:off x="7373103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82" name="Group 881"/>
            <p:cNvGrpSpPr/>
            <p:nvPr/>
          </p:nvGrpSpPr>
          <p:grpSpPr bwMode="gray">
            <a:xfrm>
              <a:off x="5793482" y="2884641"/>
              <a:ext cx="188718" cy="188718"/>
              <a:chOff x="7844637" y="3042922"/>
              <a:chExt cx="949960" cy="949958"/>
            </a:xfrm>
          </p:grpSpPr>
          <p:sp>
            <p:nvSpPr>
              <p:cNvPr id="926" name="Oval 925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27" name="Oval 926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91B0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28" name="Group 927"/>
              <p:cNvGrpSpPr/>
              <p:nvPr/>
            </p:nvGrpSpPr>
            <p:grpSpPr bwMode="gray">
              <a:xfrm>
                <a:off x="8013437" y="3195347"/>
                <a:ext cx="612360" cy="645108"/>
                <a:chOff x="9996579" y="3416297"/>
                <a:chExt cx="754607" cy="794965"/>
              </a:xfrm>
              <a:solidFill>
                <a:srgbClr val="FFFFFF"/>
              </a:solidFill>
            </p:grpSpPr>
            <p:sp>
              <p:nvSpPr>
                <p:cNvPr id="929" name="Freeform 928"/>
                <p:cNvSpPr>
                  <a:spLocks/>
                </p:cNvSpPr>
                <p:nvPr/>
              </p:nvSpPr>
              <p:spPr bwMode="gray">
                <a:xfrm>
                  <a:off x="10049037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30" name="Freeform 929"/>
                <p:cNvSpPr>
                  <a:spLocks/>
                </p:cNvSpPr>
                <p:nvPr/>
              </p:nvSpPr>
              <p:spPr bwMode="gray">
                <a:xfrm>
                  <a:off x="9996579" y="3622101"/>
                  <a:ext cx="197731" cy="480208"/>
                </a:xfrm>
                <a:custGeom>
                  <a:avLst/>
                  <a:gdLst>
                    <a:gd name="T0" fmla="*/ 20 w 74"/>
                    <a:gd name="T1" fmla="*/ 0 h 179"/>
                    <a:gd name="T2" fmla="*/ 20 w 74"/>
                    <a:gd name="T3" fmla="*/ 0 h 179"/>
                    <a:gd name="T4" fmla="*/ 68 w 74"/>
                    <a:gd name="T5" fmla="*/ 0 h 179"/>
                    <a:gd name="T6" fmla="*/ 62 w 74"/>
                    <a:gd name="T7" fmla="*/ 19 h 179"/>
                    <a:gd name="T8" fmla="*/ 62 w 74"/>
                    <a:gd name="T9" fmla="*/ 90 h 179"/>
                    <a:gd name="T10" fmla="*/ 74 w 74"/>
                    <a:gd name="T11" fmla="*/ 114 h 179"/>
                    <a:gd name="T12" fmla="*/ 74 w 74"/>
                    <a:gd name="T13" fmla="*/ 164 h 179"/>
                    <a:gd name="T14" fmla="*/ 59 w 74"/>
                    <a:gd name="T15" fmla="*/ 179 h 179"/>
                    <a:gd name="T16" fmla="*/ 45 w 74"/>
                    <a:gd name="T17" fmla="*/ 167 h 179"/>
                    <a:gd name="T18" fmla="*/ 30 w 74"/>
                    <a:gd name="T19" fmla="*/ 179 h 179"/>
                    <a:gd name="T20" fmla="*/ 15 w 74"/>
                    <a:gd name="T21" fmla="*/ 164 h 179"/>
                    <a:gd name="T22" fmla="*/ 15 w 74"/>
                    <a:gd name="T23" fmla="*/ 94 h 179"/>
                    <a:gd name="T24" fmla="*/ 0 w 74"/>
                    <a:gd name="T25" fmla="*/ 76 h 179"/>
                    <a:gd name="T26" fmla="*/ 0 w 74"/>
                    <a:gd name="T27" fmla="*/ 20 h 179"/>
                    <a:gd name="T28" fmla="*/ 20 w 74"/>
                    <a:gd name="T2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68" y="0"/>
                      </a:lnTo>
                      <a:cubicBezTo>
                        <a:pt x="64" y="5"/>
                        <a:pt x="62" y="12"/>
                        <a:pt x="62" y="19"/>
                      </a:cubicBezTo>
                      <a:lnTo>
                        <a:pt x="62" y="90"/>
                      </a:lnTo>
                      <a:cubicBezTo>
                        <a:pt x="62" y="100"/>
                        <a:pt x="67" y="109"/>
                        <a:pt x="74" y="114"/>
                      </a:cubicBezTo>
                      <a:lnTo>
                        <a:pt x="74" y="164"/>
                      </a:lnTo>
                      <a:cubicBezTo>
                        <a:pt x="74" y="172"/>
                        <a:pt x="68" y="179"/>
                        <a:pt x="59" y="179"/>
                      </a:cubicBezTo>
                      <a:cubicBezTo>
                        <a:pt x="52" y="179"/>
                        <a:pt x="46" y="174"/>
                        <a:pt x="45" y="167"/>
                      </a:cubicBezTo>
                      <a:cubicBezTo>
                        <a:pt x="43" y="174"/>
                        <a:pt x="37" y="179"/>
                        <a:pt x="30" y="179"/>
                      </a:cubicBezTo>
                      <a:cubicBezTo>
                        <a:pt x="22" y="179"/>
                        <a:pt x="15" y="172"/>
                        <a:pt x="15" y="164"/>
                      </a:cubicBezTo>
                      <a:lnTo>
                        <a:pt x="15" y="94"/>
                      </a:lnTo>
                      <a:cubicBezTo>
                        <a:pt x="7" y="92"/>
                        <a:pt x="0" y="85"/>
                        <a:pt x="0" y="76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2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31" name="Freeform 930"/>
                <p:cNvSpPr>
                  <a:spLocks/>
                </p:cNvSpPr>
                <p:nvPr/>
              </p:nvSpPr>
              <p:spPr bwMode="gray">
                <a:xfrm>
                  <a:off x="10553455" y="3622101"/>
                  <a:ext cx="197731" cy="480208"/>
                </a:xfrm>
                <a:custGeom>
                  <a:avLst/>
                  <a:gdLst>
                    <a:gd name="T0" fmla="*/ 14 w 74"/>
                    <a:gd name="T1" fmla="*/ 90 h 179"/>
                    <a:gd name="T2" fmla="*/ 14 w 74"/>
                    <a:gd name="T3" fmla="*/ 90 h 179"/>
                    <a:gd name="T4" fmla="*/ 14 w 74"/>
                    <a:gd name="T5" fmla="*/ 19 h 179"/>
                    <a:gd name="T6" fmla="*/ 7 w 74"/>
                    <a:gd name="T7" fmla="*/ 0 h 179"/>
                    <a:gd name="T8" fmla="*/ 55 w 74"/>
                    <a:gd name="T9" fmla="*/ 0 h 179"/>
                    <a:gd name="T10" fmla="*/ 74 w 74"/>
                    <a:gd name="T11" fmla="*/ 20 h 179"/>
                    <a:gd name="T12" fmla="*/ 74 w 74"/>
                    <a:gd name="T13" fmla="*/ 76 h 179"/>
                    <a:gd name="T14" fmla="*/ 59 w 74"/>
                    <a:gd name="T15" fmla="*/ 94 h 179"/>
                    <a:gd name="T16" fmla="*/ 59 w 74"/>
                    <a:gd name="T17" fmla="*/ 164 h 179"/>
                    <a:gd name="T18" fmla="*/ 44 w 74"/>
                    <a:gd name="T19" fmla="*/ 179 h 179"/>
                    <a:gd name="T20" fmla="*/ 30 w 74"/>
                    <a:gd name="T21" fmla="*/ 167 h 179"/>
                    <a:gd name="T22" fmla="*/ 15 w 74"/>
                    <a:gd name="T23" fmla="*/ 179 h 179"/>
                    <a:gd name="T24" fmla="*/ 0 w 74"/>
                    <a:gd name="T25" fmla="*/ 164 h 179"/>
                    <a:gd name="T26" fmla="*/ 0 w 74"/>
                    <a:gd name="T27" fmla="*/ 115 h 179"/>
                    <a:gd name="T28" fmla="*/ 14 w 74"/>
                    <a:gd name="T29" fmla="*/ 9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14" y="90"/>
                      </a:moveTo>
                      <a:lnTo>
                        <a:pt x="14" y="90"/>
                      </a:lnTo>
                      <a:lnTo>
                        <a:pt x="14" y="19"/>
                      </a:lnTo>
                      <a:cubicBezTo>
                        <a:pt x="14" y="12"/>
                        <a:pt x="11" y="5"/>
                        <a:pt x="7" y="0"/>
                      </a:cubicBezTo>
                      <a:lnTo>
                        <a:pt x="55" y="0"/>
                      </a:lnTo>
                      <a:cubicBezTo>
                        <a:pt x="66" y="0"/>
                        <a:pt x="74" y="9"/>
                        <a:pt x="74" y="20"/>
                      </a:cubicBezTo>
                      <a:lnTo>
                        <a:pt x="74" y="76"/>
                      </a:lnTo>
                      <a:cubicBezTo>
                        <a:pt x="74" y="85"/>
                        <a:pt x="68" y="92"/>
                        <a:pt x="59" y="94"/>
                      </a:cubicBezTo>
                      <a:lnTo>
                        <a:pt x="59" y="164"/>
                      </a:lnTo>
                      <a:cubicBezTo>
                        <a:pt x="59" y="172"/>
                        <a:pt x="53" y="179"/>
                        <a:pt x="44" y="179"/>
                      </a:cubicBezTo>
                      <a:cubicBezTo>
                        <a:pt x="37" y="179"/>
                        <a:pt x="31" y="174"/>
                        <a:pt x="30" y="167"/>
                      </a:cubicBezTo>
                      <a:cubicBezTo>
                        <a:pt x="28" y="174"/>
                        <a:pt x="22" y="179"/>
                        <a:pt x="15" y="179"/>
                      </a:cubicBezTo>
                      <a:cubicBezTo>
                        <a:pt x="7" y="179"/>
                        <a:pt x="0" y="172"/>
                        <a:pt x="0" y="164"/>
                      </a:cubicBezTo>
                      <a:lnTo>
                        <a:pt x="0" y="115"/>
                      </a:lnTo>
                      <a:cubicBezTo>
                        <a:pt x="8" y="110"/>
                        <a:pt x="14" y="100"/>
                        <a:pt x="14" y="9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32" name="Freeform 931"/>
                <p:cNvSpPr>
                  <a:spLocks/>
                </p:cNvSpPr>
                <p:nvPr/>
              </p:nvSpPr>
              <p:spPr bwMode="gray">
                <a:xfrm>
                  <a:off x="10565562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33" name="Freeform 932"/>
                <p:cNvSpPr>
                  <a:spLocks/>
                </p:cNvSpPr>
                <p:nvPr/>
              </p:nvSpPr>
              <p:spPr bwMode="gray">
                <a:xfrm>
                  <a:off x="10210451" y="3618065"/>
                  <a:ext cx="334933" cy="593197"/>
                </a:xfrm>
                <a:custGeom>
                  <a:avLst/>
                  <a:gdLst>
                    <a:gd name="T0" fmla="*/ 19 w 125"/>
                    <a:gd name="T1" fmla="*/ 0 h 221"/>
                    <a:gd name="T2" fmla="*/ 19 w 125"/>
                    <a:gd name="T3" fmla="*/ 0 h 221"/>
                    <a:gd name="T4" fmla="*/ 44 w 125"/>
                    <a:gd name="T5" fmla="*/ 0 h 221"/>
                    <a:gd name="T6" fmla="*/ 63 w 125"/>
                    <a:gd name="T7" fmla="*/ 25 h 221"/>
                    <a:gd name="T8" fmla="*/ 82 w 125"/>
                    <a:gd name="T9" fmla="*/ 0 h 221"/>
                    <a:gd name="T10" fmla="*/ 106 w 125"/>
                    <a:gd name="T11" fmla="*/ 0 h 221"/>
                    <a:gd name="T12" fmla="*/ 125 w 125"/>
                    <a:gd name="T13" fmla="*/ 20 h 221"/>
                    <a:gd name="T14" fmla="*/ 125 w 125"/>
                    <a:gd name="T15" fmla="*/ 91 h 221"/>
                    <a:gd name="T16" fmla="*/ 106 w 125"/>
                    <a:gd name="T17" fmla="*/ 110 h 221"/>
                    <a:gd name="T18" fmla="*/ 100 w 125"/>
                    <a:gd name="T19" fmla="*/ 110 h 221"/>
                    <a:gd name="T20" fmla="*/ 100 w 125"/>
                    <a:gd name="T21" fmla="*/ 202 h 221"/>
                    <a:gd name="T22" fmla="*/ 81 w 125"/>
                    <a:gd name="T23" fmla="*/ 221 h 221"/>
                    <a:gd name="T24" fmla="*/ 63 w 125"/>
                    <a:gd name="T25" fmla="*/ 209 h 221"/>
                    <a:gd name="T26" fmla="*/ 45 w 125"/>
                    <a:gd name="T27" fmla="*/ 221 h 221"/>
                    <a:gd name="T28" fmla="*/ 26 w 125"/>
                    <a:gd name="T29" fmla="*/ 202 h 221"/>
                    <a:gd name="T30" fmla="*/ 26 w 125"/>
                    <a:gd name="T31" fmla="*/ 110 h 221"/>
                    <a:gd name="T32" fmla="*/ 19 w 125"/>
                    <a:gd name="T33" fmla="*/ 110 h 221"/>
                    <a:gd name="T34" fmla="*/ 0 w 125"/>
                    <a:gd name="T35" fmla="*/ 91 h 221"/>
                    <a:gd name="T36" fmla="*/ 0 w 125"/>
                    <a:gd name="T37" fmla="*/ 20 h 221"/>
                    <a:gd name="T38" fmla="*/ 19 w 125"/>
                    <a:gd name="T3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5" h="221">
                      <a:moveTo>
                        <a:pt x="19" y="0"/>
                      </a:moveTo>
                      <a:lnTo>
                        <a:pt x="19" y="0"/>
                      </a:lnTo>
                      <a:lnTo>
                        <a:pt x="44" y="0"/>
                      </a:lnTo>
                      <a:lnTo>
                        <a:pt x="63" y="25"/>
                      </a:lnTo>
                      <a:lnTo>
                        <a:pt x="82" y="0"/>
                      </a:lnTo>
                      <a:lnTo>
                        <a:pt x="106" y="0"/>
                      </a:lnTo>
                      <a:cubicBezTo>
                        <a:pt x="117" y="0"/>
                        <a:pt x="125" y="9"/>
                        <a:pt x="125" y="20"/>
                      </a:cubicBezTo>
                      <a:lnTo>
                        <a:pt x="125" y="91"/>
                      </a:lnTo>
                      <a:cubicBezTo>
                        <a:pt x="125" y="102"/>
                        <a:pt x="117" y="110"/>
                        <a:pt x="106" y="110"/>
                      </a:cubicBezTo>
                      <a:lnTo>
                        <a:pt x="100" y="110"/>
                      </a:lnTo>
                      <a:lnTo>
                        <a:pt x="100" y="202"/>
                      </a:lnTo>
                      <a:cubicBezTo>
                        <a:pt x="100" y="213"/>
                        <a:pt x="91" y="221"/>
                        <a:pt x="81" y="221"/>
                      </a:cubicBezTo>
                      <a:cubicBezTo>
                        <a:pt x="73" y="221"/>
                        <a:pt x="66" y="216"/>
                        <a:pt x="63" y="209"/>
                      </a:cubicBezTo>
                      <a:cubicBezTo>
                        <a:pt x="60" y="216"/>
                        <a:pt x="53" y="221"/>
                        <a:pt x="45" y="221"/>
                      </a:cubicBezTo>
                      <a:cubicBezTo>
                        <a:pt x="34" y="221"/>
                        <a:pt x="26" y="213"/>
                        <a:pt x="26" y="202"/>
                      </a:cubicBezTo>
                      <a:lnTo>
                        <a:pt x="26" y="110"/>
                      </a:lnTo>
                      <a:lnTo>
                        <a:pt x="19" y="110"/>
                      </a:lnTo>
                      <a:cubicBezTo>
                        <a:pt x="9" y="110"/>
                        <a:pt x="0" y="102"/>
                        <a:pt x="0" y="91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19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34" name="Freeform 933"/>
                <p:cNvSpPr>
                  <a:spLocks/>
                </p:cNvSpPr>
                <p:nvPr/>
              </p:nvSpPr>
              <p:spPr bwMode="gray">
                <a:xfrm>
                  <a:off x="10291158" y="3416297"/>
                  <a:ext cx="169485" cy="169485"/>
                </a:xfrm>
                <a:custGeom>
                  <a:avLst/>
                  <a:gdLst>
                    <a:gd name="T0" fmla="*/ 32 w 63"/>
                    <a:gd name="T1" fmla="*/ 63 h 63"/>
                    <a:gd name="T2" fmla="*/ 32 w 63"/>
                    <a:gd name="T3" fmla="*/ 63 h 63"/>
                    <a:gd name="T4" fmla="*/ 0 w 63"/>
                    <a:gd name="T5" fmla="*/ 32 h 63"/>
                    <a:gd name="T6" fmla="*/ 32 w 63"/>
                    <a:gd name="T7" fmla="*/ 0 h 63"/>
                    <a:gd name="T8" fmla="*/ 63 w 63"/>
                    <a:gd name="T9" fmla="*/ 32 h 63"/>
                    <a:gd name="T10" fmla="*/ 32 w 63"/>
                    <a:gd name="T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3" h="63">
                      <a:moveTo>
                        <a:pt x="32" y="63"/>
                      </a:moveTo>
                      <a:lnTo>
                        <a:pt x="32" y="63"/>
                      </a:lnTo>
                      <a:cubicBezTo>
                        <a:pt x="16" y="63"/>
                        <a:pt x="0" y="50"/>
                        <a:pt x="0" y="32"/>
                      </a:cubicBezTo>
                      <a:cubicBezTo>
                        <a:pt x="0" y="14"/>
                        <a:pt x="14" y="0"/>
                        <a:pt x="32" y="0"/>
                      </a:cubicBezTo>
                      <a:cubicBezTo>
                        <a:pt x="49" y="0"/>
                        <a:pt x="63" y="14"/>
                        <a:pt x="63" y="32"/>
                      </a:cubicBezTo>
                      <a:cubicBezTo>
                        <a:pt x="63" y="50"/>
                        <a:pt x="48" y="63"/>
                        <a:pt x="32" y="63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883" name="Group 882"/>
            <p:cNvGrpSpPr/>
            <p:nvPr/>
          </p:nvGrpSpPr>
          <p:grpSpPr bwMode="gray">
            <a:xfrm>
              <a:off x="6755954" y="2311871"/>
              <a:ext cx="188718" cy="188718"/>
              <a:chOff x="6731050" y="3759441"/>
              <a:chExt cx="949960" cy="949958"/>
            </a:xfrm>
          </p:grpSpPr>
          <p:grpSp>
            <p:nvGrpSpPr>
              <p:cNvPr id="920" name="Group 919"/>
              <p:cNvGrpSpPr/>
              <p:nvPr/>
            </p:nvGrpSpPr>
            <p:grpSpPr bwMode="gray">
              <a:xfrm>
                <a:off x="6731050" y="3759441"/>
                <a:ext cx="949960" cy="949958"/>
                <a:chOff x="7887708" y="3050570"/>
                <a:chExt cx="949960" cy="949958"/>
              </a:xfrm>
            </p:grpSpPr>
            <p:sp>
              <p:nvSpPr>
                <p:cNvPr id="924" name="Oval 923"/>
                <p:cNvSpPr/>
                <p:nvPr/>
              </p:nvSpPr>
              <p:spPr bwMode="gray">
                <a:xfrm>
                  <a:off x="7887708" y="3050570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25" name="Oval 924"/>
                <p:cNvSpPr/>
                <p:nvPr/>
              </p:nvSpPr>
              <p:spPr bwMode="gray">
                <a:xfrm>
                  <a:off x="7962407" y="3125266"/>
                  <a:ext cx="800568" cy="800567"/>
                </a:xfrm>
                <a:prstGeom prst="ellipse">
                  <a:avLst/>
                </a:prstGeom>
                <a:solidFill>
                  <a:srgbClr val="244296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21" name="Freeform 920"/>
              <p:cNvSpPr>
                <a:spLocks/>
              </p:cNvSpPr>
              <p:nvPr/>
            </p:nvSpPr>
            <p:spPr bwMode="gray">
              <a:xfrm>
                <a:off x="6855676" y="4104537"/>
                <a:ext cx="714256" cy="191220"/>
              </a:xfrm>
              <a:custGeom>
                <a:avLst/>
                <a:gdLst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475572 w 2932955"/>
                  <a:gd name="connsiteY22" fmla="*/ 130490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504903 w 2932955"/>
                  <a:gd name="connsiteY22" fmla="*/ 159821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32955" h="785207">
                    <a:moveTo>
                      <a:pt x="1326195" y="359"/>
                    </a:moveTo>
                    <a:cubicBezTo>
                      <a:pt x="1475598" y="1838"/>
                      <a:pt x="1629877" y="8376"/>
                      <a:pt x="1720948" y="28608"/>
                    </a:cubicBezTo>
                    <a:cubicBezTo>
                      <a:pt x="1903384" y="69073"/>
                      <a:pt x="1881093" y="183749"/>
                      <a:pt x="2054437" y="245166"/>
                    </a:cubicBezTo>
                    <a:cubicBezTo>
                      <a:pt x="2227780" y="306503"/>
                      <a:pt x="2606438" y="354965"/>
                      <a:pt x="2760717" y="396869"/>
                    </a:cubicBezTo>
                    <a:cubicBezTo>
                      <a:pt x="2907663" y="434774"/>
                      <a:pt x="2956645" y="400547"/>
                      <a:pt x="2922621" y="663248"/>
                    </a:cubicBezTo>
                    <a:cubicBezTo>
                      <a:pt x="2911403" y="765989"/>
                      <a:pt x="2893749" y="783082"/>
                      <a:pt x="2783911" y="785207"/>
                    </a:cubicBezTo>
                    <a:lnTo>
                      <a:pt x="2671331" y="785015"/>
                    </a:lnTo>
                    <a:lnTo>
                      <a:pt x="2682243" y="730966"/>
                    </a:lnTo>
                    <a:cubicBezTo>
                      <a:pt x="2682243" y="562630"/>
                      <a:pt x="2545779" y="426166"/>
                      <a:pt x="2377443" y="426166"/>
                    </a:cubicBezTo>
                    <a:cubicBezTo>
                      <a:pt x="2209107" y="426166"/>
                      <a:pt x="2072643" y="562630"/>
                      <a:pt x="2072643" y="730966"/>
                    </a:cubicBezTo>
                    <a:lnTo>
                      <a:pt x="2082769" y="781123"/>
                    </a:lnTo>
                    <a:lnTo>
                      <a:pt x="873797" y="781123"/>
                    </a:lnTo>
                    <a:lnTo>
                      <a:pt x="883923" y="730965"/>
                    </a:lnTo>
                    <a:cubicBezTo>
                      <a:pt x="883923" y="562629"/>
                      <a:pt x="747459" y="426165"/>
                      <a:pt x="579123" y="426165"/>
                    </a:cubicBezTo>
                    <a:cubicBezTo>
                      <a:pt x="410787" y="426165"/>
                      <a:pt x="274323" y="562629"/>
                      <a:pt x="274323" y="730965"/>
                    </a:cubicBezTo>
                    <a:lnTo>
                      <a:pt x="277299" y="745705"/>
                    </a:lnTo>
                    <a:lnTo>
                      <a:pt x="194109" y="730272"/>
                    </a:lnTo>
                    <a:cubicBezTo>
                      <a:pt x="150810" y="722166"/>
                      <a:pt x="108500" y="712629"/>
                      <a:pt x="69050" y="697395"/>
                    </a:cubicBezTo>
                    <a:cubicBezTo>
                      <a:pt x="-2517" y="670765"/>
                      <a:pt x="-2517" y="590875"/>
                      <a:pt x="1297" y="526180"/>
                    </a:cubicBezTo>
                    <a:cubicBezTo>
                      <a:pt x="1297" y="484275"/>
                      <a:pt x="23881" y="442451"/>
                      <a:pt x="31507" y="400547"/>
                    </a:cubicBezTo>
                    <a:cubicBezTo>
                      <a:pt x="38840" y="362562"/>
                      <a:pt x="50279" y="320738"/>
                      <a:pt x="42653" y="286511"/>
                    </a:cubicBezTo>
                    <a:cubicBezTo>
                      <a:pt x="31507" y="229412"/>
                      <a:pt x="54092" y="206541"/>
                      <a:pt x="99261" y="198944"/>
                    </a:cubicBezTo>
                    <a:cubicBezTo>
                      <a:pt x="129178" y="191267"/>
                      <a:pt x="361477" y="192528"/>
                      <a:pt x="504903" y="159821"/>
                    </a:cubicBezTo>
                    <a:cubicBezTo>
                      <a:pt x="648330" y="127113"/>
                      <a:pt x="738667" y="6217"/>
                      <a:pt x="960700" y="2458"/>
                    </a:cubicBezTo>
                    <a:cubicBezTo>
                      <a:pt x="1032266" y="2458"/>
                      <a:pt x="1176793" y="-1121"/>
                      <a:pt x="1326195" y="3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22" name="Freeform 921"/>
              <p:cNvSpPr/>
              <p:nvPr/>
            </p:nvSpPr>
            <p:spPr bwMode="gray">
              <a:xfrm>
                <a:off x="6935471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23" name="Freeform 922"/>
              <p:cNvSpPr/>
              <p:nvPr/>
            </p:nvSpPr>
            <p:spPr bwMode="gray">
              <a:xfrm>
                <a:off x="7373103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84" name="Group 883"/>
            <p:cNvGrpSpPr/>
            <p:nvPr/>
          </p:nvGrpSpPr>
          <p:grpSpPr bwMode="gray">
            <a:xfrm>
              <a:off x="6432530" y="2328949"/>
              <a:ext cx="188718" cy="188718"/>
              <a:chOff x="7844637" y="3042922"/>
              <a:chExt cx="949960" cy="949958"/>
            </a:xfrm>
          </p:grpSpPr>
          <p:sp>
            <p:nvSpPr>
              <p:cNvPr id="912" name="Oval 911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13" name="Oval 912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B9BAE9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914" name="Group 913"/>
              <p:cNvGrpSpPr/>
              <p:nvPr/>
            </p:nvGrpSpPr>
            <p:grpSpPr bwMode="gray">
              <a:xfrm>
                <a:off x="8001185" y="3253828"/>
                <a:ext cx="636846" cy="455988"/>
                <a:chOff x="7980891" y="3252746"/>
                <a:chExt cx="636846" cy="455988"/>
              </a:xfrm>
            </p:grpSpPr>
            <p:sp>
              <p:nvSpPr>
                <p:cNvPr id="915" name="Freeform 5"/>
                <p:cNvSpPr>
                  <a:spLocks/>
                </p:cNvSpPr>
                <p:nvPr/>
              </p:nvSpPr>
              <p:spPr bwMode="gray">
                <a:xfrm>
                  <a:off x="7980891" y="3252746"/>
                  <a:ext cx="636846" cy="455988"/>
                </a:xfrm>
                <a:custGeom>
                  <a:avLst/>
                  <a:gdLst>
                    <a:gd name="T0" fmla="*/ 602 w 743"/>
                    <a:gd name="T1" fmla="*/ 180 h 532"/>
                    <a:gd name="T2" fmla="*/ 602 w 743"/>
                    <a:gd name="T3" fmla="*/ 242 h 532"/>
                    <a:gd name="T4" fmla="*/ 564 w 743"/>
                    <a:gd name="T5" fmla="*/ 242 h 532"/>
                    <a:gd name="T6" fmla="*/ 564 w 743"/>
                    <a:gd name="T7" fmla="*/ 182 h 532"/>
                    <a:gd name="T8" fmla="*/ 461 w 743"/>
                    <a:gd name="T9" fmla="*/ 99 h 532"/>
                    <a:gd name="T10" fmla="*/ 354 w 743"/>
                    <a:gd name="T11" fmla="*/ 99 h 532"/>
                    <a:gd name="T12" fmla="*/ 354 w 743"/>
                    <a:gd name="T13" fmla="*/ 67 h 532"/>
                    <a:gd name="T14" fmla="*/ 440 w 743"/>
                    <a:gd name="T15" fmla="*/ 67 h 532"/>
                    <a:gd name="T16" fmla="*/ 440 w 743"/>
                    <a:gd name="T17" fmla="*/ 0 h 532"/>
                    <a:gd name="T18" fmla="*/ 160 w 743"/>
                    <a:gd name="T19" fmla="*/ 0 h 532"/>
                    <a:gd name="T20" fmla="*/ 160 w 743"/>
                    <a:gd name="T21" fmla="*/ 67 h 532"/>
                    <a:gd name="T22" fmla="*/ 251 w 743"/>
                    <a:gd name="T23" fmla="*/ 67 h 532"/>
                    <a:gd name="T24" fmla="*/ 251 w 743"/>
                    <a:gd name="T25" fmla="*/ 99 h 532"/>
                    <a:gd name="T26" fmla="*/ 125 w 743"/>
                    <a:gd name="T27" fmla="*/ 99 h 532"/>
                    <a:gd name="T28" fmla="*/ 125 w 743"/>
                    <a:gd name="T29" fmla="*/ 235 h 532"/>
                    <a:gd name="T30" fmla="*/ 86 w 743"/>
                    <a:gd name="T31" fmla="*/ 235 h 532"/>
                    <a:gd name="T32" fmla="*/ 86 w 743"/>
                    <a:gd name="T33" fmla="*/ 96 h 532"/>
                    <a:gd name="T34" fmla="*/ 0 w 743"/>
                    <a:gd name="T35" fmla="*/ 96 h 532"/>
                    <a:gd name="T36" fmla="*/ 0 w 743"/>
                    <a:gd name="T37" fmla="*/ 463 h 532"/>
                    <a:gd name="T38" fmla="*/ 86 w 743"/>
                    <a:gd name="T39" fmla="*/ 463 h 532"/>
                    <a:gd name="T40" fmla="*/ 86 w 743"/>
                    <a:gd name="T41" fmla="*/ 319 h 532"/>
                    <a:gd name="T42" fmla="*/ 125 w 743"/>
                    <a:gd name="T43" fmla="*/ 319 h 532"/>
                    <a:gd name="T44" fmla="*/ 125 w 743"/>
                    <a:gd name="T45" fmla="*/ 319 h 532"/>
                    <a:gd name="T46" fmla="*/ 125 w 743"/>
                    <a:gd name="T47" fmla="*/ 448 h 532"/>
                    <a:gd name="T48" fmla="*/ 265 w 743"/>
                    <a:gd name="T49" fmla="*/ 530 h 532"/>
                    <a:gd name="T50" fmla="*/ 564 w 743"/>
                    <a:gd name="T51" fmla="*/ 530 h 532"/>
                    <a:gd name="T52" fmla="*/ 564 w 743"/>
                    <a:gd name="T53" fmla="*/ 458 h 532"/>
                    <a:gd name="T54" fmla="*/ 602 w 743"/>
                    <a:gd name="T55" fmla="*/ 458 h 532"/>
                    <a:gd name="T56" fmla="*/ 602 w 743"/>
                    <a:gd name="T57" fmla="*/ 532 h 532"/>
                    <a:gd name="T58" fmla="*/ 743 w 743"/>
                    <a:gd name="T59" fmla="*/ 532 h 532"/>
                    <a:gd name="T60" fmla="*/ 743 w 743"/>
                    <a:gd name="T61" fmla="*/ 180 h 532"/>
                    <a:gd name="T62" fmla="*/ 602 w 743"/>
                    <a:gd name="T63" fmla="*/ 180 h 5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743" h="532">
                      <a:moveTo>
                        <a:pt x="602" y="180"/>
                      </a:moveTo>
                      <a:lnTo>
                        <a:pt x="602" y="242"/>
                      </a:lnTo>
                      <a:lnTo>
                        <a:pt x="564" y="242"/>
                      </a:lnTo>
                      <a:lnTo>
                        <a:pt x="564" y="182"/>
                      </a:lnTo>
                      <a:lnTo>
                        <a:pt x="461" y="99"/>
                      </a:lnTo>
                      <a:lnTo>
                        <a:pt x="354" y="99"/>
                      </a:lnTo>
                      <a:lnTo>
                        <a:pt x="354" y="67"/>
                      </a:lnTo>
                      <a:lnTo>
                        <a:pt x="440" y="67"/>
                      </a:lnTo>
                      <a:lnTo>
                        <a:pt x="440" y="0"/>
                      </a:lnTo>
                      <a:lnTo>
                        <a:pt x="160" y="0"/>
                      </a:lnTo>
                      <a:lnTo>
                        <a:pt x="160" y="67"/>
                      </a:lnTo>
                      <a:lnTo>
                        <a:pt x="251" y="67"/>
                      </a:lnTo>
                      <a:lnTo>
                        <a:pt x="251" y="99"/>
                      </a:lnTo>
                      <a:lnTo>
                        <a:pt x="125" y="99"/>
                      </a:lnTo>
                      <a:lnTo>
                        <a:pt x="125" y="235"/>
                      </a:lnTo>
                      <a:lnTo>
                        <a:pt x="86" y="235"/>
                      </a:lnTo>
                      <a:lnTo>
                        <a:pt x="86" y="96"/>
                      </a:lnTo>
                      <a:lnTo>
                        <a:pt x="0" y="96"/>
                      </a:lnTo>
                      <a:lnTo>
                        <a:pt x="0" y="463"/>
                      </a:lnTo>
                      <a:lnTo>
                        <a:pt x="86" y="463"/>
                      </a:lnTo>
                      <a:lnTo>
                        <a:pt x="86" y="319"/>
                      </a:lnTo>
                      <a:lnTo>
                        <a:pt x="125" y="319"/>
                      </a:lnTo>
                      <a:lnTo>
                        <a:pt x="125" y="319"/>
                      </a:lnTo>
                      <a:lnTo>
                        <a:pt x="125" y="448"/>
                      </a:lnTo>
                      <a:lnTo>
                        <a:pt x="265" y="530"/>
                      </a:lnTo>
                      <a:lnTo>
                        <a:pt x="564" y="530"/>
                      </a:lnTo>
                      <a:lnTo>
                        <a:pt x="564" y="458"/>
                      </a:lnTo>
                      <a:lnTo>
                        <a:pt x="602" y="458"/>
                      </a:lnTo>
                      <a:lnTo>
                        <a:pt x="602" y="532"/>
                      </a:lnTo>
                      <a:lnTo>
                        <a:pt x="743" y="532"/>
                      </a:lnTo>
                      <a:lnTo>
                        <a:pt x="743" y="180"/>
                      </a:lnTo>
                      <a:lnTo>
                        <a:pt x="602" y="18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grpSp>
              <p:nvGrpSpPr>
                <p:cNvPr id="916" name="Group 915"/>
                <p:cNvGrpSpPr/>
                <p:nvPr/>
              </p:nvGrpSpPr>
              <p:grpSpPr bwMode="gray">
                <a:xfrm>
                  <a:off x="8111965" y="3364531"/>
                  <a:ext cx="345141" cy="326278"/>
                  <a:chOff x="8148830" y="3562085"/>
                  <a:chExt cx="345141" cy="326278"/>
                </a:xfrm>
                <a:solidFill>
                  <a:srgbClr val="E1261C"/>
                </a:solidFill>
              </p:grpSpPr>
              <p:sp>
                <p:nvSpPr>
                  <p:cNvPr id="917" name="Freeform 916"/>
                  <p:cNvSpPr/>
                  <p:nvPr/>
                </p:nvSpPr>
                <p:spPr bwMode="gray">
                  <a:xfrm>
                    <a:off x="8148830" y="3562085"/>
                    <a:ext cx="198245" cy="197902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18" name="Freeform 917"/>
                  <p:cNvSpPr/>
                  <p:nvPr/>
                </p:nvSpPr>
                <p:spPr bwMode="gray">
                  <a:xfrm>
                    <a:off x="8339293" y="3616567"/>
                    <a:ext cx="154678" cy="154410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  <p:sp>
                <p:nvSpPr>
                  <p:cNvPr id="919" name="Freeform 918"/>
                  <p:cNvSpPr/>
                  <p:nvPr/>
                </p:nvSpPr>
                <p:spPr bwMode="gray">
                  <a:xfrm>
                    <a:off x="8252804" y="3733953"/>
                    <a:ext cx="154678" cy="154410"/>
                  </a:xfrm>
                  <a:custGeom>
                    <a:avLst/>
                    <a:gdLst>
                      <a:gd name="connsiteX0" fmla="*/ 379147 w 758293"/>
                      <a:gd name="connsiteY0" fmla="*/ 297447 h 756980"/>
                      <a:gd name="connsiteX1" fmla="*/ 297962 w 758293"/>
                      <a:gd name="connsiteY1" fmla="*/ 378490 h 756980"/>
                      <a:gd name="connsiteX2" fmla="*/ 379147 w 758293"/>
                      <a:gd name="connsiteY2" fmla="*/ 459534 h 756980"/>
                      <a:gd name="connsiteX3" fmla="*/ 460331 w 758293"/>
                      <a:gd name="connsiteY3" fmla="*/ 378490 h 756980"/>
                      <a:gd name="connsiteX4" fmla="*/ 379147 w 758293"/>
                      <a:gd name="connsiteY4" fmla="*/ 297447 h 756980"/>
                      <a:gd name="connsiteX5" fmla="*/ 379147 w 758293"/>
                      <a:gd name="connsiteY5" fmla="*/ 216403 h 756980"/>
                      <a:gd name="connsiteX6" fmla="*/ 541515 w 758293"/>
                      <a:gd name="connsiteY6" fmla="*/ 378490 h 756980"/>
                      <a:gd name="connsiteX7" fmla="*/ 379147 w 758293"/>
                      <a:gd name="connsiteY7" fmla="*/ 540578 h 756980"/>
                      <a:gd name="connsiteX8" fmla="*/ 216778 w 758293"/>
                      <a:gd name="connsiteY8" fmla="*/ 378490 h 756980"/>
                      <a:gd name="connsiteX9" fmla="*/ 379147 w 758293"/>
                      <a:gd name="connsiteY9" fmla="*/ 216403 h 756980"/>
                      <a:gd name="connsiteX10" fmla="*/ 379147 w 758293"/>
                      <a:gd name="connsiteY10" fmla="*/ 152622 h 756980"/>
                      <a:gd name="connsiteX11" fmla="*/ 152888 w 758293"/>
                      <a:gd name="connsiteY11" fmla="*/ 378490 h 756980"/>
                      <a:gd name="connsiteX12" fmla="*/ 379147 w 758293"/>
                      <a:gd name="connsiteY12" fmla="*/ 604358 h 756980"/>
                      <a:gd name="connsiteX13" fmla="*/ 605406 w 758293"/>
                      <a:gd name="connsiteY13" fmla="*/ 378490 h 756980"/>
                      <a:gd name="connsiteX14" fmla="*/ 379147 w 758293"/>
                      <a:gd name="connsiteY14" fmla="*/ 152622 h 756980"/>
                      <a:gd name="connsiteX15" fmla="*/ 379147 w 758293"/>
                      <a:gd name="connsiteY15" fmla="*/ 0 h 756980"/>
                      <a:gd name="connsiteX16" fmla="*/ 433680 w 758293"/>
                      <a:gd name="connsiteY16" fmla="*/ 4316 h 756980"/>
                      <a:gd name="connsiteX17" fmla="*/ 598071 w 758293"/>
                      <a:gd name="connsiteY17" fmla="*/ 90526 h 756980"/>
                      <a:gd name="connsiteX18" fmla="*/ 609187 w 758293"/>
                      <a:gd name="connsiteY18" fmla="*/ 78520 h 756980"/>
                      <a:gd name="connsiteX19" fmla="*/ 681730 w 758293"/>
                      <a:gd name="connsiteY19" fmla="*/ 151105 h 756980"/>
                      <a:gd name="connsiteX20" fmla="*/ 755134 w 758293"/>
                      <a:gd name="connsiteY20" fmla="*/ 331931 h 756980"/>
                      <a:gd name="connsiteX21" fmla="*/ 758293 w 758293"/>
                      <a:gd name="connsiteY21" fmla="*/ 378490 h 756980"/>
                      <a:gd name="connsiteX22" fmla="*/ 755015 w 758293"/>
                      <a:gd name="connsiteY22" fmla="*/ 425415 h 756980"/>
                      <a:gd name="connsiteX23" fmla="*/ 747691 w 758293"/>
                      <a:gd name="connsiteY23" fmla="*/ 428175 h 756980"/>
                      <a:gd name="connsiteX24" fmla="*/ 747549 w 758293"/>
                      <a:gd name="connsiteY24" fmla="*/ 428142 h 756980"/>
                      <a:gd name="connsiteX25" fmla="*/ 681392 w 758293"/>
                      <a:gd name="connsiteY25" fmla="*/ 605867 h 756980"/>
                      <a:gd name="connsiteX26" fmla="*/ 609971 w 758293"/>
                      <a:gd name="connsiteY26" fmla="*/ 678276 h 756980"/>
                      <a:gd name="connsiteX27" fmla="*/ 433343 w 758293"/>
                      <a:gd name="connsiteY27" fmla="*/ 752676 h 756980"/>
                      <a:gd name="connsiteX28" fmla="*/ 379147 w 758293"/>
                      <a:gd name="connsiteY28" fmla="*/ 756980 h 756980"/>
                      <a:gd name="connsiteX29" fmla="*/ 326009 w 758293"/>
                      <a:gd name="connsiteY29" fmla="*/ 752919 h 756980"/>
                      <a:gd name="connsiteX30" fmla="*/ 148053 w 758293"/>
                      <a:gd name="connsiteY30" fmla="*/ 677661 h 756980"/>
                      <a:gd name="connsiteX31" fmla="*/ 76207 w 758293"/>
                      <a:gd name="connsiteY31" fmla="*/ 605400 h 756980"/>
                      <a:gd name="connsiteX32" fmla="*/ 3583 w 758293"/>
                      <a:gd name="connsiteY32" fmla="*/ 427819 h 756980"/>
                      <a:gd name="connsiteX33" fmla="*/ 0 w 758293"/>
                      <a:gd name="connsiteY33" fmla="*/ 378490 h 756980"/>
                      <a:gd name="connsiteX34" fmla="*/ 3334 w 758293"/>
                      <a:gd name="connsiteY34" fmla="*/ 329774 h 756980"/>
                      <a:gd name="connsiteX35" fmla="*/ 81117 w 758293"/>
                      <a:gd name="connsiteY35" fmla="*/ 158819 h 756980"/>
                      <a:gd name="connsiteX36" fmla="*/ 74820 w 758293"/>
                      <a:gd name="connsiteY36" fmla="*/ 153831 h 756980"/>
                      <a:gd name="connsiteX37" fmla="*/ 144938 w 758293"/>
                      <a:gd name="connsiteY37" fmla="*/ 81231 h 756980"/>
                      <a:gd name="connsiteX38" fmla="*/ 324956 w 758293"/>
                      <a:gd name="connsiteY38" fmla="*/ 6627 h 756980"/>
                      <a:gd name="connsiteX39" fmla="*/ 324509 w 758293"/>
                      <a:gd name="connsiteY39" fmla="*/ 4373 h 756980"/>
                      <a:gd name="connsiteX40" fmla="*/ 379147 w 758293"/>
                      <a:gd name="connsiteY40" fmla="*/ 0 h 7569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</a:cxnLst>
                    <a:rect l="l" t="t" r="r" b="b"/>
                    <a:pathLst>
                      <a:path w="758293" h="756980">
                        <a:moveTo>
                          <a:pt x="379147" y="297447"/>
                        </a:moveTo>
                        <a:cubicBezTo>
                          <a:pt x="334310" y="297447"/>
                          <a:pt x="297962" y="333731"/>
                          <a:pt x="297962" y="378490"/>
                        </a:cubicBezTo>
                        <a:cubicBezTo>
                          <a:pt x="297962" y="423250"/>
                          <a:pt x="334310" y="459534"/>
                          <a:pt x="379147" y="459534"/>
                        </a:cubicBezTo>
                        <a:cubicBezTo>
                          <a:pt x="423984" y="459534"/>
                          <a:pt x="460331" y="423250"/>
                          <a:pt x="460331" y="378490"/>
                        </a:cubicBezTo>
                        <a:cubicBezTo>
                          <a:pt x="460331" y="333731"/>
                          <a:pt x="423984" y="297447"/>
                          <a:pt x="379147" y="297447"/>
                        </a:cubicBezTo>
                        <a:close/>
                        <a:moveTo>
                          <a:pt x="379147" y="216403"/>
                        </a:moveTo>
                        <a:cubicBezTo>
                          <a:pt x="468820" y="216403"/>
                          <a:pt x="541515" y="288972"/>
                          <a:pt x="541515" y="378490"/>
                        </a:cubicBezTo>
                        <a:cubicBezTo>
                          <a:pt x="541515" y="468009"/>
                          <a:pt x="468820" y="540578"/>
                          <a:pt x="379147" y="540578"/>
                        </a:cubicBezTo>
                        <a:cubicBezTo>
                          <a:pt x="289473" y="540578"/>
                          <a:pt x="216778" y="468009"/>
                          <a:pt x="216778" y="378490"/>
                        </a:cubicBezTo>
                        <a:cubicBezTo>
                          <a:pt x="216778" y="288972"/>
                          <a:pt x="289473" y="216403"/>
                          <a:pt x="379147" y="216403"/>
                        </a:cubicBezTo>
                        <a:close/>
                        <a:moveTo>
                          <a:pt x="379147" y="152622"/>
                        </a:moveTo>
                        <a:cubicBezTo>
                          <a:pt x="254187" y="152622"/>
                          <a:pt x="152888" y="253747"/>
                          <a:pt x="152888" y="378490"/>
                        </a:cubicBezTo>
                        <a:cubicBezTo>
                          <a:pt x="152888" y="503234"/>
                          <a:pt x="254187" y="604358"/>
                          <a:pt x="379147" y="604358"/>
                        </a:cubicBezTo>
                        <a:cubicBezTo>
                          <a:pt x="504106" y="604358"/>
                          <a:pt x="605406" y="503234"/>
                          <a:pt x="605406" y="378490"/>
                        </a:cubicBezTo>
                        <a:cubicBezTo>
                          <a:pt x="605406" y="253747"/>
                          <a:pt x="504106" y="152622"/>
                          <a:pt x="379147" y="152622"/>
                        </a:cubicBezTo>
                        <a:close/>
                        <a:moveTo>
                          <a:pt x="379147" y="0"/>
                        </a:moveTo>
                        <a:cubicBezTo>
                          <a:pt x="397686" y="0"/>
                          <a:pt x="415914" y="1329"/>
                          <a:pt x="433680" y="4316"/>
                        </a:cubicBezTo>
                        <a:cubicBezTo>
                          <a:pt x="452704" y="134013"/>
                          <a:pt x="582821" y="106786"/>
                          <a:pt x="598071" y="90526"/>
                        </a:cubicBezTo>
                        <a:lnTo>
                          <a:pt x="609187" y="78520"/>
                        </a:lnTo>
                        <a:cubicBezTo>
                          <a:pt x="636804" y="99000"/>
                          <a:pt x="661110" y="123588"/>
                          <a:pt x="681730" y="151105"/>
                        </a:cubicBezTo>
                        <a:cubicBezTo>
                          <a:pt x="603523" y="275934"/>
                          <a:pt x="730495" y="335100"/>
                          <a:pt x="755134" y="331931"/>
                        </a:cubicBezTo>
                        <a:cubicBezTo>
                          <a:pt x="757326" y="347163"/>
                          <a:pt x="758293" y="362714"/>
                          <a:pt x="758293" y="378490"/>
                        </a:cubicBezTo>
                        <a:cubicBezTo>
                          <a:pt x="758293" y="394398"/>
                          <a:pt x="757311" y="410076"/>
                          <a:pt x="755015" y="425415"/>
                        </a:cubicBezTo>
                        <a:cubicBezTo>
                          <a:pt x="752279" y="426174"/>
                          <a:pt x="749826" y="427104"/>
                          <a:pt x="747691" y="428175"/>
                        </a:cubicBezTo>
                        <a:lnTo>
                          <a:pt x="747549" y="428142"/>
                        </a:lnTo>
                        <a:cubicBezTo>
                          <a:pt x="624351" y="470383"/>
                          <a:pt x="657262" y="572891"/>
                          <a:pt x="681392" y="605867"/>
                        </a:cubicBezTo>
                        <a:cubicBezTo>
                          <a:pt x="661262" y="633347"/>
                          <a:pt x="637069" y="657604"/>
                          <a:pt x="609971" y="678276"/>
                        </a:cubicBezTo>
                        <a:cubicBezTo>
                          <a:pt x="490182" y="606912"/>
                          <a:pt x="432250" y="725472"/>
                          <a:pt x="433343" y="752676"/>
                        </a:cubicBezTo>
                        <a:cubicBezTo>
                          <a:pt x="415688" y="755669"/>
                          <a:pt x="397571" y="756980"/>
                          <a:pt x="379147" y="756980"/>
                        </a:cubicBezTo>
                        <a:cubicBezTo>
                          <a:pt x="361095" y="756980"/>
                          <a:pt x="343337" y="755721"/>
                          <a:pt x="326009" y="752919"/>
                        </a:cubicBezTo>
                        <a:cubicBezTo>
                          <a:pt x="291356" y="619263"/>
                          <a:pt x="174568" y="656041"/>
                          <a:pt x="148053" y="677661"/>
                        </a:cubicBezTo>
                        <a:cubicBezTo>
                          <a:pt x="120709" y="657227"/>
                          <a:pt x="96640" y="632755"/>
                          <a:pt x="76207" y="605400"/>
                        </a:cubicBezTo>
                        <a:cubicBezTo>
                          <a:pt x="148133" y="486698"/>
                          <a:pt x="33095" y="428427"/>
                          <a:pt x="3583" y="427819"/>
                        </a:cubicBezTo>
                        <a:cubicBezTo>
                          <a:pt x="1088" y="411708"/>
                          <a:pt x="0" y="395226"/>
                          <a:pt x="0" y="378490"/>
                        </a:cubicBezTo>
                        <a:cubicBezTo>
                          <a:pt x="0" y="361974"/>
                          <a:pt x="1060" y="345704"/>
                          <a:pt x="3334" y="329774"/>
                        </a:cubicBezTo>
                        <a:cubicBezTo>
                          <a:pt x="136249" y="302903"/>
                          <a:pt x="98685" y="172922"/>
                          <a:pt x="81117" y="158819"/>
                        </a:cubicBezTo>
                        <a:lnTo>
                          <a:pt x="74820" y="153831"/>
                        </a:lnTo>
                        <a:cubicBezTo>
                          <a:pt x="94549" y="126372"/>
                          <a:pt x="118301" y="102054"/>
                          <a:pt x="144938" y="81231"/>
                        </a:cubicBezTo>
                        <a:cubicBezTo>
                          <a:pt x="270457" y="158737"/>
                          <a:pt x="329306" y="29323"/>
                          <a:pt x="324956" y="6627"/>
                        </a:cubicBezTo>
                        <a:lnTo>
                          <a:pt x="324509" y="4373"/>
                        </a:lnTo>
                        <a:cubicBezTo>
                          <a:pt x="342304" y="1334"/>
                          <a:pt x="360569" y="0"/>
                          <a:pt x="379147" y="0"/>
                        </a:cubicBezTo>
                        <a:close/>
                      </a:path>
                    </a:pathLst>
                  </a:custGeom>
                  <a:solidFill>
                    <a:srgbClr val="B9BAE9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ot="0" spcFirstLastPara="0" vertOverflow="overflow" horzOverflow="overflow" vert="horz" wrap="square" lIns="84406" tIns="42203" rIns="42203" bIns="84406" numCol="1" spcCol="0" rtlCol="0" fromWordArt="0" anchor="b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843805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662" b="0" i="0" u="none" strike="noStrike" kern="0" cap="none" spc="-46" normalizeH="0" baseline="0" noProof="0" dirty="0" smtClean="0">
                      <a:ln>
                        <a:noFill/>
                      </a:ln>
                      <a:gradFill>
                        <a:gsLst>
                          <a:gs pos="0">
                            <a:srgbClr val="FFFFFF"/>
                          </a:gs>
                          <a:gs pos="100000">
                            <a:srgbClr val="FFFFFF"/>
                          </a:gs>
                        </a:gsLst>
                        <a:lin ang="5400000" scaled="0"/>
                      </a:gradFill>
                      <a:effectLst/>
                      <a:uLnTx/>
                      <a:uFillTx/>
                      <a:latin typeface="Segoe UI" pitchFamily="34" charset="0"/>
                      <a:ea typeface="Segoe UI" pitchFamily="34" charset="0"/>
                      <a:cs typeface="Segoe UI" pitchFamily="34" charset="0"/>
                    </a:endParaRPr>
                  </a:p>
                </p:txBody>
              </p:sp>
            </p:grpSp>
          </p:grpSp>
        </p:grpSp>
        <p:grpSp>
          <p:nvGrpSpPr>
            <p:cNvPr id="885" name="Group 884"/>
            <p:cNvGrpSpPr/>
            <p:nvPr/>
          </p:nvGrpSpPr>
          <p:grpSpPr bwMode="gray">
            <a:xfrm>
              <a:off x="6742903" y="2593367"/>
              <a:ext cx="188718" cy="188718"/>
              <a:chOff x="7844637" y="3042922"/>
              <a:chExt cx="949960" cy="949958"/>
            </a:xfrm>
          </p:grpSpPr>
          <p:grpSp>
            <p:nvGrpSpPr>
              <p:cNvPr id="908" name="Group 907"/>
              <p:cNvGrpSpPr/>
              <p:nvPr/>
            </p:nvGrpSpPr>
            <p:grpSpPr bwMode="gray">
              <a:xfrm>
                <a:off x="7844637" y="3042922"/>
                <a:ext cx="949960" cy="949958"/>
                <a:chOff x="7844637" y="3042922"/>
                <a:chExt cx="949960" cy="949958"/>
              </a:xfrm>
            </p:grpSpPr>
            <p:sp>
              <p:nvSpPr>
                <p:cNvPr id="910" name="Oval 909"/>
                <p:cNvSpPr/>
                <p:nvPr/>
              </p:nvSpPr>
              <p:spPr bwMode="gray">
                <a:xfrm>
                  <a:off x="7844637" y="3042922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11" name="Oval 910"/>
                <p:cNvSpPr/>
                <p:nvPr/>
              </p:nvSpPr>
              <p:spPr bwMode="gray">
                <a:xfrm>
                  <a:off x="7919333" y="3117618"/>
                  <a:ext cx="800568" cy="800567"/>
                </a:xfrm>
                <a:prstGeom prst="ellipse">
                  <a:avLst/>
                </a:prstGeom>
                <a:solidFill>
                  <a:srgbClr val="0066CC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09" name="Freeform 908"/>
              <p:cNvSpPr/>
              <p:nvPr/>
            </p:nvSpPr>
            <p:spPr bwMode="gray">
              <a:xfrm>
                <a:off x="8081449" y="3192562"/>
                <a:ext cx="492973" cy="539565"/>
              </a:xfrm>
              <a:custGeom>
                <a:avLst/>
                <a:gdLst>
                  <a:gd name="connsiteX0" fmla="*/ 931340 w 1293073"/>
                  <a:gd name="connsiteY0" fmla="*/ 415895 h 1415284"/>
                  <a:gd name="connsiteX1" fmla="*/ 885620 w 1293073"/>
                  <a:gd name="connsiteY1" fmla="*/ 461615 h 1415284"/>
                  <a:gd name="connsiteX2" fmla="*/ 931340 w 1293073"/>
                  <a:gd name="connsiteY2" fmla="*/ 507335 h 1415284"/>
                  <a:gd name="connsiteX3" fmla="*/ 977060 w 1293073"/>
                  <a:gd name="connsiteY3" fmla="*/ 461615 h 1415284"/>
                  <a:gd name="connsiteX4" fmla="*/ 931340 w 1293073"/>
                  <a:gd name="connsiteY4" fmla="*/ 415895 h 1415284"/>
                  <a:gd name="connsiteX5" fmla="*/ 367253 w 1293073"/>
                  <a:gd name="connsiteY5" fmla="*/ 377291 h 1415284"/>
                  <a:gd name="connsiteX6" fmla="*/ 321533 w 1293073"/>
                  <a:gd name="connsiteY6" fmla="*/ 423011 h 1415284"/>
                  <a:gd name="connsiteX7" fmla="*/ 367253 w 1293073"/>
                  <a:gd name="connsiteY7" fmla="*/ 468731 h 1415284"/>
                  <a:gd name="connsiteX8" fmla="*/ 412973 w 1293073"/>
                  <a:gd name="connsiteY8" fmla="*/ 423011 h 1415284"/>
                  <a:gd name="connsiteX9" fmla="*/ 367253 w 1293073"/>
                  <a:gd name="connsiteY9" fmla="*/ 377291 h 1415284"/>
                  <a:gd name="connsiteX10" fmla="*/ 1089685 w 1293073"/>
                  <a:gd name="connsiteY10" fmla="*/ 340720 h 1415284"/>
                  <a:gd name="connsiteX11" fmla="*/ 1293073 w 1293073"/>
                  <a:gd name="connsiteY11" fmla="*/ 1197580 h 1415284"/>
                  <a:gd name="connsiteX12" fmla="*/ 1147551 w 1293073"/>
                  <a:gd name="connsiteY12" fmla="*/ 1359833 h 1415284"/>
                  <a:gd name="connsiteX13" fmla="*/ 658035 w 1293073"/>
                  <a:gd name="connsiteY13" fmla="*/ 79417 h 1415284"/>
                  <a:gd name="connsiteX14" fmla="*/ 520484 w 1293073"/>
                  <a:gd name="connsiteY14" fmla="*/ 121952 h 1415284"/>
                  <a:gd name="connsiteX15" fmla="*/ 412770 w 1293073"/>
                  <a:gd name="connsiteY15" fmla="*/ 287823 h 1415284"/>
                  <a:gd name="connsiteX16" fmla="*/ 409112 w 1293073"/>
                  <a:gd name="connsiteY16" fmla="*/ 320104 h 1415284"/>
                  <a:gd name="connsiteX17" fmla="*/ 896009 w 1293073"/>
                  <a:gd name="connsiteY17" fmla="*/ 337604 h 1415284"/>
                  <a:gd name="connsiteX18" fmla="*/ 893234 w 1293073"/>
                  <a:gd name="connsiteY18" fmla="*/ 300041 h 1415284"/>
                  <a:gd name="connsiteX19" fmla="*/ 793479 w 1293073"/>
                  <a:gd name="connsiteY19" fmla="*/ 129831 h 1415284"/>
                  <a:gd name="connsiteX20" fmla="*/ 658035 w 1293073"/>
                  <a:gd name="connsiteY20" fmla="*/ 79417 h 1415284"/>
                  <a:gd name="connsiteX21" fmla="*/ 659969 w 1293073"/>
                  <a:gd name="connsiteY21" fmla="*/ 114 h 1415284"/>
                  <a:gd name="connsiteX22" fmla="*/ 835494 w 1293073"/>
                  <a:gd name="connsiteY22" fmla="*/ 62205 h 1415284"/>
                  <a:gd name="connsiteX23" fmla="*/ 970660 w 1293073"/>
                  <a:gd name="connsiteY23" fmla="*/ 282687 h 1415284"/>
                  <a:gd name="connsiteX24" fmla="*/ 975081 w 1293073"/>
                  <a:gd name="connsiteY24" fmla="*/ 340446 h 1415284"/>
                  <a:gd name="connsiteX25" fmla="*/ 1064394 w 1293073"/>
                  <a:gd name="connsiteY25" fmla="*/ 343656 h 1415284"/>
                  <a:gd name="connsiteX26" fmla="*/ 1130919 w 1293073"/>
                  <a:gd name="connsiteY26" fmla="*/ 1415284 h 1415284"/>
                  <a:gd name="connsiteX27" fmla="*/ 0 w 1293073"/>
                  <a:gd name="connsiteY27" fmla="*/ 1298311 h 1415284"/>
                  <a:gd name="connsiteX28" fmla="*/ 224521 w 1293073"/>
                  <a:gd name="connsiteY28" fmla="*/ 313469 h 1415284"/>
                  <a:gd name="connsiteX29" fmla="*/ 330299 w 1293073"/>
                  <a:gd name="connsiteY29" fmla="*/ 317271 h 1415284"/>
                  <a:gd name="connsiteX30" fmla="*/ 336264 w 1293073"/>
                  <a:gd name="connsiteY30" fmla="*/ 266733 h 1415284"/>
                  <a:gd name="connsiteX31" fmla="*/ 481808 w 1293073"/>
                  <a:gd name="connsiteY31" fmla="*/ 52391 h 1415284"/>
                  <a:gd name="connsiteX32" fmla="*/ 659969 w 1293073"/>
                  <a:gd name="connsiteY32" fmla="*/ 114 h 141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293073" h="1415284">
                    <a:moveTo>
                      <a:pt x="931340" y="415895"/>
                    </a:moveTo>
                    <a:cubicBezTo>
                      <a:pt x="906090" y="415895"/>
                      <a:pt x="885620" y="436365"/>
                      <a:pt x="885620" y="461615"/>
                    </a:cubicBezTo>
                    <a:cubicBezTo>
                      <a:pt x="885620" y="486865"/>
                      <a:pt x="906090" y="507335"/>
                      <a:pt x="931340" y="507335"/>
                    </a:cubicBezTo>
                    <a:cubicBezTo>
                      <a:pt x="956590" y="507335"/>
                      <a:pt x="977060" y="486865"/>
                      <a:pt x="977060" y="461615"/>
                    </a:cubicBezTo>
                    <a:cubicBezTo>
                      <a:pt x="977060" y="436365"/>
                      <a:pt x="956590" y="415895"/>
                      <a:pt x="931340" y="415895"/>
                    </a:cubicBezTo>
                    <a:close/>
                    <a:moveTo>
                      <a:pt x="367253" y="377291"/>
                    </a:moveTo>
                    <a:cubicBezTo>
                      <a:pt x="342003" y="377291"/>
                      <a:pt x="321533" y="397761"/>
                      <a:pt x="321533" y="423011"/>
                    </a:cubicBezTo>
                    <a:cubicBezTo>
                      <a:pt x="321533" y="448261"/>
                      <a:pt x="342003" y="468731"/>
                      <a:pt x="367253" y="468731"/>
                    </a:cubicBezTo>
                    <a:cubicBezTo>
                      <a:pt x="392503" y="468731"/>
                      <a:pt x="412973" y="448261"/>
                      <a:pt x="412973" y="423011"/>
                    </a:cubicBezTo>
                    <a:cubicBezTo>
                      <a:pt x="412973" y="397761"/>
                      <a:pt x="392503" y="377291"/>
                      <a:pt x="367253" y="377291"/>
                    </a:cubicBezTo>
                    <a:close/>
                    <a:moveTo>
                      <a:pt x="1089685" y="340720"/>
                    </a:moveTo>
                    <a:lnTo>
                      <a:pt x="1293073" y="1197580"/>
                    </a:lnTo>
                    <a:lnTo>
                      <a:pt x="1147551" y="1359833"/>
                    </a:lnTo>
                    <a:close/>
                    <a:moveTo>
                      <a:pt x="658035" y="79417"/>
                    </a:moveTo>
                    <a:cubicBezTo>
                      <a:pt x="610465" y="78044"/>
                      <a:pt x="562545" y="92162"/>
                      <a:pt x="520484" y="121952"/>
                    </a:cubicBezTo>
                    <a:cubicBezTo>
                      <a:pt x="466504" y="160184"/>
                      <a:pt x="428432" y="219897"/>
                      <a:pt x="412770" y="287823"/>
                    </a:cubicBezTo>
                    <a:lnTo>
                      <a:pt x="409112" y="320104"/>
                    </a:lnTo>
                    <a:lnTo>
                      <a:pt x="896009" y="337604"/>
                    </a:lnTo>
                    <a:lnTo>
                      <a:pt x="893234" y="300041"/>
                    </a:lnTo>
                    <a:cubicBezTo>
                      <a:pt x="880402" y="231939"/>
                      <a:pt x="845218" y="170779"/>
                      <a:pt x="793479" y="129831"/>
                    </a:cubicBezTo>
                    <a:cubicBezTo>
                      <a:pt x="752823" y="97654"/>
                      <a:pt x="705604" y="80790"/>
                      <a:pt x="658035" y="79417"/>
                    </a:cubicBezTo>
                    <a:close/>
                    <a:moveTo>
                      <a:pt x="659969" y="114"/>
                    </a:moveTo>
                    <a:cubicBezTo>
                      <a:pt x="721476" y="1820"/>
                      <a:pt x="782544" y="22588"/>
                      <a:pt x="835494" y="62205"/>
                    </a:cubicBezTo>
                    <a:cubicBezTo>
                      <a:pt x="905513" y="114591"/>
                      <a:pt x="953266" y="193999"/>
                      <a:pt x="970660" y="282687"/>
                    </a:cubicBezTo>
                    <a:lnTo>
                      <a:pt x="975081" y="340446"/>
                    </a:lnTo>
                    <a:lnTo>
                      <a:pt x="1064394" y="343656"/>
                    </a:lnTo>
                    <a:lnTo>
                      <a:pt x="1130919" y="1415284"/>
                    </a:lnTo>
                    <a:lnTo>
                      <a:pt x="0" y="1298311"/>
                    </a:lnTo>
                    <a:lnTo>
                      <a:pt x="224521" y="313469"/>
                    </a:lnTo>
                    <a:lnTo>
                      <a:pt x="330299" y="317271"/>
                    </a:lnTo>
                    <a:lnTo>
                      <a:pt x="336264" y="266733"/>
                    </a:lnTo>
                    <a:cubicBezTo>
                      <a:pt x="357473" y="178466"/>
                      <a:pt x="408994" y="101143"/>
                      <a:pt x="481808" y="52391"/>
                    </a:cubicBezTo>
                    <a:cubicBezTo>
                      <a:pt x="536516" y="15762"/>
                      <a:pt x="598462" y="-1593"/>
                      <a:pt x="659969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86" name="Group 885"/>
            <p:cNvGrpSpPr/>
            <p:nvPr/>
          </p:nvGrpSpPr>
          <p:grpSpPr bwMode="gray">
            <a:xfrm>
              <a:off x="6887701" y="2931025"/>
              <a:ext cx="188718" cy="188718"/>
              <a:chOff x="6731050" y="3759441"/>
              <a:chExt cx="949960" cy="949958"/>
            </a:xfrm>
          </p:grpSpPr>
          <p:grpSp>
            <p:nvGrpSpPr>
              <p:cNvPr id="902" name="Group 901"/>
              <p:cNvGrpSpPr/>
              <p:nvPr/>
            </p:nvGrpSpPr>
            <p:grpSpPr bwMode="gray">
              <a:xfrm>
                <a:off x="6731050" y="3759441"/>
                <a:ext cx="949960" cy="949958"/>
                <a:chOff x="7887708" y="3050570"/>
                <a:chExt cx="949960" cy="949958"/>
              </a:xfrm>
            </p:grpSpPr>
            <p:sp>
              <p:nvSpPr>
                <p:cNvPr id="906" name="Oval 905"/>
                <p:cNvSpPr/>
                <p:nvPr/>
              </p:nvSpPr>
              <p:spPr bwMode="gray">
                <a:xfrm>
                  <a:off x="7887708" y="3050570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907" name="Oval 906"/>
                <p:cNvSpPr/>
                <p:nvPr/>
              </p:nvSpPr>
              <p:spPr bwMode="gray">
                <a:xfrm>
                  <a:off x="7962407" y="3125266"/>
                  <a:ext cx="800568" cy="800567"/>
                </a:xfrm>
                <a:prstGeom prst="ellipse">
                  <a:avLst/>
                </a:prstGeom>
                <a:solidFill>
                  <a:srgbClr val="244296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903" name="Freeform 902"/>
              <p:cNvSpPr>
                <a:spLocks/>
              </p:cNvSpPr>
              <p:nvPr/>
            </p:nvSpPr>
            <p:spPr bwMode="gray">
              <a:xfrm>
                <a:off x="6855676" y="4104537"/>
                <a:ext cx="714256" cy="191220"/>
              </a:xfrm>
              <a:custGeom>
                <a:avLst/>
                <a:gdLst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475572 w 2932955"/>
                  <a:gd name="connsiteY22" fmla="*/ 130490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  <a:gd name="connsiteX0" fmla="*/ 1326195 w 2932955"/>
                  <a:gd name="connsiteY0" fmla="*/ 359 h 785207"/>
                  <a:gd name="connsiteX1" fmla="*/ 1720948 w 2932955"/>
                  <a:gd name="connsiteY1" fmla="*/ 28608 h 785207"/>
                  <a:gd name="connsiteX2" fmla="*/ 2054437 w 2932955"/>
                  <a:gd name="connsiteY2" fmla="*/ 245166 h 785207"/>
                  <a:gd name="connsiteX3" fmla="*/ 2760717 w 2932955"/>
                  <a:gd name="connsiteY3" fmla="*/ 396869 h 785207"/>
                  <a:gd name="connsiteX4" fmla="*/ 2922621 w 2932955"/>
                  <a:gd name="connsiteY4" fmla="*/ 663248 h 785207"/>
                  <a:gd name="connsiteX5" fmla="*/ 2783911 w 2932955"/>
                  <a:gd name="connsiteY5" fmla="*/ 785207 h 785207"/>
                  <a:gd name="connsiteX6" fmla="*/ 2671331 w 2932955"/>
                  <a:gd name="connsiteY6" fmla="*/ 785015 h 785207"/>
                  <a:gd name="connsiteX7" fmla="*/ 2682243 w 2932955"/>
                  <a:gd name="connsiteY7" fmla="*/ 730966 h 785207"/>
                  <a:gd name="connsiteX8" fmla="*/ 2377443 w 2932955"/>
                  <a:gd name="connsiteY8" fmla="*/ 426166 h 785207"/>
                  <a:gd name="connsiteX9" fmla="*/ 2072643 w 2932955"/>
                  <a:gd name="connsiteY9" fmla="*/ 730966 h 785207"/>
                  <a:gd name="connsiteX10" fmla="*/ 2082769 w 2932955"/>
                  <a:gd name="connsiteY10" fmla="*/ 781123 h 785207"/>
                  <a:gd name="connsiteX11" fmla="*/ 873797 w 2932955"/>
                  <a:gd name="connsiteY11" fmla="*/ 781123 h 785207"/>
                  <a:gd name="connsiteX12" fmla="*/ 883923 w 2932955"/>
                  <a:gd name="connsiteY12" fmla="*/ 730965 h 785207"/>
                  <a:gd name="connsiteX13" fmla="*/ 579123 w 2932955"/>
                  <a:gd name="connsiteY13" fmla="*/ 426165 h 785207"/>
                  <a:gd name="connsiteX14" fmla="*/ 274323 w 2932955"/>
                  <a:gd name="connsiteY14" fmla="*/ 730965 h 785207"/>
                  <a:gd name="connsiteX15" fmla="*/ 277299 w 2932955"/>
                  <a:gd name="connsiteY15" fmla="*/ 745705 h 785207"/>
                  <a:gd name="connsiteX16" fmla="*/ 194109 w 2932955"/>
                  <a:gd name="connsiteY16" fmla="*/ 730272 h 785207"/>
                  <a:gd name="connsiteX17" fmla="*/ 69050 w 2932955"/>
                  <a:gd name="connsiteY17" fmla="*/ 697395 h 785207"/>
                  <a:gd name="connsiteX18" fmla="*/ 1297 w 2932955"/>
                  <a:gd name="connsiteY18" fmla="*/ 526180 h 785207"/>
                  <a:gd name="connsiteX19" fmla="*/ 31507 w 2932955"/>
                  <a:gd name="connsiteY19" fmla="*/ 400547 h 785207"/>
                  <a:gd name="connsiteX20" fmla="*/ 42653 w 2932955"/>
                  <a:gd name="connsiteY20" fmla="*/ 286511 h 785207"/>
                  <a:gd name="connsiteX21" fmla="*/ 99261 w 2932955"/>
                  <a:gd name="connsiteY21" fmla="*/ 198944 h 785207"/>
                  <a:gd name="connsiteX22" fmla="*/ 504903 w 2932955"/>
                  <a:gd name="connsiteY22" fmla="*/ 159821 h 785207"/>
                  <a:gd name="connsiteX23" fmla="*/ 960700 w 2932955"/>
                  <a:gd name="connsiteY23" fmla="*/ 2458 h 785207"/>
                  <a:gd name="connsiteX24" fmla="*/ 1326195 w 2932955"/>
                  <a:gd name="connsiteY24" fmla="*/ 359 h 78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932955" h="785207">
                    <a:moveTo>
                      <a:pt x="1326195" y="359"/>
                    </a:moveTo>
                    <a:cubicBezTo>
                      <a:pt x="1475598" y="1838"/>
                      <a:pt x="1629877" y="8376"/>
                      <a:pt x="1720948" y="28608"/>
                    </a:cubicBezTo>
                    <a:cubicBezTo>
                      <a:pt x="1903384" y="69073"/>
                      <a:pt x="1881093" y="183749"/>
                      <a:pt x="2054437" y="245166"/>
                    </a:cubicBezTo>
                    <a:cubicBezTo>
                      <a:pt x="2227780" y="306503"/>
                      <a:pt x="2606438" y="354965"/>
                      <a:pt x="2760717" y="396869"/>
                    </a:cubicBezTo>
                    <a:cubicBezTo>
                      <a:pt x="2907663" y="434774"/>
                      <a:pt x="2956645" y="400547"/>
                      <a:pt x="2922621" y="663248"/>
                    </a:cubicBezTo>
                    <a:cubicBezTo>
                      <a:pt x="2911403" y="765989"/>
                      <a:pt x="2893749" y="783082"/>
                      <a:pt x="2783911" y="785207"/>
                    </a:cubicBezTo>
                    <a:lnTo>
                      <a:pt x="2671331" y="785015"/>
                    </a:lnTo>
                    <a:lnTo>
                      <a:pt x="2682243" y="730966"/>
                    </a:lnTo>
                    <a:cubicBezTo>
                      <a:pt x="2682243" y="562630"/>
                      <a:pt x="2545779" y="426166"/>
                      <a:pt x="2377443" y="426166"/>
                    </a:cubicBezTo>
                    <a:cubicBezTo>
                      <a:pt x="2209107" y="426166"/>
                      <a:pt x="2072643" y="562630"/>
                      <a:pt x="2072643" y="730966"/>
                    </a:cubicBezTo>
                    <a:lnTo>
                      <a:pt x="2082769" y="781123"/>
                    </a:lnTo>
                    <a:lnTo>
                      <a:pt x="873797" y="781123"/>
                    </a:lnTo>
                    <a:lnTo>
                      <a:pt x="883923" y="730965"/>
                    </a:lnTo>
                    <a:cubicBezTo>
                      <a:pt x="883923" y="562629"/>
                      <a:pt x="747459" y="426165"/>
                      <a:pt x="579123" y="426165"/>
                    </a:cubicBezTo>
                    <a:cubicBezTo>
                      <a:pt x="410787" y="426165"/>
                      <a:pt x="274323" y="562629"/>
                      <a:pt x="274323" y="730965"/>
                    </a:cubicBezTo>
                    <a:lnTo>
                      <a:pt x="277299" y="745705"/>
                    </a:lnTo>
                    <a:lnTo>
                      <a:pt x="194109" y="730272"/>
                    </a:lnTo>
                    <a:cubicBezTo>
                      <a:pt x="150810" y="722166"/>
                      <a:pt x="108500" y="712629"/>
                      <a:pt x="69050" y="697395"/>
                    </a:cubicBezTo>
                    <a:cubicBezTo>
                      <a:pt x="-2517" y="670765"/>
                      <a:pt x="-2517" y="590875"/>
                      <a:pt x="1297" y="526180"/>
                    </a:cubicBezTo>
                    <a:cubicBezTo>
                      <a:pt x="1297" y="484275"/>
                      <a:pt x="23881" y="442451"/>
                      <a:pt x="31507" y="400547"/>
                    </a:cubicBezTo>
                    <a:cubicBezTo>
                      <a:pt x="38840" y="362562"/>
                      <a:pt x="50279" y="320738"/>
                      <a:pt x="42653" y="286511"/>
                    </a:cubicBezTo>
                    <a:cubicBezTo>
                      <a:pt x="31507" y="229412"/>
                      <a:pt x="54092" y="206541"/>
                      <a:pt x="99261" y="198944"/>
                    </a:cubicBezTo>
                    <a:cubicBezTo>
                      <a:pt x="129178" y="191267"/>
                      <a:pt x="361477" y="192528"/>
                      <a:pt x="504903" y="159821"/>
                    </a:cubicBezTo>
                    <a:cubicBezTo>
                      <a:pt x="648330" y="127113"/>
                      <a:pt x="738667" y="6217"/>
                      <a:pt x="960700" y="2458"/>
                    </a:cubicBezTo>
                    <a:cubicBezTo>
                      <a:pt x="1032266" y="2458"/>
                      <a:pt x="1176793" y="-1121"/>
                      <a:pt x="1326195" y="35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62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04" name="Freeform 903"/>
              <p:cNvSpPr/>
              <p:nvPr/>
            </p:nvSpPr>
            <p:spPr bwMode="gray">
              <a:xfrm>
                <a:off x="6935471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905" name="Freeform 904"/>
              <p:cNvSpPr/>
              <p:nvPr/>
            </p:nvSpPr>
            <p:spPr bwMode="gray">
              <a:xfrm>
                <a:off x="7373103" y="4217676"/>
                <a:ext cx="122475" cy="122475"/>
              </a:xfrm>
              <a:custGeom>
                <a:avLst/>
                <a:gdLst>
                  <a:gd name="connsiteX0" fmla="*/ 251460 w 502920"/>
                  <a:gd name="connsiteY0" fmla="*/ 140335 h 502920"/>
                  <a:gd name="connsiteX1" fmla="*/ 140335 w 502920"/>
                  <a:gd name="connsiteY1" fmla="*/ 251460 h 502920"/>
                  <a:gd name="connsiteX2" fmla="*/ 251460 w 502920"/>
                  <a:gd name="connsiteY2" fmla="*/ 362585 h 502920"/>
                  <a:gd name="connsiteX3" fmla="*/ 362585 w 502920"/>
                  <a:gd name="connsiteY3" fmla="*/ 251460 h 502920"/>
                  <a:gd name="connsiteX4" fmla="*/ 251460 w 502920"/>
                  <a:gd name="connsiteY4" fmla="*/ 140335 h 502920"/>
                  <a:gd name="connsiteX5" fmla="*/ 251460 w 502920"/>
                  <a:gd name="connsiteY5" fmla="*/ 0 h 502920"/>
                  <a:gd name="connsiteX6" fmla="*/ 502920 w 502920"/>
                  <a:gd name="connsiteY6" fmla="*/ 251460 h 502920"/>
                  <a:gd name="connsiteX7" fmla="*/ 251460 w 502920"/>
                  <a:gd name="connsiteY7" fmla="*/ 502920 h 502920"/>
                  <a:gd name="connsiteX8" fmla="*/ 0 w 502920"/>
                  <a:gd name="connsiteY8" fmla="*/ 251460 h 502920"/>
                  <a:gd name="connsiteX9" fmla="*/ 251460 w 502920"/>
                  <a:gd name="connsiteY9" fmla="*/ 0 h 502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2920" h="502920">
                    <a:moveTo>
                      <a:pt x="251460" y="140335"/>
                    </a:moveTo>
                    <a:cubicBezTo>
                      <a:pt x="190087" y="140335"/>
                      <a:pt x="140335" y="190087"/>
                      <a:pt x="140335" y="251460"/>
                    </a:cubicBezTo>
                    <a:cubicBezTo>
                      <a:pt x="140335" y="312833"/>
                      <a:pt x="190087" y="362585"/>
                      <a:pt x="251460" y="362585"/>
                    </a:cubicBezTo>
                    <a:cubicBezTo>
                      <a:pt x="312833" y="362585"/>
                      <a:pt x="362585" y="312833"/>
                      <a:pt x="362585" y="251460"/>
                    </a:cubicBezTo>
                    <a:cubicBezTo>
                      <a:pt x="362585" y="190087"/>
                      <a:pt x="312833" y="140335"/>
                      <a:pt x="251460" y="140335"/>
                    </a:cubicBezTo>
                    <a:close/>
                    <a:moveTo>
                      <a:pt x="251460" y="0"/>
                    </a:moveTo>
                    <a:cubicBezTo>
                      <a:pt x="390338" y="0"/>
                      <a:pt x="502920" y="112582"/>
                      <a:pt x="502920" y="251460"/>
                    </a:cubicBezTo>
                    <a:cubicBezTo>
                      <a:pt x="502920" y="390338"/>
                      <a:pt x="390338" y="502920"/>
                      <a:pt x="251460" y="502920"/>
                    </a:cubicBezTo>
                    <a:cubicBezTo>
                      <a:pt x="112582" y="502920"/>
                      <a:pt x="0" y="390338"/>
                      <a:pt x="0" y="251460"/>
                    </a:cubicBezTo>
                    <a:cubicBezTo>
                      <a:pt x="0" y="112582"/>
                      <a:pt x="112582" y="0"/>
                      <a:pt x="25146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  <p:grpSp>
          <p:nvGrpSpPr>
            <p:cNvPr id="887" name="Group 886"/>
            <p:cNvGrpSpPr/>
            <p:nvPr/>
          </p:nvGrpSpPr>
          <p:grpSpPr bwMode="gray">
            <a:xfrm>
              <a:off x="6581736" y="2953518"/>
              <a:ext cx="188718" cy="188718"/>
              <a:chOff x="7844637" y="3042922"/>
              <a:chExt cx="949960" cy="949958"/>
            </a:xfrm>
          </p:grpSpPr>
          <p:sp>
            <p:nvSpPr>
              <p:cNvPr id="893" name="Oval 892"/>
              <p:cNvSpPr/>
              <p:nvPr/>
            </p:nvSpPr>
            <p:spPr bwMode="gray">
              <a:xfrm>
                <a:off x="7844637" y="3042922"/>
                <a:ext cx="949960" cy="949958"/>
              </a:xfrm>
              <a:prstGeom prst="ellipse">
                <a:avLst/>
              </a:prstGeom>
              <a:solidFill>
                <a:srgbClr val="FFFFFF">
                  <a:alpha val="75000"/>
                </a:srgb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dist="38100" dir="2700000" algn="tl" rotWithShape="0">
                  <a:prstClr val="black">
                    <a:alpha val="5000"/>
                  </a:prstClr>
                </a:outerShdw>
              </a:effectLst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sp>
            <p:nvSpPr>
              <p:cNvPr id="894" name="Oval 893"/>
              <p:cNvSpPr/>
              <p:nvPr/>
            </p:nvSpPr>
            <p:spPr bwMode="gray">
              <a:xfrm>
                <a:off x="7919333" y="3117618"/>
                <a:ext cx="800568" cy="800567"/>
              </a:xfrm>
              <a:prstGeom prst="ellipse">
                <a:avLst/>
              </a:prstGeom>
              <a:solidFill>
                <a:srgbClr val="91B0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  <p:grpSp>
            <p:nvGrpSpPr>
              <p:cNvPr id="895" name="Group 894"/>
              <p:cNvGrpSpPr/>
              <p:nvPr/>
            </p:nvGrpSpPr>
            <p:grpSpPr bwMode="gray">
              <a:xfrm>
                <a:off x="8013437" y="3195347"/>
                <a:ext cx="612360" cy="645108"/>
                <a:chOff x="9996579" y="3416297"/>
                <a:chExt cx="754607" cy="794965"/>
              </a:xfrm>
              <a:solidFill>
                <a:srgbClr val="FFFFFF"/>
              </a:solidFill>
            </p:grpSpPr>
            <p:sp>
              <p:nvSpPr>
                <p:cNvPr id="896" name="Freeform 895"/>
                <p:cNvSpPr>
                  <a:spLocks/>
                </p:cNvSpPr>
                <p:nvPr/>
              </p:nvSpPr>
              <p:spPr bwMode="gray">
                <a:xfrm>
                  <a:off x="10049037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897" name="Freeform 896"/>
                <p:cNvSpPr>
                  <a:spLocks/>
                </p:cNvSpPr>
                <p:nvPr/>
              </p:nvSpPr>
              <p:spPr bwMode="gray">
                <a:xfrm>
                  <a:off x="9996579" y="3622101"/>
                  <a:ext cx="197731" cy="480208"/>
                </a:xfrm>
                <a:custGeom>
                  <a:avLst/>
                  <a:gdLst>
                    <a:gd name="T0" fmla="*/ 20 w 74"/>
                    <a:gd name="T1" fmla="*/ 0 h 179"/>
                    <a:gd name="T2" fmla="*/ 20 w 74"/>
                    <a:gd name="T3" fmla="*/ 0 h 179"/>
                    <a:gd name="T4" fmla="*/ 68 w 74"/>
                    <a:gd name="T5" fmla="*/ 0 h 179"/>
                    <a:gd name="T6" fmla="*/ 62 w 74"/>
                    <a:gd name="T7" fmla="*/ 19 h 179"/>
                    <a:gd name="T8" fmla="*/ 62 w 74"/>
                    <a:gd name="T9" fmla="*/ 90 h 179"/>
                    <a:gd name="T10" fmla="*/ 74 w 74"/>
                    <a:gd name="T11" fmla="*/ 114 h 179"/>
                    <a:gd name="T12" fmla="*/ 74 w 74"/>
                    <a:gd name="T13" fmla="*/ 164 h 179"/>
                    <a:gd name="T14" fmla="*/ 59 w 74"/>
                    <a:gd name="T15" fmla="*/ 179 h 179"/>
                    <a:gd name="T16" fmla="*/ 45 w 74"/>
                    <a:gd name="T17" fmla="*/ 167 h 179"/>
                    <a:gd name="T18" fmla="*/ 30 w 74"/>
                    <a:gd name="T19" fmla="*/ 179 h 179"/>
                    <a:gd name="T20" fmla="*/ 15 w 74"/>
                    <a:gd name="T21" fmla="*/ 164 h 179"/>
                    <a:gd name="T22" fmla="*/ 15 w 74"/>
                    <a:gd name="T23" fmla="*/ 94 h 179"/>
                    <a:gd name="T24" fmla="*/ 0 w 74"/>
                    <a:gd name="T25" fmla="*/ 76 h 179"/>
                    <a:gd name="T26" fmla="*/ 0 w 74"/>
                    <a:gd name="T27" fmla="*/ 20 h 179"/>
                    <a:gd name="T28" fmla="*/ 20 w 74"/>
                    <a:gd name="T29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20" y="0"/>
                      </a:moveTo>
                      <a:lnTo>
                        <a:pt x="20" y="0"/>
                      </a:lnTo>
                      <a:lnTo>
                        <a:pt x="68" y="0"/>
                      </a:lnTo>
                      <a:cubicBezTo>
                        <a:pt x="64" y="5"/>
                        <a:pt x="62" y="12"/>
                        <a:pt x="62" y="19"/>
                      </a:cubicBezTo>
                      <a:lnTo>
                        <a:pt x="62" y="90"/>
                      </a:lnTo>
                      <a:cubicBezTo>
                        <a:pt x="62" y="100"/>
                        <a:pt x="67" y="109"/>
                        <a:pt x="74" y="114"/>
                      </a:cubicBezTo>
                      <a:lnTo>
                        <a:pt x="74" y="164"/>
                      </a:lnTo>
                      <a:cubicBezTo>
                        <a:pt x="74" y="172"/>
                        <a:pt x="68" y="179"/>
                        <a:pt x="59" y="179"/>
                      </a:cubicBezTo>
                      <a:cubicBezTo>
                        <a:pt x="52" y="179"/>
                        <a:pt x="46" y="174"/>
                        <a:pt x="45" y="167"/>
                      </a:cubicBezTo>
                      <a:cubicBezTo>
                        <a:pt x="43" y="174"/>
                        <a:pt x="37" y="179"/>
                        <a:pt x="30" y="179"/>
                      </a:cubicBezTo>
                      <a:cubicBezTo>
                        <a:pt x="22" y="179"/>
                        <a:pt x="15" y="172"/>
                        <a:pt x="15" y="164"/>
                      </a:cubicBezTo>
                      <a:lnTo>
                        <a:pt x="15" y="94"/>
                      </a:lnTo>
                      <a:cubicBezTo>
                        <a:pt x="7" y="92"/>
                        <a:pt x="0" y="85"/>
                        <a:pt x="0" y="76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20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898" name="Freeform 897"/>
                <p:cNvSpPr>
                  <a:spLocks/>
                </p:cNvSpPr>
                <p:nvPr/>
              </p:nvSpPr>
              <p:spPr bwMode="gray">
                <a:xfrm>
                  <a:off x="10553455" y="3622101"/>
                  <a:ext cx="197731" cy="480208"/>
                </a:xfrm>
                <a:custGeom>
                  <a:avLst/>
                  <a:gdLst>
                    <a:gd name="T0" fmla="*/ 14 w 74"/>
                    <a:gd name="T1" fmla="*/ 90 h 179"/>
                    <a:gd name="T2" fmla="*/ 14 w 74"/>
                    <a:gd name="T3" fmla="*/ 90 h 179"/>
                    <a:gd name="T4" fmla="*/ 14 w 74"/>
                    <a:gd name="T5" fmla="*/ 19 h 179"/>
                    <a:gd name="T6" fmla="*/ 7 w 74"/>
                    <a:gd name="T7" fmla="*/ 0 h 179"/>
                    <a:gd name="T8" fmla="*/ 55 w 74"/>
                    <a:gd name="T9" fmla="*/ 0 h 179"/>
                    <a:gd name="T10" fmla="*/ 74 w 74"/>
                    <a:gd name="T11" fmla="*/ 20 h 179"/>
                    <a:gd name="T12" fmla="*/ 74 w 74"/>
                    <a:gd name="T13" fmla="*/ 76 h 179"/>
                    <a:gd name="T14" fmla="*/ 59 w 74"/>
                    <a:gd name="T15" fmla="*/ 94 h 179"/>
                    <a:gd name="T16" fmla="*/ 59 w 74"/>
                    <a:gd name="T17" fmla="*/ 164 h 179"/>
                    <a:gd name="T18" fmla="*/ 44 w 74"/>
                    <a:gd name="T19" fmla="*/ 179 h 179"/>
                    <a:gd name="T20" fmla="*/ 30 w 74"/>
                    <a:gd name="T21" fmla="*/ 167 h 179"/>
                    <a:gd name="T22" fmla="*/ 15 w 74"/>
                    <a:gd name="T23" fmla="*/ 179 h 179"/>
                    <a:gd name="T24" fmla="*/ 0 w 74"/>
                    <a:gd name="T25" fmla="*/ 164 h 179"/>
                    <a:gd name="T26" fmla="*/ 0 w 74"/>
                    <a:gd name="T27" fmla="*/ 115 h 179"/>
                    <a:gd name="T28" fmla="*/ 14 w 74"/>
                    <a:gd name="T29" fmla="*/ 9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4" h="179">
                      <a:moveTo>
                        <a:pt x="14" y="90"/>
                      </a:moveTo>
                      <a:lnTo>
                        <a:pt x="14" y="90"/>
                      </a:lnTo>
                      <a:lnTo>
                        <a:pt x="14" y="19"/>
                      </a:lnTo>
                      <a:cubicBezTo>
                        <a:pt x="14" y="12"/>
                        <a:pt x="11" y="5"/>
                        <a:pt x="7" y="0"/>
                      </a:cubicBezTo>
                      <a:lnTo>
                        <a:pt x="55" y="0"/>
                      </a:lnTo>
                      <a:cubicBezTo>
                        <a:pt x="66" y="0"/>
                        <a:pt x="74" y="9"/>
                        <a:pt x="74" y="20"/>
                      </a:cubicBezTo>
                      <a:lnTo>
                        <a:pt x="74" y="76"/>
                      </a:lnTo>
                      <a:cubicBezTo>
                        <a:pt x="74" y="85"/>
                        <a:pt x="68" y="92"/>
                        <a:pt x="59" y="94"/>
                      </a:cubicBezTo>
                      <a:lnTo>
                        <a:pt x="59" y="164"/>
                      </a:lnTo>
                      <a:cubicBezTo>
                        <a:pt x="59" y="172"/>
                        <a:pt x="53" y="179"/>
                        <a:pt x="44" y="179"/>
                      </a:cubicBezTo>
                      <a:cubicBezTo>
                        <a:pt x="37" y="179"/>
                        <a:pt x="31" y="174"/>
                        <a:pt x="30" y="167"/>
                      </a:cubicBezTo>
                      <a:cubicBezTo>
                        <a:pt x="28" y="174"/>
                        <a:pt x="22" y="179"/>
                        <a:pt x="15" y="179"/>
                      </a:cubicBezTo>
                      <a:cubicBezTo>
                        <a:pt x="7" y="179"/>
                        <a:pt x="0" y="172"/>
                        <a:pt x="0" y="164"/>
                      </a:cubicBezTo>
                      <a:lnTo>
                        <a:pt x="0" y="115"/>
                      </a:lnTo>
                      <a:cubicBezTo>
                        <a:pt x="8" y="110"/>
                        <a:pt x="14" y="100"/>
                        <a:pt x="14" y="9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899" name="Freeform 898"/>
                <p:cNvSpPr>
                  <a:spLocks/>
                </p:cNvSpPr>
                <p:nvPr/>
              </p:nvSpPr>
              <p:spPr bwMode="gray">
                <a:xfrm>
                  <a:off x="10565562" y="3460687"/>
                  <a:ext cx="137202" cy="137202"/>
                </a:xfrm>
                <a:custGeom>
                  <a:avLst/>
                  <a:gdLst>
                    <a:gd name="T0" fmla="*/ 26 w 51"/>
                    <a:gd name="T1" fmla="*/ 51 h 51"/>
                    <a:gd name="T2" fmla="*/ 26 w 51"/>
                    <a:gd name="T3" fmla="*/ 51 h 51"/>
                    <a:gd name="T4" fmla="*/ 0 w 51"/>
                    <a:gd name="T5" fmla="*/ 25 h 51"/>
                    <a:gd name="T6" fmla="*/ 26 w 51"/>
                    <a:gd name="T7" fmla="*/ 0 h 51"/>
                    <a:gd name="T8" fmla="*/ 51 w 51"/>
                    <a:gd name="T9" fmla="*/ 25 h 51"/>
                    <a:gd name="T10" fmla="*/ 26 w 51"/>
                    <a:gd name="T11" fmla="*/ 51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1" h="51">
                      <a:moveTo>
                        <a:pt x="26" y="51"/>
                      </a:moveTo>
                      <a:lnTo>
                        <a:pt x="26" y="51"/>
                      </a:lnTo>
                      <a:cubicBezTo>
                        <a:pt x="12" y="51"/>
                        <a:pt x="0" y="39"/>
                        <a:pt x="0" y="25"/>
                      </a:cubicBezTo>
                      <a:cubicBezTo>
                        <a:pt x="0" y="11"/>
                        <a:pt x="12" y="0"/>
                        <a:pt x="26" y="0"/>
                      </a:cubicBezTo>
                      <a:cubicBezTo>
                        <a:pt x="40" y="0"/>
                        <a:pt x="51" y="11"/>
                        <a:pt x="51" y="25"/>
                      </a:cubicBezTo>
                      <a:cubicBezTo>
                        <a:pt x="51" y="39"/>
                        <a:pt x="40" y="51"/>
                        <a:pt x="26" y="51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00" name="Freeform 899"/>
                <p:cNvSpPr>
                  <a:spLocks/>
                </p:cNvSpPr>
                <p:nvPr/>
              </p:nvSpPr>
              <p:spPr bwMode="gray">
                <a:xfrm>
                  <a:off x="10210451" y="3618065"/>
                  <a:ext cx="334933" cy="593197"/>
                </a:xfrm>
                <a:custGeom>
                  <a:avLst/>
                  <a:gdLst>
                    <a:gd name="T0" fmla="*/ 19 w 125"/>
                    <a:gd name="T1" fmla="*/ 0 h 221"/>
                    <a:gd name="T2" fmla="*/ 19 w 125"/>
                    <a:gd name="T3" fmla="*/ 0 h 221"/>
                    <a:gd name="T4" fmla="*/ 44 w 125"/>
                    <a:gd name="T5" fmla="*/ 0 h 221"/>
                    <a:gd name="T6" fmla="*/ 63 w 125"/>
                    <a:gd name="T7" fmla="*/ 25 h 221"/>
                    <a:gd name="T8" fmla="*/ 82 w 125"/>
                    <a:gd name="T9" fmla="*/ 0 h 221"/>
                    <a:gd name="T10" fmla="*/ 106 w 125"/>
                    <a:gd name="T11" fmla="*/ 0 h 221"/>
                    <a:gd name="T12" fmla="*/ 125 w 125"/>
                    <a:gd name="T13" fmla="*/ 20 h 221"/>
                    <a:gd name="T14" fmla="*/ 125 w 125"/>
                    <a:gd name="T15" fmla="*/ 91 h 221"/>
                    <a:gd name="T16" fmla="*/ 106 w 125"/>
                    <a:gd name="T17" fmla="*/ 110 h 221"/>
                    <a:gd name="T18" fmla="*/ 100 w 125"/>
                    <a:gd name="T19" fmla="*/ 110 h 221"/>
                    <a:gd name="T20" fmla="*/ 100 w 125"/>
                    <a:gd name="T21" fmla="*/ 202 h 221"/>
                    <a:gd name="T22" fmla="*/ 81 w 125"/>
                    <a:gd name="T23" fmla="*/ 221 h 221"/>
                    <a:gd name="T24" fmla="*/ 63 w 125"/>
                    <a:gd name="T25" fmla="*/ 209 h 221"/>
                    <a:gd name="T26" fmla="*/ 45 w 125"/>
                    <a:gd name="T27" fmla="*/ 221 h 221"/>
                    <a:gd name="T28" fmla="*/ 26 w 125"/>
                    <a:gd name="T29" fmla="*/ 202 h 221"/>
                    <a:gd name="T30" fmla="*/ 26 w 125"/>
                    <a:gd name="T31" fmla="*/ 110 h 221"/>
                    <a:gd name="T32" fmla="*/ 19 w 125"/>
                    <a:gd name="T33" fmla="*/ 110 h 221"/>
                    <a:gd name="T34" fmla="*/ 0 w 125"/>
                    <a:gd name="T35" fmla="*/ 91 h 221"/>
                    <a:gd name="T36" fmla="*/ 0 w 125"/>
                    <a:gd name="T37" fmla="*/ 20 h 221"/>
                    <a:gd name="T38" fmla="*/ 19 w 125"/>
                    <a:gd name="T39" fmla="*/ 0 h 2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5" h="221">
                      <a:moveTo>
                        <a:pt x="19" y="0"/>
                      </a:moveTo>
                      <a:lnTo>
                        <a:pt x="19" y="0"/>
                      </a:lnTo>
                      <a:lnTo>
                        <a:pt x="44" y="0"/>
                      </a:lnTo>
                      <a:lnTo>
                        <a:pt x="63" y="25"/>
                      </a:lnTo>
                      <a:lnTo>
                        <a:pt x="82" y="0"/>
                      </a:lnTo>
                      <a:lnTo>
                        <a:pt x="106" y="0"/>
                      </a:lnTo>
                      <a:cubicBezTo>
                        <a:pt x="117" y="0"/>
                        <a:pt x="125" y="9"/>
                        <a:pt x="125" y="20"/>
                      </a:cubicBezTo>
                      <a:lnTo>
                        <a:pt x="125" y="91"/>
                      </a:lnTo>
                      <a:cubicBezTo>
                        <a:pt x="125" y="102"/>
                        <a:pt x="117" y="110"/>
                        <a:pt x="106" y="110"/>
                      </a:cubicBezTo>
                      <a:lnTo>
                        <a:pt x="100" y="110"/>
                      </a:lnTo>
                      <a:lnTo>
                        <a:pt x="100" y="202"/>
                      </a:lnTo>
                      <a:cubicBezTo>
                        <a:pt x="100" y="213"/>
                        <a:pt x="91" y="221"/>
                        <a:pt x="81" y="221"/>
                      </a:cubicBezTo>
                      <a:cubicBezTo>
                        <a:pt x="73" y="221"/>
                        <a:pt x="66" y="216"/>
                        <a:pt x="63" y="209"/>
                      </a:cubicBezTo>
                      <a:cubicBezTo>
                        <a:pt x="60" y="216"/>
                        <a:pt x="53" y="221"/>
                        <a:pt x="45" y="221"/>
                      </a:cubicBezTo>
                      <a:cubicBezTo>
                        <a:pt x="34" y="221"/>
                        <a:pt x="26" y="213"/>
                        <a:pt x="26" y="202"/>
                      </a:cubicBezTo>
                      <a:lnTo>
                        <a:pt x="26" y="110"/>
                      </a:lnTo>
                      <a:lnTo>
                        <a:pt x="19" y="110"/>
                      </a:lnTo>
                      <a:cubicBezTo>
                        <a:pt x="9" y="110"/>
                        <a:pt x="0" y="102"/>
                        <a:pt x="0" y="91"/>
                      </a:cubicBezTo>
                      <a:lnTo>
                        <a:pt x="0" y="20"/>
                      </a:lnTo>
                      <a:cubicBezTo>
                        <a:pt x="0" y="9"/>
                        <a:pt x="9" y="0"/>
                        <a:pt x="19" y="0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901" name="Freeform 900"/>
                <p:cNvSpPr>
                  <a:spLocks/>
                </p:cNvSpPr>
                <p:nvPr/>
              </p:nvSpPr>
              <p:spPr bwMode="gray">
                <a:xfrm>
                  <a:off x="10291158" y="3416297"/>
                  <a:ext cx="169485" cy="169485"/>
                </a:xfrm>
                <a:custGeom>
                  <a:avLst/>
                  <a:gdLst>
                    <a:gd name="T0" fmla="*/ 32 w 63"/>
                    <a:gd name="T1" fmla="*/ 63 h 63"/>
                    <a:gd name="T2" fmla="*/ 32 w 63"/>
                    <a:gd name="T3" fmla="*/ 63 h 63"/>
                    <a:gd name="T4" fmla="*/ 0 w 63"/>
                    <a:gd name="T5" fmla="*/ 32 h 63"/>
                    <a:gd name="T6" fmla="*/ 32 w 63"/>
                    <a:gd name="T7" fmla="*/ 0 h 63"/>
                    <a:gd name="T8" fmla="*/ 63 w 63"/>
                    <a:gd name="T9" fmla="*/ 32 h 63"/>
                    <a:gd name="T10" fmla="*/ 32 w 63"/>
                    <a:gd name="T11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3" h="63">
                      <a:moveTo>
                        <a:pt x="32" y="63"/>
                      </a:moveTo>
                      <a:lnTo>
                        <a:pt x="32" y="63"/>
                      </a:lnTo>
                      <a:cubicBezTo>
                        <a:pt x="16" y="63"/>
                        <a:pt x="0" y="50"/>
                        <a:pt x="0" y="32"/>
                      </a:cubicBezTo>
                      <a:cubicBezTo>
                        <a:pt x="0" y="14"/>
                        <a:pt x="14" y="0"/>
                        <a:pt x="32" y="0"/>
                      </a:cubicBezTo>
                      <a:cubicBezTo>
                        <a:pt x="49" y="0"/>
                        <a:pt x="63" y="14"/>
                        <a:pt x="63" y="32"/>
                      </a:cubicBezTo>
                      <a:cubicBezTo>
                        <a:pt x="63" y="50"/>
                        <a:pt x="48" y="63"/>
                        <a:pt x="32" y="63"/>
                      </a:cubicBez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18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363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545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727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909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090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272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454" algn="l" defTabSz="914363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3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62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grpSp>
          <p:nvGrpSpPr>
            <p:cNvPr id="888" name="Group 887"/>
            <p:cNvGrpSpPr/>
            <p:nvPr/>
          </p:nvGrpSpPr>
          <p:grpSpPr bwMode="gray">
            <a:xfrm>
              <a:off x="6616380" y="3202264"/>
              <a:ext cx="188718" cy="188718"/>
              <a:chOff x="7844637" y="3042922"/>
              <a:chExt cx="949960" cy="949958"/>
            </a:xfrm>
          </p:grpSpPr>
          <p:grpSp>
            <p:nvGrpSpPr>
              <p:cNvPr id="889" name="Group 888"/>
              <p:cNvGrpSpPr/>
              <p:nvPr/>
            </p:nvGrpSpPr>
            <p:grpSpPr bwMode="gray">
              <a:xfrm>
                <a:off x="7844637" y="3042922"/>
                <a:ext cx="949960" cy="949958"/>
                <a:chOff x="7844637" y="3042922"/>
                <a:chExt cx="949960" cy="949958"/>
              </a:xfrm>
            </p:grpSpPr>
            <p:sp>
              <p:nvSpPr>
                <p:cNvPr id="891" name="Oval 890"/>
                <p:cNvSpPr/>
                <p:nvPr/>
              </p:nvSpPr>
              <p:spPr bwMode="gray">
                <a:xfrm>
                  <a:off x="7844637" y="3042922"/>
                  <a:ext cx="949960" cy="949958"/>
                </a:xfrm>
                <a:prstGeom prst="ellipse">
                  <a:avLst/>
                </a:prstGeom>
                <a:solidFill>
                  <a:srgbClr val="FFFFFF">
                    <a:alpha val="75000"/>
                  </a:srgbClr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dist="38100" dir="2700000" algn="tl" rotWithShape="0">
                    <a:prstClr val="black">
                      <a:alpha val="5000"/>
                    </a:prstClr>
                  </a:outerShdw>
                </a:effectLst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  <p:sp>
              <p:nvSpPr>
                <p:cNvPr id="892" name="Oval 891"/>
                <p:cNvSpPr/>
                <p:nvPr/>
              </p:nvSpPr>
              <p:spPr bwMode="gray">
                <a:xfrm>
                  <a:off x="7919333" y="3117618"/>
                  <a:ext cx="800568" cy="800567"/>
                </a:xfrm>
                <a:prstGeom prst="ellipse">
                  <a:avLst/>
                </a:prstGeom>
                <a:solidFill>
                  <a:srgbClr val="0066CC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4406" tIns="42203" rIns="84406" bIns="42203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defTabSz="420576" eaLnBrk="1" fontAlgn="auto" latinLnBrk="0" hangingPunct="1">
                    <a:lnSpc>
                      <a:spcPct val="100000"/>
                    </a:lnSpc>
                    <a:spcBef>
                      <a:spcPct val="10000"/>
                    </a:spcBef>
                    <a:spcAft>
                      <a:spcPct val="10000"/>
                    </a:spcAft>
                    <a:buClrTx/>
                    <a:buSzTx/>
                    <a:buFontTx/>
                    <a:buNone/>
                    <a:tabLst>
                      <a:tab pos="175851" algn="l"/>
                      <a:tab pos="575911" algn="l"/>
                      <a:tab pos="4806582" algn="r"/>
                      <a:tab pos="5334133" algn="r"/>
                      <a:tab pos="5697558" algn="r"/>
                      <a:tab pos="6337947" algn="l"/>
                      <a:tab pos="6484489" algn="l"/>
                      <a:tab pos="6913857" algn="r"/>
                      <a:tab pos="6966613" algn="r"/>
                      <a:tab pos="7549850" algn="r"/>
                      <a:tab pos="7650965" algn="r"/>
                    </a:tabLst>
                    <a:defRPr/>
                  </a:pPr>
                  <a:endParaRPr kumimoji="0" lang="en-US" sz="1477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charset="0"/>
                    <a:cs typeface="Arial"/>
                  </a:endParaRPr>
                </a:p>
              </p:txBody>
            </p:sp>
          </p:grpSp>
          <p:sp>
            <p:nvSpPr>
              <p:cNvPr id="890" name="Freeform 889"/>
              <p:cNvSpPr/>
              <p:nvPr/>
            </p:nvSpPr>
            <p:spPr bwMode="gray">
              <a:xfrm>
                <a:off x="8081449" y="3192562"/>
                <a:ext cx="492973" cy="539565"/>
              </a:xfrm>
              <a:custGeom>
                <a:avLst/>
                <a:gdLst>
                  <a:gd name="connsiteX0" fmla="*/ 931340 w 1293073"/>
                  <a:gd name="connsiteY0" fmla="*/ 415895 h 1415284"/>
                  <a:gd name="connsiteX1" fmla="*/ 885620 w 1293073"/>
                  <a:gd name="connsiteY1" fmla="*/ 461615 h 1415284"/>
                  <a:gd name="connsiteX2" fmla="*/ 931340 w 1293073"/>
                  <a:gd name="connsiteY2" fmla="*/ 507335 h 1415284"/>
                  <a:gd name="connsiteX3" fmla="*/ 977060 w 1293073"/>
                  <a:gd name="connsiteY3" fmla="*/ 461615 h 1415284"/>
                  <a:gd name="connsiteX4" fmla="*/ 931340 w 1293073"/>
                  <a:gd name="connsiteY4" fmla="*/ 415895 h 1415284"/>
                  <a:gd name="connsiteX5" fmla="*/ 367253 w 1293073"/>
                  <a:gd name="connsiteY5" fmla="*/ 377291 h 1415284"/>
                  <a:gd name="connsiteX6" fmla="*/ 321533 w 1293073"/>
                  <a:gd name="connsiteY6" fmla="*/ 423011 h 1415284"/>
                  <a:gd name="connsiteX7" fmla="*/ 367253 w 1293073"/>
                  <a:gd name="connsiteY7" fmla="*/ 468731 h 1415284"/>
                  <a:gd name="connsiteX8" fmla="*/ 412973 w 1293073"/>
                  <a:gd name="connsiteY8" fmla="*/ 423011 h 1415284"/>
                  <a:gd name="connsiteX9" fmla="*/ 367253 w 1293073"/>
                  <a:gd name="connsiteY9" fmla="*/ 377291 h 1415284"/>
                  <a:gd name="connsiteX10" fmla="*/ 1089685 w 1293073"/>
                  <a:gd name="connsiteY10" fmla="*/ 340720 h 1415284"/>
                  <a:gd name="connsiteX11" fmla="*/ 1293073 w 1293073"/>
                  <a:gd name="connsiteY11" fmla="*/ 1197580 h 1415284"/>
                  <a:gd name="connsiteX12" fmla="*/ 1147551 w 1293073"/>
                  <a:gd name="connsiteY12" fmla="*/ 1359833 h 1415284"/>
                  <a:gd name="connsiteX13" fmla="*/ 658035 w 1293073"/>
                  <a:gd name="connsiteY13" fmla="*/ 79417 h 1415284"/>
                  <a:gd name="connsiteX14" fmla="*/ 520484 w 1293073"/>
                  <a:gd name="connsiteY14" fmla="*/ 121952 h 1415284"/>
                  <a:gd name="connsiteX15" fmla="*/ 412770 w 1293073"/>
                  <a:gd name="connsiteY15" fmla="*/ 287823 h 1415284"/>
                  <a:gd name="connsiteX16" fmla="*/ 409112 w 1293073"/>
                  <a:gd name="connsiteY16" fmla="*/ 320104 h 1415284"/>
                  <a:gd name="connsiteX17" fmla="*/ 896009 w 1293073"/>
                  <a:gd name="connsiteY17" fmla="*/ 337604 h 1415284"/>
                  <a:gd name="connsiteX18" fmla="*/ 893234 w 1293073"/>
                  <a:gd name="connsiteY18" fmla="*/ 300041 h 1415284"/>
                  <a:gd name="connsiteX19" fmla="*/ 793479 w 1293073"/>
                  <a:gd name="connsiteY19" fmla="*/ 129831 h 1415284"/>
                  <a:gd name="connsiteX20" fmla="*/ 658035 w 1293073"/>
                  <a:gd name="connsiteY20" fmla="*/ 79417 h 1415284"/>
                  <a:gd name="connsiteX21" fmla="*/ 659969 w 1293073"/>
                  <a:gd name="connsiteY21" fmla="*/ 114 h 1415284"/>
                  <a:gd name="connsiteX22" fmla="*/ 835494 w 1293073"/>
                  <a:gd name="connsiteY22" fmla="*/ 62205 h 1415284"/>
                  <a:gd name="connsiteX23" fmla="*/ 970660 w 1293073"/>
                  <a:gd name="connsiteY23" fmla="*/ 282687 h 1415284"/>
                  <a:gd name="connsiteX24" fmla="*/ 975081 w 1293073"/>
                  <a:gd name="connsiteY24" fmla="*/ 340446 h 1415284"/>
                  <a:gd name="connsiteX25" fmla="*/ 1064394 w 1293073"/>
                  <a:gd name="connsiteY25" fmla="*/ 343656 h 1415284"/>
                  <a:gd name="connsiteX26" fmla="*/ 1130919 w 1293073"/>
                  <a:gd name="connsiteY26" fmla="*/ 1415284 h 1415284"/>
                  <a:gd name="connsiteX27" fmla="*/ 0 w 1293073"/>
                  <a:gd name="connsiteY27" fmla="*/ 1298311 h 1415284"/>
                  <a:gd name="connsiteX28" fmla="*/ 224521 w 1293073"/>
                  <a:gd name="connsiteY28" fmla="*/ 313469 h 1415284"/>
                  <a:gd name="connsiteX29" fmla="*/ 330299 w 1293073"/>
                  <a:gd name="connsiteY29" fmla="*/ 317271 h 1415284"/>
                  <a:gd name="connsiteX30" fmla="*/ 336264 w 1293073"/>
                  <a:gd name="connsiteY30" fmla="*/ 266733 h 1415284"/>
                  <a:gd name="connsiteX31" fmla="*/ 481808 w 1293073"/>
                  <a:gd name="connsiteY31" fmla="*/ 52391 h 1415284"/>
                  <a:gd name="connsiteX32" fmla="*/ 659969 w 1293073"/>
                  <a:gd name="connsiteY32" fmla="*/ 114 h 14152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293073" h="1415284">
                    <a:moveTo>
                      <a:pt x="931340" y="415895"/>
                    </a:moveTo>
                    <a:cubicBezTo>
                      <a:pt x="906090" y="415895"/>
                      <a:pt x="885620" y="436365"/>
                      <a:pt x="885620" y="461615"/>
                    </a:cubicBezTo>
                    <a:cubicBezTo>
                      <a:pt x="885620" y="486865"/>
                      <a:pt x="906090" y="507335"/>
                      <a:pt x="931340" y="507335"/>
                    </a:cubicBezTo>
                    <a:cubicBezTo>
                      <a:pt x="956590" y="507335"/>
                      <a:pt x="977060" y="486865"/>
                      <a:pt x="977060" y="461615"/>
                    </a:cubicBezTo>
                    <a:cubicBezTo>
                      <a:pt x="977060" y="436365"/>
                      <a:pt x="956590" y="415895"/>
                      <a:pt x="931340" y="415895"/>
                    </a:cubicBezTo>
                    <a:close/>
                    <a:moveTo>
                      <a:pt x="367253" y="377291"/>
                    </a:moveTo>
                    <a:cubicBezTo>
                      <a:pt x="342003" y="377291"/>
                      <a:pt x="321533" y="397761"/>
                      <a:pt x="321533" y="423011"/>
                    </a:cubicBezTo>
                    <a:cubicBezTo>
                      <a:pt x="321533" y="448261"/>
                      <a:pt x="342003" y="468731"/>
                      <a:pt x="367253" y="468731"/>
                    </a:cubicBezTo>
                    <a:cubicBezTo>
                      <a:pt x="392503" y="468731"/>
                      <a:pt x="412973" y="448261"/>
                      <a:pt x="412973" y="423011"/>
                    </a:cubicBezTo>
                    <a:cubicBezTo>
                      <a:pt x="412973" y="397761"/>
                      <a:pt x="392503" y="377291"/>
                      <a:pt x="367253" y="377291"/>
                    </a:cubicBezTo>
                    <a:close/>
                    <a:moveTo>
                      <a:pt x="1089685" y="340720"/>
                    </a:moveTo>
                    <a:lnTo>
                      <a:pt x="1293073" y="1197580"/>
                    </a:lnTo>
                    <a:lnTo>
                      <a:pt x="1147551" y="1359833"/>
                    </a:lnTo>
                    <a:close/>
                    <a:moveTo>
                      <a:pt x="658035" y="79417"/>
                    </a:moveTo>
                    <a:cubicBezTo>
                      <a:pt x="610465" y="78044"/>
                      <a:pt x="562545" y="92162"/>
                      <a:pt x="520484" y="121952"/>
                    </a:cubicBezTo>
                    <a:cubicBezTo>
                      <a:pt x="466504" y="160184"/>
                      <a:pt x="428432" y="219897"/>
                      <a:pt x="412770" y="287823"/>
                    </a:cubicBezTo>
                    <a:lnTo>
                      <a:pt x="409112" y="320104"/>
                    </a:lnTo>
                    <a:lnTo>
                      <a:pt x="896009" y="337604"/>
                    </a:lnTo>
                    <a:lnTo>
                      <a:pt x="893234" y="300041"/>
                    </a:lnTo>
                    <a:cubicBezTo>
                      <a:pt x="880402" y="231939"/>
                      <a:pt x="845218" y="170779"/>
                      <a:pt x="793479" y="129831"/>
                    </a:cubicBezTo>
                    <a:cubicBezTo>
                      <a:pt x="752823" y="97654"/>
                      <a:pt x="705604" y="80790"/>
                      <a:pt x="658035" y="79417"/>
                    </a:cubicBezTo>
                    <a:close/>
                    <a:moveTo>
                      <a:pt x="659969" y="114"/>
                    </a:moveTo>
                    <a:cubicBezTo>
                      <a:pt x="721476" y="1820"/>
                      <a:pt x="782544" y="22588"/>
                      <a:pt x="835494" y="62205"/>
                    </a:cubicBezTo>
                    <a:cubicBezTo>
                      <a:pt x="905513" y="114591"/>
                      <a:pt x="953266" y="193999"/>
                      <a:pt x="970660" y="282687"/>
                    </a:cubicBezTo>
                    <a:lnTo>
                      <a:pt x="975081" y="340446"/>
                    </a:lnTo>
                    <a:lnTo>
                      <a:pt x="1064394" y="343656"/>
                    </a:lnTo>
                    <a:lnTo>
                      <a:pt x="1130919" y="1415284"/>
                    </a:lnTo>
                    <a:lnTo>
                      <a:pt x="0" y="1298311"/>
                    </a:lnTo>
                    <a:lnTo>
                      <a:pt x="224521" y="313469"/>
                    </a:lnTo>
                    <a:lnTo>
                      <a:pt x="330299" y="317271"/>
                    </a:lnTo>
                    <a:lnTo>
                      <a:pt x="336264" y="266733"/>
                    </a:lnTo>
                    <a:cubicBezTo>
                      <a:pt x="357473" y="178466"/>
                      <a:pt x="408994" y="101143"/>
                      <a:pt x="481808" y="52391"/>
                    </a:cubicBezTo>
                    <a:cubicBezTo>
                      <a:pt x="536516" y="15762"/>
                      <a:pt x="598462" y="-1593"/>
                      <a:pt x="659969" y="114"/>
                    </a:cubicBezTo>
                    <a:close/>
                  </a:path>
                </a:pathLst>
              </a:custGeom>
              <a:solidFill>
                <a:srgbClr val="FFFFFF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4406" tIns="42203" rIns="84406" bIns="42203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20576" eaLnBrk="1" fontAlgn="auto" latinLnBrk="0" hangingPunct="1">
                  <a:lnSpc>
                    <a:spcPct val="100000"/>
                  </a:lnSpc>
                  <a:spcBef>
                    <a:spcPct val="10000"/>
                  </a:spcBef>
                  <a:spcAft>
                    <a:spcPct val="10000"/>
                  </a:spcAft>
                  <a:buClrTx/>
                  <a:buSzTx/>
                  <a:buFontTx/>
                  <a:buNone/>
                  <a:tabLst>
                    <a:tab pos="175851" algn="l"/>
                    <a:tab pos="575911" algn="l"/>
                    <a:tab pos="4806582" algn="r"/>
                    <a:tab pos="5334133" algn="r"/>
                    <a:tab pos="5697558" algn="r"/>
                    <a:tab pos="6337947" algn="l"/>
                    <a:tab pos="6484489" algn="l"/>
                    <a:tab pos="6913857" algn="r"/>
                    <a:tab pos="6966613" algn="r"/>
                    <a:tab pos="7549850" algn="r"/>
                    <a:tab pos="7650965" algn="r"/>
                  </a:tabLst>
                  <a:defRPr/>
                </a:pPr>
                <a:endParaRPr kumimoji="0" lang="en-US" sz="1477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Arial"/>
                </a:endParaRPr>
              </a:p>
            </p:txBody>
          </p:sp>
        </p:grpSp>
      </p:grpSp>
      <p:sp>
        <p:nvSpPr>
          <p:cNvPr id="1290" name="Rectangle 1289"/>
          <p:cNvSpPr/>
          <p:nvPr/>
        </p:nvSpPr>
        <p:spPr bwMode="gray">
          <a:xfrm>
            <a:off x="419100" y="1570603"/>
            <a:ext cx="2692556" cy="37982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84406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477" b="1" dirty="0">
                <a:solidFill>
                  <a:srgbClr val="FFFFFF"/>
                </a:solidFill>
                <a:latin typeface="Arial" charset="0"/>
                <a:cs typeface="Arial"/>
                <a:sym typeface="Wingdings"/>
              </a:rPr>
              <a:t>Over 60 Countries</a:t>
            </a:r>
          </a:p>
        </p:txBody>
      </p:sp>
      <p:sp>
        <p:nvSpPr>
          <p:cNvPr id="1291" name="Rectangle 1290"/>
          <p:cNvSpPr/>
          <p:nvPr/>
        </p:nvSpPr>
        <p:spPr bwMode="gray">
          <a:xfrm>
            <a:off x="3217316" y="1570603"/>
            <a:ext cx="2692556" cy="37982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84406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477" b="1" dirty="0">
                <a:solidFill>
                  <a:srgbClr val="FFFFFF"/>
                </a:solidFill>
                <a:latin typeface="Arial" charset="0"/>
                <a:cs typeface="Arial"/>
                <a:sym typeface="Wingdings"/>
              </a:rPr>
              <a:t>Over 100 Service Locations</a:t>
            </a:r>
          </a:p>
        </p:txBody>
      </p:sp>
      <p:sp>
        <p:nvSpPr>
          <p:cNvPr id="1292" name="Rectangle 1291"/>
          <p:cNvSpPr/>
          <p:nvPr/>
        </p:nvSpPr>
        <p:spPr bwMode="gray">
          <a:xfrm>
            <a:off x="6013295" y="1570603"/>
            <a:ext cx="2692556" cy="379828"/>
          </a:xfrm>
          <a:prstGeom prst="rect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4406" tIns="84406" rIns="84406" bIns="84406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477" b="1" dirty="0">
                <a:solidFill>
                  <a:srgbClr val="FFFFFF"/>
                </a:solidFill>
                <a:latin typeface="Arial" charset="0"/>
                <a:cs typeface="Arial"/>
                <a:sym typeface="Wingdings"/>
              </a:rPr>
              <a:t>~6,000 Professionals</a:t>
            </a:r>
          </a:p>
        </p:txBody>
      </p:sp>
    </p:spTree>
    <p:extLst>
      <p:ext uri="{BB962C8B-B14F-4D97-AF65-F5344CB8AC3E}">
        <p14:creationId xmlns:p14="http://schemas.microsoft.com/office/powerpoint/2010/main" val="14894509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r>
              <a:rPr lang="en-US" dirty="0" smtClean="0"/>
              <a:t>APLL at a glance – Tool box of servic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647" name="Rectangle 646"/>
          <p:cNvSpPr/>
          <p:nvPr/>
        </p:nvSpPr>
        <p:spPr bwMode="auto">
          <a:xfrm>
            <a:off x="5172414" y="1051722"/>
            <a:ext cx="3541999" cy="382129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132 thousand TEUs</a:t>
            </a:r>
          </a:p>
        </p:txBody>
      </p:sp>
      <p:sp>
        <p:nvSpPr>
          <p:cNvPr id="648" name="Rectangle 647"/>
          <p:cNvSpPr/>
          <p:nvPr/>
        </p:nvSpPr>
        <p:spPr bwMode="auto">
          <a:xfrm>
            <a:off x="5172414" y="3979110"/>
            <a:ext cx="3541999" cy="376589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280 thousand Loads</a:t>
            </a:r>
          </a:p>
        </p:txBody>
      </p:sp>
      <p:sp>
        <p:nvSpPr>
          <p:cNvPr id="649" name="Rectangle 648"/>
          <p:cNvSpPr/>
          <p:nvPr/>
        </p:nvSpPr>
        <p:spPr bwMode="auto">
          <a:xfrm>
            <a:off x="5172414" y="2514294"/>
            <a:ext cx="3541999" cy="385488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150 thousand files</a:t>
            </a:r>
          </a:p>
        </p:txBody>
      </p:sp>
      <p:sp>
        <p:nvSpPr>
          <p:cNvPr id="1293" name="Rectangle 1292"/>
          <p:cNvSpPr/>
          <p:nvPr/>
        </p:nvSpPr>
        <p:spPr bwMode="auto">
          <a:xfrm>
            <a:off x="5172414" y="3005036"/>
            <a:ext cx="3541999" cy="383188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150 thousand TEUs</a:t>
            </a:r>
          </a:p>
        </p:txBody>
      </p:sp>
      <p:sp>
        <p:nvSpPr>
          <p:cNvPr id="1294" name="Rectangle 1293"/>
          <p:cNvSpPr/>
          <p:nvPr/>
        </p:nvSpPr>
        <p:spPr bwMode="auto">
          <a:xfrm>
            <a:off x="5172414" y="3493478"/>
            <a:ext cx="3541999" cy="380379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125 thousand Loads</a:t>
            </a:r>
          </a:p>
        </p:txBody>
      </p:sp>
      <p:sp>
        <p:nvSpPr>
          <p:cNvPr id="1295" name="Rectangle 1294"/>
          <p:cNvSpPr/>
          <p:nvPr/>
        </p:nvSpPr>
        <p:spPr bwMode="auto">
          <a:xfrm>
            <a:off x="5172414" y="4460953"/>
            <a:ext cx="3541999" cy="381529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~ 17mm square feet</a:t>
            </a:r>
          </a:p>
        </p:txBody>
      </p:sp>
      <p:sp>
        <p:nvSpPr>
          <p:cNvPr id="1296" name="Rectangle 1295"/>
          <p:cNvSpPr/>
          <p:nvPr/>
        </p:nvSpPr>
        <p:spPr bwMode="auto">
          <a:xfrm>
            <a:off x="5172414" y="2026487"/>
            <a:ext cx="3541999" cy="382554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1.1mm TEUs</a:t>
            </a:r>
          </a:p>
        </p:txBody>
      </p:sp>
      <p:sp>
        <p:nvSpPr>
          <p:cNvPr id="1297" name="Rectangle 1296"/>
          <p:cNvSpPr/>
          <p:nvPr/>
        </p:nvSpPr>
        <p:spPr bwMode="auto">
          <a:xfrm>
            <a:off x="5172414" y="4947736"/>
            <a:ext cx="3541999" cy="377409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~ 100 sites globally</a:t>
            </a:r>
          </a:p>
        </p:txBody>
      </p:sp>
      <p:sp>
        <p:nvSpPr>
          <p:cNvPr id="1298" name="Rectangle 1297"/>
          <p:cNvSpPr/>
          <p:nvPr/>
        </p:nvSpPr>
        <p:spPr bwMode="auto">
          <a:xfrm>
            <a:off x="5172414" y="5430400"/>
            <a:ext cx="3541999" cy="382350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~ 30 solution engineers</a:t>
            </a:r>
          </a:p>
        </p:txBody>
      </p:sp>
      <p:sp>
        <p:nvSpPr>
          <p:cNvPr id="1299" name="Rectangle 1298"/>
          <p:cNvSpPr/>
          <p:nvPr/>
        </p:nvSpPr>
        <p:spPr bwMode="auto">
          <a:xfrm>
            <a:off x="5172414" y="1539104"/>
            <a:ext cx="3541999" cy="382129"/>
          </a:xfrm>
          <a:prstGeom prst="rect">
            <a:avLst/>
          </a:prstGeom>
          <a:solidFill>
            <a:srgbClr val="F0F0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332308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ts val="185"/>
              </a:spcBef>
              <a:spcAft>
                <a:spcPts val="185"/>
              </a:spcAft>
            </a:pPr>
            <a:r>
              <a:rPr lang="en-US" sz="1292" dirty="0">
                <a:solidFill>
                  <a:srgbClr val="000000"/>
                </a:solidFill>
                <a:latin typeface="Arial" charset="0"/>
                <a:sym typeface="Wingdings"/>
              </a:rPr>
              <a:t>21mm kg (incl. managed)</a:t>
            </a:r>
          </a:p>
        </p:txBody>
      </p:sp>
      <p:pic>
        <p:nvPicPr>
          <p:cNvPr id="1300" name="Picture 129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1321" y="1045250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1" name="Picture 130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1321" y="1532381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2" name="Picture 130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1321" y="2026489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3" name="Picture 130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11321" y="2504431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4" name="Picture 130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1321" y="2993288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5" name="Picture 130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11321" y="3479807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6" name="Picture 130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11321" y="3966327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7" name="Picture 130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11321" y="4451940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8" name="Picture 130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1321" y="4938283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09" name="Picture 130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11321" y="5425888"/>
            <a:ext cx="419100" cy="3868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10" name="Pentagon 1309"/>
          <p:cNvSpPr/>
          <p:nvPr/>
        </p:nvSpPr>
        <p:spPr bwMode="auto">
          <a:xfrm>
            <a:off x="887794" y="1051720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84406" tIns="84406" rIns="84406" bIns="84406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Ocean (FCL / LCL)</a:t>
            </a:r>
          </a:p>
        </p:txBody>
      </p:sp>
      <p:sp>
        <p:nvSpPr>
          <p:cNvPr id="1311" name="Pentagon 1310"/>
          <p:cNvSpPr/>
          <p:nvPr/>
        </p:nvSpPr>
        <p:spPr bwMode="auto">
          <a:xfrm>
            <a:off x="887794" y="1538240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Air</a:t>
            </a:r>
          </a:p>
        </p:txBody>
      </p:sp>
      <p:sp>
        <p:nvSpPr>
          <p:cNvPr id="1312" name="Pentagon 1311"/>
          <p:cNvSpPr/>
          <p:nvPr/>
        </p:nvSpPr>
        <p:spPr bwMode="auto">
          <a:xfrm>
            <a:off x="887794" y="2511279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Customs </a:t>
            </a:r>
            <a:r>
              <a:rPr kumimoji="0" lang="en-US" sz="129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brokerage and broker compliance</a:t>
            </a:r>
            <a:endParaRPr kumimoji="0" lang="en-US" sz="129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/>
              <a:sym typeface="Wingdings"/>
            </a:endParaRPr>
          </a:p>
        </p:txBody>
      </p:sp>
      <p:sp>
        <p:nvSpPr>
          <p:cNvPr id="1313" name="Pentagon 1312"/>
          <p:cNvSpPr/>
          <p:nvPr/>
        </p:nvSpPr>
        <p:spPr bwMode="auto">
          <a:xfrm>
            <a:off x="887794" y="2997799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IndiaLinx</a:t>
            </a:r>
            <a:r>
              <a:rPr kumimoji="0" lang="en-US" sz="1292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SM</a:t>
            </a:r>
          </a:p>
        </p:txBody>
      </p:sp>
      <p:sp>
        <p:nvSpPr>
          <p:cNvPr id="1314" name="Pentagon 1313"/>
          <p:cNvSpPr/>
          <p:nvPr/>
        </p:nvSpPr>
        <p:spPr bwMode="auto">
          <a:xfrm>
            <a:off x="887794" y="3484319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Intermodal domestic and US-Mexico</a:t>
            </a:r>
          </a:p>
        </p:txBody>
      </p:sp>
      <p:sp>
        <p:nvSpPr>
          <p:cNvPr id="1315" name="Pentagon 1314"/>
          <p:cNvSpPr/>
          <p:nvPr/>
        </p:nvSpPr>
        <p:spPr bwMode="auto">
          <a:xfrm>
            <a:off x="887794" y="3970838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Transport management</a:t>
            </a:r>
          </a:p>
        </p:txBody>
      </p:sp>
      <p:sp>
        <p:nvSpPr>
          <p:cNvPr id="1316" name="Pentagon 1315"/>
          <p:cNvSpPr/>
          <p:nvPr/>
        </p:nvSpPr>
        <p:spPr bwMode="auto">
          <a:xfrm>
            <a:off x="887794" y="4457358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Warehouse / RDC and distribution </a:t>
            </a:r>
          </a:p>
        </p:txBody>
      </p:sp>
      <p:sp>
        <p:nvSpPr>
          <p:cNvPr id="1317" name="Pentagon 1316"/>
          <p:cNvSpPr/>
          <p:nvPr/>
        </p:nvSpPr>
        <p:spPr bwMode="auto">
          <a:xfrm>
            <a:off x="887794" y="4943878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High touch VAS</a:t>
            </a:r>
          </a:p>
        </p:txBody>
      </p:sp>
      <p:sp>
        <p:nvSpPr>
          <p:cNvPr id="1318" name="Pentagon 1317"/>
          <p:cNvSpPr/>
          <p:nvPr/>
        </p:nvSpPr>
        <p:spPr bwMode="auto">
          <a:xfrm>
            <a:off x="887794" y="5430399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Solutions, Trade Compliance </a:t>
            </a: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consulting and IT applications </a:t>
            </a:r>
          </a:p>
        </p:txBody>
      </p:sp>
      <p:sp>
        <p:nvSpPr>
          <p:cNvPr id="1319" name="Pentagon 1318"/>
          <p:cNvSpPr/>
          <p:nvPr/>
        </p:nvSpPr>
        <p:spPr bwMode="auto">
          <a:xfrm>
            <a:off x="887794" y="2024759"/>
            <a:ext cx="4003374" cy="382350"/>
          </a:xfrm>
          <a:prstGeom prst="homePlate">
            <a:avLst/>
          </a:prstGeom>
          <a:solidFill>
            <a:srgbClr val="91B0F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84406" tIns="84406" rIns="84406" bIns="84406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185"/>
              </a:spcBef>
              <a:spcAft>
                <a:spcPts val="185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9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/>
                <a:sym typeface="Wingdings"/>
              </a:rPr>
              <a:t>Consolidation</a:t>
            </a:r>
          </a:p>
        </p:txBody>
      </p:sp>
      <p:sp>
        <p:nvSpPr>
          <p:cNvPr id="1320" name="TextBox 100"/>
          <p:cNvSpPr txBox="1"/>
          <p:nvPr/>
        </p:nvSpPr>
        <p:spPr>
          <a:xfrm>
            <a:off x="444337" y="1051722"/>
            <a:ext cx="354003" cy="1839570"/>
          </a:xfrm>
          <a:prstGeom prst="rect">
            <a:avLst/>
          </a:prstGeom>
          <a:solidFill>
            <a:srgbClr val="002060"/>
          </a:solidFill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/>
            <a:r>
              <a:rPr lang="en-US" sz="1292" b="1" dirty="0">
                <a:solidFill>
                  <a:srgbClr val="FFFFFF"/>
                </a:solidFill>
                <a:latin typeface="Arial" charset="0"/>
              </a:rPr>
              <a:t>ILS</a:t>
            </a:r>
          </a:p>
        </p:txBody>
      </p:sp>
      <p:sp>
        <p:nvSpPr>
          <p:cNvPr id="1321" name="TextBox 101"/>
          <p:cNvSpPr txBox="1"/>
          <p:nvPr/>
        </p:nvSpPr>
        <p:spPr>
          <a:xfrm>
            <a:off x="444337" y="2993288"/>
            <a:ext cx="354003" cy="1359900"/>
          </a:xfrm>
          <a:prstGeom prst="rect">
            <a:avLst/>
          </a:prstGeom>
          <a:solidFill>
            <a:srgbClr val="002060"/>
          </a:solidFill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/>
            <a:r>
              <a:rPr lang="en-US" sz="1292" b="1" dirty="0">
                <a:solidFill>
                  <a:srgbClr val="FFFFFF"/>
                </a:solidFill>
                <a:latin typeface="Arial" charset="0"/>
              </a:rPr>
              <a:t>ITL</a:t>
            </a:r>
          </a:p>
        </p:txBody>
      </p:sp>
      <p:sp>
        <p:nvSpPr>
          <p:cNvPr id="1322" name="TextBox 102"/>
          <p:cNvSpPr txBox="1"/>
          <p:nvPr/>
        </p:nvSpPr>
        <p:spPr>
          <a:xfrm>
            <a:off x="429587" y="4450858"/>
            <a:ext cx="383503" cy="874287"/>
          </a:xfrm>
          <a:prstGeom prst="rect">
            <a:avLst/>
          </a:prstGeom>
          <a:solidFill>
            <a:srgbClr val="002060"/>
          </a:solidFill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/>
            <a:r>
              <a:rPr lang="en-US" sz="1292" b="1" dirty="0">
                <a:solidFill>
                  <a:srgbClr val="FFFFFF"/>
                </a:solidFill>
                <a:latin typeface="Arial" charset="0"/>
              </a:rPr>
              <a:t>CLS</a:t>
            </a:r>
          </a:p>
        </p:txBody>
      </p:sp>
      <p:sp>
        <p:nvSpPr>
          <p:cNvPr id="1323" name="TextBox 103"/>
          <p:cNvSpPr txBox="1"/>
          <p:nvPr/>
        </p:nvSpPr>
        <p:spPr>
          <a:xfrm>
            <a:off x="429587" y="5435349"/>
            <a:ext cx="383503" cy="377401"/>
          </a:xfrm>
          <a:prstGeom prst="rect">
            <a:avLst/>
          </a:prstGeom>
          <a:solidFill>
            <a:srgbClr val="002060"/>
          </a:solidFill>
          <a:effectLst/>
        </p:spPr>
        <p:txBody>
          <a:bodyPr vert="vert270" wrap="square" rtlCol="0" anchor="ctr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9pPr>
          </a:lstStyle>
          <a:p>
            <a:pPr algn="ctr" eaLnBrk="1" hangingPunct="1"/>
            <a:r>
              <a:rPr lang="en-US" sz="1292" b="1" dirty="0">
                <a:solidFill>
                  <a:srgbClr val="FFFFFF"/>
                </a:solidFill>
                <a:latin typeface="Arial" charset="0"/>
              </a:rPr>
              <a:t>All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234462" y="5383760"/>
            <a:ext cx="8651630" cy="528994"/>
          </a:xfrm>
          <a:prstGeom prst="rect">
            <a:avLst/>
          </a:prstGeom>
          <a:noFill/>
          <a:ln w="28575" cap="flat" cmpd="sng" algn="ctr">
            <a:solidFill>
              <a:srgbClr val="E1261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5613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Tx/>
              <a:buSzTx/>
              <a:buFontTx/>
              <a:buNone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kumimoji="0" lang="en-US" sz="16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234462" y="2453881"/>
            <a:ext cx="8651630" cy="528994"/>
          </a:xfrm>
          <a:prstGeom prst="rect">
            <a:avLst/>
          </a:prstGeom>
          <a:noFill/>
          <a:ln w="28575" cap="flat" cmpd="sng" algn="ctr">
            <a:solidFill>
              <a:srgbClr val="E1261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5613" rtl="0" eaLnBrk="0" fontAlgn="base" latinLnBrk="0" hangingPunct="0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Tx/>
              <a:buSzTx/>
              <a:buFontTx/>
              <a:buNone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kumimoji="0" lang="en-US" sz="16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31766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594" y="2031883"/>
            <a:ext cx="8074337" cy="2696123"/>
          </a:xfrm>
        </p:spPr>
        <p:txBody>
          <a:bodyPr/>
          <a:lstStyle/>
          <a:p>
            <a:r>
              <a:rPr lang="en-US" smtClean="0">
                <a:hlinkClick r:id="rId2"/>
              </a:rPr>
              <a:t>Thank you</a:t>
            </a:r>
            <a:r>
              <a:rPr lang="en-US" dirty="0" smtClean="0">
                <a:hlinkClick r:id="rId2"/>
              </a:rPr>
              <a:t/>
            </a:r>
            <a:br>
              <a:rPr lang="en-US" dirty="0" smtClean="0">
                <a:hlinkClick r:id="rId2"/>
              </a:rPr>
            </a:br>
            <a:r>
              <a:rPr lang="en-US" dirty="0">
                <a:hlinkClick r:id="rId2"/>
              </a:rPr>
              <a:t/>
            </a:r>
            <a:br>
              <a:rPr lang="en-US" dirty="0">
                <a:hlinkClick r:id="rId2"/>
              </a:rPr>
            </a:br>
            <a:r>
              <a:rPr lang="en-US" dirty="0" smtClean="0">
                <a:hlinkClick r:id="rId2"/>
              </a:rPr>
              <a:t>Raphael_Madarang@apllogistics.co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852-23027436</a:t>
            </a:r>
            <a:br>
              <a:rPr lang="en-US" dirty="0" smtClean="0"/>
            </a:br>
            <a:r>
              <a:rPr lang="en-US" dirty="0" smtClean="0">
                <a:hlinkClick r:id="rId3"/>
              </a:rPr>
              <a:t>Lily_Du@apllogistics.com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86-21-2610578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3604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grpSp>
        <p:nvGrpSpPr>
          <p:cNvPr id="26" name="Group 25"/>
          <p:cNvGrpSpPr/>
          <p:nvPr/>
        </p:nvGrpSpPr>
        <p:grpSpPr>
          <a:xfrm>
            <a:off x="365125" y="1054100"/>
            <a:ext cx="8421688" cy="751864"/>
            <a:chOff x="365125" y="1976557"/>
            <a:chExt cx="8421688" cy="751864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813"/>
            <a:stretch/>
          </p:blipFill>
          <p:spPr>
            <a:xfrm>
              <a:off x="365125" y="2081940"/>
              <a:ext cx="8421688" cy="646481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/>
          </p:nvSpPr>
          <p:spPr bwMode="auto">
            <a:xfrm>
              <a:off x="370203" y="1976557"/>
              <a:ext cx="8405497" cy="6296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anchor="ctr"/>
            <a:lstStyle/>
            <a:p>
              <a:pPr marL="0" lvl="1" eaLnBrk="1" hangingPunct="1">
                <a:lnSpc>
                  <a:spcPct val="90000"/>
                </a:lnSpc>
                <a:buClr>
                  <a:srgbClr val="000000"/>
                </a:buClr>
                <a:tabLst>
                  <a:tab pos="292100" algn="l"/>
                  <a:tab pos="381000" algn="l"/>
                </a:tabLst>
              </a:pPr>
              <a:r>
                <a:rPr lang="en-IN" sz="24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CCC Overview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65125" y="2084043"/>
            <a:ext cx="8421688" cy="751864"/>
            <a:chOff x="365125" y="1976557"/>
            <a:chExt cx="8421688" cy="751864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813"/>
            <a:stretch/>
          </p:blipFill>
          <p:spPr>
            <a:xfrm>
              <a:off x="365125" y="2081940"/>
              <a:ext cx="8421688" cy="646481"/>
            </a:xfrm>
            <a:prstGeom prst="rect">
              <a:avLst/>
            </a:prstGeom>
          </p:spPr>
        </p:pic>
        <p:sp>
          <p:nvSpPr>
            <p:cNvPr id="31" name="Rectangle 30"/>
            <p:cNvSpPr/>
            <p:nvPr/>
          </p:nvSpPr>
          <p:spPr bwMode="auto">
            <a:xfrm>
              <a:off x="370203" y="1976557"/>
              <a:ext cx="8405497" cy="6296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anchor="ctr"/>
            <a:lstStyle/>
            <a:p>
              <a:pPr marL="0" lvl="1" eaLnBrk="1" hangingPunct="1">
                <a:lnSpc>
                  <a:spcPct val="90000"/>
                </a:lnSpc>
                <a:buClr>
                  <a:srgbClr val="000000"/>
                </a:buClr>
                <a:tabLst>
                  <a:tab pos="292100" algn="l"/>
                  <a:tab pos="381000" algn="l"/>
                </a:tabLst>
              </a:pPr>
              <a:r>
                <a:rPr lang="en-IN" sz="2400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Why is CCC important?</a:t>
              </a:r>
              <a:endParaRPr lang="en-IN" sz="2400" dirty="0">
                <a:solidFill>
                  <a:schemeClr val="tx2"/>
                </a:solidFill>
                <a:latin typeface="+mj-lt"/>
                <a:ea typeface="+mj-ea"/>
                <a:cs typeface="+mj-cs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65125" y="3120510"/>
            <a:ext cx="8421688" cy="751864"/>
            <a:chOff x="365125" y="1976557"/>
            <a:chExt cx="8421688" cy="751864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813"/>
            <a:stretch/>
          </p:blipFill>
          <p:spPr>
            <a:xfrm>
              <a:off x="365125" y="2081940"/>
              <a:ext cx="8421688" cy="646481"/>
            </a:xfrm>
            <a:prstGeom prst="rect">
              <a:avLst/>
            </a:prstGeom>
          </p:spPr>
        </p:pic>
        <p:sp>
          <p:nvSpPr>
            <p:cNvPr id="34" name="Rectangle 33"/>
            <p:cNvSpPr/>
            <p:nvPr/>
          </p:nvSpPr>
          <p:spPr bwMode="auto">
            <a:xfrm>
              <a:off x="370203" y="1976557"/>
              <a:ext cx="8405497" cy="6296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91440" rIns="182880" bIns="91440" anchor="ctr"/>
            <a:lstStyle/>
            <a:p>
              <a:pPr marL="0" lvl="1" eaLnBrk="1" hangingPunct="1">
                <a:lnSpc>
                  <a:spcPct val="90000"/>
                </a:lnSpc>
                <a:buClr>
                  <a:srgbClr val="000000"/>
                </a:buClr>
                <a:tabLst>
                  <a:tab pos="292100" algn="l"/>
                  <a:tab pos="381000" algn="l"/>
                </a:tabLst>
              </a:pPr>
              <a:r>
                <a:rPr lang="en-IN" sz="2400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Managing CCC exemptions</a:t>
              </a:r>
              <a:endParaRPr lang="en-IN" sz="2400" dirty="0">
                <a:solidFill>
                  <a:schemeClr val="tx2"/>
                </a:solidFill>
                <a:latin typeface="+mj-lt"/>
                <a:ea typeface="+mj-ea"/>
                <a:cs typeface="+mj-cs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13" name="Rectangle 12"/>
          <p:cNvSpPr/>
          <p:nvPr/>
        </p:nvSpPr>
        <p:spPr bwMode="auto">
          <a:xfrm>
            <a:off x="381316" y="4165951"/>
            <a:ext cx="8405497" cy="629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marL="0" lvl="1" eaLnBrk="1" hangingPunct="1">
              <a:lnSpc>
                <a:spcPct val="90000"/>
              </a:lnSpc>
              <a:buClr>
                <a:srgbClr val="000000"/>
              </a:buClr>
              <a:tabLst>
                <a:tab pos="292100" algn="l"/>
                <a:tab pos="381000" algn="l"/>
              </a:tabLst>
            </a:pPr>
            <a:r>
              <a:rPr lang="en-IN" sz="2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mmon issues and best practices</a:t>
            </a:r>
            <a:endParaRPr lang="en-IN" sz="2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81316" y="5186920"/>
            <a:ext cx="8405497" cy="629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anchor="ctr"/>
          <a:lstStyle/>
          <a:p>
            <a:pPr marL="0" lvl="1" eaLnBrk="1" hangingPunct="1">
              <a:lnSpc>
                <a:spcPct val="90000"/>
              </a:lnSpc>
              <a:buClr>
                <a:srgbClr val="000000"/>
              </a:buClr>
              <a:tabLst>
                <a:tab pos="292100" algn="l"/>
                <a:tab pos="381000" algn="l"/>
              </a:tabLst>
            </a:pPr>
            <a:r>
              <a:rPr lang="en-IN" sz="2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PLL at a glance</a:t>
            </a:r>
            <a:endParaRPr lang="en-IN" sz="2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46627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57188" y="1438115"/>
            <a:ext cx="8277146" cy="32088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40" tIns="45720" rIns="91440" bIns="45720">
            <a:noAutofit/>
          </a:bodyPr>
          <a:lstStyle/>
          <a:p>
            <a:pPr marL="228600" lvl="1" indent="-22860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CC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tands for 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hina Compulsory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ertification</a:t>
            </a:r>
          </a:p>
          <a:p>
            <a:pPr marL="228600" lvl="1" indent="-22860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tarted in 2002 with 132 articles and 19 product categories</a:t>
            </a:r>
          </a:p>
          <a:p>
            <a:pPr marL="228600" lvl="1" indent="-22860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im 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s to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afeguard the health 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&amp;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ecurity 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f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humans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imals 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&amp;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lants</a:t>
            </a:r>
            <a:endParaRPr lang="en-IN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28600" lvl="1" indent="-22860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CC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rants permission to import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ell, and use a product</a:t>
            </a:r>
            <a:endParaRPr lang="en-IN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28600" lvl="1" indent="-22860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CC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etermines products </a:t>
            </a:r>
            <a:r>
              <a:rPr lang="en-IN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afety, but does </a:t>
            </a:r>
            <a:r>
              <a:rPr lang="en-IN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not constitute an endorsement or guarantee authenticity/quality</a:t>
            </a:r>
            <a:endParaRPr lang="en-IN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28600" lvl="1" indent="-22860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GB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overnment authorities involved: AQSIQ, </a:t>
            </a: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NCA, CIQ</a:t>
            </a:r>
            <a:endParaRPr lang="en-GB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CC </a:t>
            </a:r>
            <a:r>
              <a:rPr lang="en-US" dirty="0" smtClean="0"/>
              <a:t>Overview</a:t>
            </a:r>
            <a:endParaRPr lang="en-US" dirty="0">
              <a:solidFill>
                <a:srgbClr val="244296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2" name="Picture 30" descr="01-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594" y="4996609"/>
            <a:ext cx="1154432" cy="920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1" descr="01-EMC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287" y="5054825"/>
            <a:ext cx="1154432" cy="920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 descr="01-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765" y="4965235"/>
            <a:ext cx="1154432" cy="920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2" descr="01-I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9809" y="5054825"/>
            <a:ext cx="1154432" cy="920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01-S&amp;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923" y="4993351"/>
            <a:ext cx="1153236" cy="919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65125" y="6076095"/>
            <a:ext cx="6109116" cy="613458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marL="0" lvl="1" defTabSz="45561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GB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QSIQ - </a:t>
            </a:r>
            <a:r>
              <a:rPr lang="en-US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he </a:t>
            </a:r>
            <a:r>
              <a:rPr lang="en-US" sz="10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neral Administration of Quality Supervision, Inspection and Quarantine of the People's Republic of </a:t>
            </a:r>
            <a:r>
              <a:rPr lang="en-US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hina</a:t>
            </a:r>
          </a:p>
          <a:p>
            <a:pPr marL="0" lvl="1" defTabSz="45561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GB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NCA - </a:t>
            </a:r>
            <a:r>
              <a:rPr lang="en-US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ertification </a:t>
            </a:r>
            <a:r>
              <a:rPr lang="en-US" sz="10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nd Accreditation Administration of the People's Republic of </a:t>
            </a:r>
            <a:r>
              <a:rPr lang="en-US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hina</a:t>
            </a:r>
            <a:endParaRPr lang="en-GB" sz="105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lvl="1" defTabSz="455613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tabLst>
                <a:tab pos="1905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GB" sz="105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IQ - China</a:t>
            </a:r>
            <a:r>
              <a:rPr lang="en-GB" sz="105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 Inspection and Quarantine Bureau  </a:t>
            </a:r>
          </a:p>
        </p:txBody>
      </p:sp>
    </p:spTree>
    <p:extLst>
      <p:ext uri="{BB962C8B-B14F-4D97-AF65-F5344CB8AC3E}">
        <p14:creationId xmlns:p14="http://schemas.microsoft.com/office/powerpoint/2010/main" val="27772924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3"/>
          <a:stretch/>
        </p:blipFill>
        <p:spPr>
          <a:xfrm>
            <a:off x="926694" y="5177240"/>
            <a:ext cx="7849005" cy="646481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3"/>
          <a:stretch/>
        </p:blipFill>
        <p:spPr>
          <a:xfrm>
            <a:off x="1325880" y="4077329"/>
            <a:ext cx="7528965" cy="646481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3"/>
          <a:stretch/>
        </p:blipFill>
        <p:spPr>
          <a:xfrm>
            <a:off x="1325880" y="2969357"/>
            <a:ext cx="7528965" cy="646481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13"/>
          <a:stretch/>
        </p:blipFill>
        <p:spPr>
          <a:xfrm>
            <a:off x="926694" y="1872797"/>
            <a:ext cx="7849005" cy="64648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67767"/>
            <a:ext cx="8410575" cy="923330"/>
          </a:xfrm>
        </p:spPr>
        <p:txBody>
          <a:bodyPr/>
          <a:lstStyle/>
          <a:p>
            <a:r>
              <a:rPr lang="en-US" dirty="0" smtClean="0"/>
              <a:t>Why is CCC important? – Coverage and application</a:t>
            </a:r>
            <a:endParaRPr lang="en-US" dirty="0"/>
          </a:p>
        </p:txBody>
      </p:sp>
      <p:sp>
        <p:nvSpPr>
          <p:cNvPr id="12" name="Block Arc 11"/>
          <p:cNvSpPr/>
          <p:nvPr/>
        </p:nvSpPr>
        <p:spPr>
          <a:xfrm>
            <a:off x="-1649399" y="1240356"/>
            <a:ext cx="3049574" cy="4721788"/>
          </a:xfrm>
          <a:prstGeom prst="blockArc">
            <a:avLst>
              <a:gd name="adj1" fmla="val 16938513"/>
              <a:gd name="adj2" fmla="val 4625454"/>
              <a:gd name="adj3" fmla="val 16"/>
            </a:avLst>
          </a:prstGeom>
          <a:solidFill>
            <a:schemeClr val="bg1">
              <a:lumMod val="95000"/>
            </a:schemeClr>
          </a:solidFill>
          <a:ln w="762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rgbClr r="0" g="0" b="0"/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3" name="Freeform 12"/>
          <p:cNvSpPr/>
          <p:nvPr/>
        </p:nvSpPr>
        <p:spPr>
          <a:xfrm>
            <a:off x="1073872" y="1566746"/>
            <a:ext cx="7780973" cy="822960"/>
          </a:xfrm>
          <a:custGeom>
            <a:avLst/>
            <a:gdLst>
              <a:gd name="connsiteX0" fmla="*/ 0 w 6642140"/>
              <a:gd name="connsiteY0" fmla="*/ 0 h 539239"/>
              <a:gd name="connsiteX1" fmla="*/ 6642140 w 6642140"/>
              <a:gd name="connsiteY1" fmla="*/ 0 h 539239"/>
              <a:gd name="connsiteX2" fmla="*/ 6642140 w 6642140"/>
              <a:gd name="connsiteY2" fmla="*/ 539239 h 539239"/>
              <a:gd name="connsiteX3" fmla="*/ 0 w 6642140"/>
              <a:gd name="connsiteY3" fmla="*/ 539239 h 539239"/>
              <a:gd name="connsiteX4" fmla="*/ 0 w 6642140"/>
              <a:gd name="connsiteY4" fmla="*/ 0 h 53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2140" h="539239">
                <a:moveTo>
                  <a:pt x="0" y="0"/>
                </a:moveTo>
                <a:lnTo>
                  <a:pt x="6642140" y="0"/>
                </a:lnTo>
                <a:lnTo>
                  <a:pt x="6642140" y="539239"/>
                </a:lnTo>
                <a:lnTo>
                  <a:pt x="0" y="53923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8640" tIns="43180" rIns="91440" bIns="43180" numCol="1" spcCol="1270" anchor="ctr" anchorCtr="0">
            <a:noAutofit/>
          </a:bodyPr>
          <a:lstStyle/>
          <a:p>
            <a:pPr lvl="0" defTabSz="755650" eaLnBrk="1" hangingPunct="1">
              <a:lnSpc>
                <a:spcPct val="90000"/>
              </a:lnSpc>
              <a:tabLst>
                <a:tab pos="292100" algn="l"/>
                <a:tab pos="381000" algn="l"/>
              </a:tabLst>
            </a:pP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CC </a:t>
            </a:r>
            <a:r>
              <a:rPr lang="en-US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atalog </a:t>
            </a: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or 2015 comprises of 158 </a:t>
            </a:r>
            <a:r>
              <a:rPr lang="en-US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rticles of 20 </a:t>
            </a: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ategories. </a:t>
            </a:r>
            <a:endParaRPr lang="en-US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966267" y="2660194"/>
            <a:ext cx="7860118" cy="822960"/>
            <a:chOff x="926695" y="2891543"/>
            <a:chExt cx="7860118" cy="822960"/>
          </a:xfrm>
        </p:grpSpPr>
        <p:sp>
          <p:nvSpPr>
            <p:cNvPr id="30" name="Freeform 29"/>
            <p:cNvSpPr/>
            <p:nvPr/>
          </p:nvSpPr>
          <p:spPr>
            <a:xfrm>
              <a:off x="1400175" y="2891543"/>
              <a:ext cx="7386638" cy="822960"/>
            </a:xfrm>
            <a:custGeom>
              <a:avLst/>
              <a:gdLst>
                <a:gd name="connsiteX0" fmla="*/ 0 w 6642140"/>
                <a:gd name="connsiteY0" fmla="*/ 0 h 539239"/>
                <a:gd name="connsiteX1" fmla="*/ 6642140 w 6642140"/>
                <a:gd name="connsiteY1" fmla="*/ 0 h 539239"/>
                <a:gd name="connsiteX2" fmla="*/ 6642140 w 6642140"/>
                <a:gd name="connsiteY2" fmla="*/ 539239 h 539239"/>
                <a:gd name="connsiteX3" fmla="*/ 0 w 6642140"/>
                <a:gd name="connsiteY3" fmla="*/ 539239 h 539239"/>
                <a:gd name="connsiteX4" fmla="*/ 0 w 6642140"/>
                <a:gd name="connsiteY4" fmla="*/ 0 h 53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2140" h="539239">
                  <a:moveTo>
                    <a:pt x="0" y="0"/>
                  </a:moveTo>
                  <a:lnTo>
                    <a:pt x="6642140" y="0"/>
                  </a:lnTo>
                  <a:lnTo>
                    <a:pt x="6642140" y="539239"/>
                  </a:lnTo>
                  <a:lnTo>
                    <a:pt x="0" y="539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48640" tIns="43180" rIns="91440" bIns="43180" numCol="1" spcCol="1270" anchor="ctr" anchorCtr="0">
              <a:noAutofit/>
            </a:bodyPr>
            <a:lstStyle/>
            <a:p>
              <a:pPr lvl="0" defTabSz="755650">
                <a:spcAft>
                  <a:spcPct val="35000"/>
                </a:spcAft>
              </a:pPr>
              <a:r>
                <a:rPr lang="en-GB" sz="2000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CCC </a:t>
              </a:r>
              <a:r>
                <a:rPr lang="en-GB" sz="2000" dirty="0" err="1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catalog</a:t>
              </a:r>
              <a:r>
                <a:rPr lang="en-GB" sz="2000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 is adjusted annually (products/categories removed and added)</a:t>
              </a:r>
              <a:endParaRPr lang="en-GB" sz="2000" dirty="0">
                <a:solidFill>
                  <a:schemeClr val="tx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926695" y="2891543"/>
              <a:ext cx="822960" cy="82296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926695" y="3765448"/>
            <a:ext cx="7860118" cy="822960"/>
            <a:chOff x="926695" y="3988694"/>
            <a:chExt cx="7860118" cy="822960"/>
          </a:xfrm>
        </p:grpSpPr>
        <p:sp>
          <p:nvSpPr>
            <p:cNvPr id="32" name="Freeform 31"/>
            <p:cNvSpPr/>
            <p:nvPr/>
          </p:nvSpPr>
          <p:spPr>
            <a:xfrm>
              <a:off x="1400175" y="3988694"/>
              <a:ext cx="7386638" cy="822960"/>
            </a:xfrm>
            <a:custGeom>
              <a:avLst/>
              <a:gdLst>
                <a:gd name="connsiteX0" fmla="*/ 0 w 6642140"/>
                <a:gd name="connsiteY0" fmla="*/ 0 h 539239"/>
                <a:gd name="connsiteX1" fmla="*/ 6642140 w 6642140"/>
                <a:gd name="connsiteY1" fmla="*/ 0 h 539239"/>
                <a:gd name="connsiteX2" fmla="*/ 6642140 w 6642140"/>
                <a:gd name="connsiteY2" fmla="*/ 539239 h 539239"/>
                <a:gd name="connsiteX3" fmla="*/ 0 w 6642140"/>
                <a:gd name="connsiteY3" fmla="*/ 539239 h 539239"/>
                <a:gd name="connsiteX4" fmla="*/ 0 w 6642140"/>
                <a:gd name="connsiteY4" fmla="*/ 0 h 53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2140" h="539239">
                  <a:moveTo>
                    <a:pt x="0" y="0"/>
                  </a:moveTo>
                  <a:lnTo>
                    <a:pt x="6642140" y="0"/>
                  </a:lnTo>
                  <a:lnTo>
                    <a:pt x="6642140" y="539239"/>
                  </a:lnTo>
                  <a:lnTo>
                    <a:pt x="0" y="539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48640" tIns="43180" rIns="91440" bIns="43180" numCol="1" spcCol="1270" anchor="ctr" anchorCtr="0">
              <a:noAutofit/>
            </a:bodyPr>
            <a:lstStyle/>
            <a:p>
              <a:pPr defTabSz="755650">
                <a:spcAft>
                  <a:spcPct val="35000"/>
                </a:spcAft>
              </a:pPr>
              <a:r>
                <a:rPr lang="en-GB" sz="20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Detailed </a:t>
              </a:r>
              <a:r>
                <a:rPr lang="en-GB" sz="2000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documentary requirements </a:t>
              </a:r>
              <a:r>
                <a:rPr lang="en-GB" sz="20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for certificate application</a:t>
              </a:r>
            </a:p>
          </p:txBody>
        </p:sp>
        <p:sp>
          <p:nvSpPr>
            <p:cNvPr id="33" name="Oval 32"/>
            <p:cNvSpPr/>
            <p:nvPr/>
          </p:nvSpPr>
          <p:spPr>
            <a:xfrm>
              <a:off x="926695" y="3988694"/>
              <a:ext cx="822960" cy="82296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38" name="Group 37"/>
          <p:cNvGrpSpPr/>
          <p:nvPr/>
        </p:nvGrpSpPr>
        <p:grpSpPr>
          <a:xfrm>
            <a:off x="577215" y="4864800"/>
            <a:ext cx="8209598" cy="822960"/>
            <a:chOff x="577215" y="4864800"/>
            <a:chExt cx="8209598" cy="822960"/>
          </a:xfrm>
        </p:grpSpPr>
        <p:sp>
          <p:nvSpPr>
            <p:cNvPr id="36" name="Freeform 35"/>
            <p:cNvSpPr/>
            <p:nvPr/>
          </p:nvSpPr>
          <p:spPr>
            <a:xfrm>
              <a:off x="1005840" y="4864800"/>
              <a:ext cx="7780973" cy="822960"/>
            </a:xfrm>
            <a:custGeom>
              <a:avLst/>
              <a:gdLst>
                <a:gd name="connsiteX0" fmla="*/ 0 w 6642140"/>
                <a:gd name="connsiteY0" fmla="*/ 0 h 539239"/>
                <a:gd name="connsiteX1" fmla="*/ 6642140 w 6642140"/>
                <a:gd name="connsiteY1" fmla="*/ 0 h 539239"/>
                <a:gd name="connsiteX2" fmla="*/ 6642140 w 6642140"/>
                <a:gd name="connsiteY2" fmla="*/ 539239 h 539239"/>
                <a:gd name="connsiteX3" fmla="*/ 0 w 6642140"/>
                <a:gd name="connsiteY3" fmla="*/ 539239 h 539239"/>
                <a:gd name="connsiteX4" fmla="*/ 0 w 6642140"/>
                <a:gd name="connsiteY4" fmla="*/ 0 h 539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42140" h="539239">
                  <a:moveTo>
                    <a:pt x="0" y="0"/>
                  </a:moveTo>
                  <a:lnTo>
                    <a:pt x="6642140" y="0"/>
                  </a:lnTo>
                  <a:lnTo>
                    <a:pt x="6642140" y="539239"/>
                  </a:lnTo>
                  <a:lnTo>
                    <a:pt x="0" y="5392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48640" tIns="43180" rIns="91440" bIns="43180" numCol="1" spcCol="1270" anchor="ctr" anchorCtr="0">
              <a:noAutofit/>
            </a:bodyPr>
            <a:lstStyle/>
            <a:p>
              <a:pPr lvl="0" defTabSz="755650">
                <a:spcAft>
                  <a:spcPct val="35000"/>
                </a:spcAft>
              </a:pPr>
              <a:r>
                <a:rPr lang="en-GB" sz="20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Long Lead time for certificate </a:t>
              </a:r>
              <a:r>
                <a:rPr lang="en-GB" sz="2000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issuance – at least 90 days from application, type test, factory inspection, sample test, estimation and follow-up inspection to certificate </a:t>
              </a:r>
              <a:r>
                <a:rPr lang="en-GB" sz="20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issuance</a:t>
              </a:r>
            </a:p>
          </p:txBody>
        </p:sp>
        <p:sp>
          <p:nvSpPr>
            <p:cNvPr id="37" name="Oval 36"/>
            <p:cNvSpPr/>
            <p:nvPr/>
          </p:nvSpPr>
          <p:spPr>
            <a:xfrm>
              <a:off x="577215" y="4864800"/>
              <a:ext cx="822960" cy="82296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4" name="Oval 13"/>
          <p:cNvSpPr/>
          <p:nvPr/>
        </p:nvSpPr>
        <p:spPr>
          <a:xfrm>
            <a:off x="577215" y="1566746"/>
            <a:ext cx="822960" cy="822960"/>
          </a:xfrm>
          <a:prstGeom prst="ellipse">
            <a:avLst/>
          </a:prstGeom>
          <a:solidFill>
            <a:schemeClr val="tx2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2" name="Freeform 51"/>
          <p:cNvSpPr/>
          <p:nvPr/>
        </p:nvSpPr>
        <p:spPr>
          <a:xfrm>
            <a:off x="712212" y="1747032"/>
            <a:ext cx="552967" cy="462388"/>
          </a:xfrm>
          <a:custGeom>
            <a:avLst/>
            <a:gdLst>
              <a:gd name="connsiteX0" fmla="*/ 876729 w 3338748"/>
              <a:gd name="connsiteY0" fmla="*/ 1390478 h 2791847"/>
              <a:gd name="connsiteX1" fmla="*/ 1000888 w 3338748"/>
              <a:gd name="connsiteY1" fmla="*/ 1390478 h 2791847"/>
              <a:gd name="connsiteX2" fmla="*/ 1000888 w 3338748"/>
              <a:gd name="connsiteY2" fmla="*/ 1490900 h 2791847"/>
              <a:gd name="connsiteX3" fmla="*/ 1152435 w 3338748"/>
              <a:gd name="connsiteY3" fmla="*/ 1514636 h 2791847"/>
              <a:gd name="connsiteX4" fmla="*/ 1152435 w 3338748"/>
              <a:gd name="connsiteY4" fmla="*/ 1702699 h 2791847"/>
              <a:gd name="connsiteX5" fmla="*/ 924201 w 3338748"/>
              <a:gd name="connsiteY5" fmla="*/ 1658879 h 2791847"/>
              <a:gd name="connsiteX6" fmla="*/ 916898 w 3338748"/>
              <a:gd name="connsiteY6" fmla="*/ 1735565 h 2791847"/>
              <a:gd name="connsiteX7" fmla="*/ 1185300 w 3338748"/>
              <a:gd name="connsiteY7" fmla="*/ 2018572 h 2791847"/>
              <a:gd name="connsiteX8" fmla="*/ 1002714 w 3338748"/>
              <a:gd name="connsiteY8" fmla="*/ 2215765 h 2791847"/>
              <a:gd name="connsiteX9" fmla="*/ 1002714 w 3338748"/>
              <a:gd name="connsiteY9" fmla="*/ 2332619 h 2791847"/>
              <a:gd name="connsiteX10" fmla="*/ 878555 w 3338748"/>
              <a:gd name="connsiteY10" fmla="*/ 2332619 h 2791847"/>
              <a:gd name="connsiteX11" fmla="*/ 878555 w 3338748"/>
              <a:gd name="connsiteY11" fmla="*/ 2230371 h 2791847"/>
              <a:gd name="connsiteX12" fmla="*/ 683187 w 3338748"/>
              <a:gd name="connsiteY12" fmla="*/ 2186551 h 2791847"/>
              <a:gd name="connsiteX13" fmla="*/ 683187 w 3338748"/>
              <a:gd name="connsiteY13" fmla="*/ 1991184 h 2791847"/>
              <a:gd name="connsiteX14" fmla="*/ 905943 w 3338748"/>
              <a:gd name="connsiteY14" fmla="*/ 2067870 h 2791847"/>
              <a:gd name="connsiteX15" fmla="*/ 935157 w 3338748"/>
              <a:gd name="connsiteY15" fmla="*/ 1982055 h 2791847"/>
              <a:gd name="connsiteX16" fmla="*/ 679535 w 3338748"/>
              <a:gd name="connsiteY16" fmla="*/ 1668008 h 2791847"/>
              <a:gd name="connsiteX17" fmla="*/ 878555 w 3338748"/>
              <a:gd name="connsiteY17" fmla="*/ 1498204 h 2791847"/>
              <a:gd name="connsiteX18" fmla="*/ 930298 w 3338748"/>
              <a:gd name="connsiteY18" fmla="*/ 1209872 h 2791847"/>
              <a:gd name="connsiteX19" fmla="*/ 278620 w 3338748"/>
              <a:gd name="connsiteY19" fmla="*/ 1861550 h 2791847"/>
              <a:gd name="connsiteX20" fmla="*/ 930298 w 3338748"/>
              <a:gd name="connsiteY20" fmla="*/ 2513228 h 2791847"/>
              <a:gd name="connsiteX21" fmla="*/ 1581976 w 3338748"/>
              <a:gd name="connsiteY21" fmla="*/ 1861550 h 2791847"/>
              <a:gd name="connsiteX22" fmla="*/ 930298 w 3338748"/>
              <a:gd name="connsiteY22" fmla="*/ 1209872 h 2791847"/>
              <a:gd name="connsiteX23" fmla="*/ 930298 w 3338748"/>
              <a:gd name="connsiteY23" fmla="*/ 931252 h 2791847"/>
              <a:gd name="connsiteX24" fmla="*/ 1072299 w 3338748"/>
              <a:gd name="connsiteY24" fmla="*/ 943210 h 2791847"/>
              <a:gd name="connsiteX25" fmla="*/ 1325271 w 3338748"/>
              <a:gd name="connsiteY25" fmla="*/ 1184827 h 2791847"/>
              <a:gd name="connsiteX26" fmla="*/ 1491822 w 3338748"/>
              <a:gd name="connsiteY26" fmla="*/ 1121080 h 2791847"/>
              <a:gd name="connsiteX27" fmla="*/ 1672734 w 3338748"/>
              <a:gd name="connsiteY27" fmla="*/ 1303906 h 2791847"/>
              <a:gd name="connsiteX28" fmla="*/ 1607021 w 3338748"/>
              <a:gd name="connsiteY28" fmla="*/ 1472839 h 2791847"/>
              <a:gd name="connsiteX29" fmla="*/ 1850368 w 3338748"/>
              <a:gd name="connsiteY29" fmla="*/ 1725897 h 2791847"/>
              <a:gd name="connsiteX30" fmla="*/ 1860596 w 3338748"/>
              <a:gd name="connsiteY30" fmla="*/ 1861550 h 2791847"/>
              <a:gd name="connsiteX31" fmla="*/ 1850724 w 3338748"/>
              <a:gd name="connsiteY31" fmla="*/ 1989879 h 2791847"/>
              <a:gd name="connsiteX32" fmla="*/ 1607021 w 3338748"/>
              <a:gd name="connsiteY32" fmla="*/ 2242956 h 2791847"/>
              <a:gd name="connsiteX33" fmla="*/ 1676090 w 3338748"/>
              <a:gd name="connsiteY33" fmla="*/ 2415956 h 2791847"/>
              <a:gd name="connsiteX34" fmla="*/ 1492316 w 3338748"/>
              <a:gd name="connsiteY34" fmla="*/ 2602428 h 2791847"/>
              <a:gd name="connsiteX35" fmla="*/ 1325271 w 3338748"/>
              <a:gd name="connsiteY35" fmla="*/ 2538272 h 2791847"/>
              <a:gd name="connsiteX36" fmla="*/ 1072260 w 3338748"/>
              <a:gd name="connsiteY36" fmla="*/ 2780661 h 2791847"/>
              <a:gd name="connsiteX37" fmla="*/ 930298 w 3338748"/>
              <a:gd name="connsiteY37" fmla="*/ 2791847 h 2791847"/>
              <a:gd name="connsiteX38" fmla="*/ 779885 w 3338748"/>
              <a:gd name="connsiteY38" fmla="*/ 2778605 h 2791847"/>
              <a:gd name="connsiteX39" fmla="*/ 526978 w 3338748"/>
              <a:gd name="connsiteY39" fmla="*/ 2538272 h 2791847"/>
              <a:gd name="connsiteX40" fmla="*/ 364396 w 3338748"/>
              <a:gd name="connsiteY40" fmla="*/ 2598745 h 2791847"/>
              <a:gd name="connsiteX41" fmla="*/ 179810 w 3338748"/>
              <a:gd name="connsiteY41" fmla="*/ 2408419 h 2791847"/>
              <a:gd name="connsiteX42" fmla="*/ 242660 w 3338748"/>
              <a:gd name="connsiteY42" fmla="*/ 2242956 h 2791847"/>
              <a:gd name="connsiteX43" fmla="*/ 9212 w 3338748"/>
              <a:gd name="connsiteY43" fmla="*/ 1990397 h 2791847"/>
              <a:gd name="connsiteX44" fmla="*/ 0 w 3338748"/>
              <a:gd name="connsiteY44" fmla="*/ 1861550 h 2791847"/>
              <a:gd name="connsiteX45" fmla="*/ 10309 w 3338748"/>
              <a:gd name="connsiteY45" fmla="*/ 1725342 h 2791847"/>
              <a:gd name="connsiteX46" fmla="*/ 242660 w 3338748"/>
              <a:gd name="connsiteY46" fmla="*/ 1472839 h 2791847"/>
              <a:gd name="connsiteX47" fmla="*/ 182661 w 3338748"/>
              <a:gd name="connsiteY47" fmla="*/ 1310832 h 2791847"/>
              <a:gd name="connsiteX48" fmla="*/ 364396 w 3338748"/>
              <a:gd name="connsiteY48" fmla="*/ 1124354 h 2791847"/>
              <a:gd name="connsiteX49" fmla="*/ 526978 w 3338748"/>
              <a:gd name="connsiteY49" fmla="*/ 1184827 h 2791847"/>
              <a:gd name="connsiteX50" fmla="*/ 779885 w 3338748"/>
              <a:gd name="connsiteY50" fmla="*/ 944495 h 2791847"/>
              <a:gd name="connsiteX51" fmla="*/ 930298 w 3338748"/>
              <a:gd name="connsiteY51" fmla="*/ 931252 h 2791847"/>
              <a:gd name="connsiteX52" fmla="*/ 2354881 w 3338748"/>
              <a:gd name="connsiteY52" fmla="*/ 459226 h 2791847"/>
              <a:gd name="connsiteX53" fmla="*/ 2479040 w 3338748"/>
              <a:gd name="connsiteY53" fmla="*/ 459226 h 2791847"/>
              <a:gd name="connsiteX54" fmla="*/ 2479040 w 3338748"/>
              <a:gd name="connsiteY54" fmla="*/ 559648 h 2791847"/>
              <a:gd name="connsiteX55" fmla="*/ 2630587 w 3338748"/>
              <a:gd name="connsiteY55" fmla="*/ 583384 h 2791847"/>
              <a:gd name="connsiteX56" fmla="*/ 2630587 w 3338748"/>
              <a:gd name="connsiteY56" fmla="*/ 771447 h 2791847"/>
              <a:gd name="connsiteX57" fmla="*/ 2402353 w 3338748"/>
              <a:gd name="connsiteY57" fmla="*/ 727626 h 2791847"/>
              <a:gd name="connsiteX58" fmla="*/ 2395050 w 3338748"/>
              <a:gd name="connsiteY58" fmla="*/ 804312 h 2791847"/>
              <a:gd name="connsiteX59" fmla="*/ 2663452 w 3338748"/>
              <a:gd name="connsiteY59" fmla="*/ 1087320 h 2791847"/>
              <a:gd name="connsiteX60" fmla="*/ 2480866 w 3338748"/>
              <a:gd name="connsiteY60" fmla="*/ 1284513 h 2791847"/>
              <a:gd name="connsiteX61" fmla="*/ 2480866 w 3338748"/>
              <a:gd name="connsiteY61" fmla="*/ 1401367 h 2791847"/>
              <a:gd name="connsiteX62" fmla="*/ 2356707 w 3338748"/>
              <a:gd name="connsiteY62" fmla="*/ 1401367 h 2791847"/>
              <a:gd name="connsiteX63" fmla="*/ 2356707 w 3338748"/>
              <a:gd name="connsiteY63" fmla="*/ 1299119 h 2791847"/>
              <a:gd name="connsiteX64" fmla="*/ 2161339 w 3338748"/>
              <a:gd name="connsiteY64" fmla="*/ 1255299 h 2791847"/>
              <a:gd name="connsiteX65" fmla="*/ 2161339 w 3338748"/>
              <a:gd name="connsiteY65" fmla="*/ 1059932 h 2791847"/>
              <a:gd name="connsiteX66" fmla="*/ 2384095 w 3338748"/>
              <a:gd name="connsiteY66" fmla="*/ 1136618 h 2791847"/>
              <a:gd name="connsiteX67" fmla="*/ 2413309 w 3338748"/>
              <a:gd name="connsiteY67" fmla="*/ 1050803 h 2791847"/>
              <a:gd name="connsiteX68" fmla="*/ 2157687 w 3338748"/>
              <a:gd name="connsiteY68" fmla="*/ 736756 h 2791847"/>
              <a:gd name="connsiteX69" fmla="*/ 2356707 w 3338748"/>
              <a:gd name="connsiteY69" fmla="*/ 566951 h 2791847"/>
              <a:gd name="connsiteX70" fmla="*/ 2408450 w 3338748"/>
              <a:gd name="connsiteY70" fmla="*/ 278619 h 2791847"/>
              <a:gd name="connsiteX71" fmla="*/ 1756772 w 3338748"/>
              <a:gd name="connsiteY71" fmla="*/ 930297 h 2791847"/>
              <a:gd name="connsiteX72" fmla="*/ 2408450 w 3338748"/>
              <a:gd name="connsiteY72" fmla="*/ 1581976 h 2791847"/>
              <a:gd name="connsiteX73" fmla="*/ 3060128 w 3338748"/>
              <a:gd name="connsiteY73" fmla="*/ 930297 h 2791847"/>
              <a:gd name="connsiteX74" fmla="*/ 2408450 w 3338748"/>
              <a:gd name="connsiteY74" fmla="*/ 278619 h 2791847"/>
              <a:gd name="connsiteX75" fmla="*/ 2408450 w 3338748"/>
              <a:gd name="connsiteY75" fmla="*/ 0 h 2791847"/>
              <a:gd name="connsiteX76" fmla="*/ 2550451 w 3338748"/>
              <a:gd name="connsiteY76" fmla="*/ 11958 h 2791847"/>
              <a:gd name="connsiteX77" fmla="*/ 2803423 w 3338748"/>
              <a:gd name="connsiteY77" fmla="*/ 253575 h 2791847"/>
              <a:gd name="connsiteX78" fmla="*/ 2969974 w 3338748"/>
              <a:gd name="connsiteY78" fmla="*/ 189827 h 2791847"/>
              <a:gd name="connsiteX79" fmla="*/ 3150886 w 3338748"/>
              <a:gd name="connsiteY79" fmla="*/ 372654 h 2791847"/>
              <a:gd name="connsiteX80" fmla="*/ 3085173 w 3338748"/>
              <a:gd name="connsiteY80" fmla="*/ 541586 h 2791847"/>
              <a:gd name="connsiteX81" fmla="*/ 3328520 w 3338748"/>
              <a:gd name="connsiteY81" fmla="*/ 794645 h 2791847"/>
              <a:gd name="connsiteX82" fmla="*/ 3338748 w 3338748"/>
              <a:gd name="connsiteY82" fmla="*/ 930297 h 2791847"/>
              <a:gd name="connsiteX83" fmla="*/ 3328876 w 3338748"/>
              <a:gd name="connsiteY83" fmla="*/ 1058627 h 2791847"/>
              <a:gd name="connsiteX84" fmla="*/ 3085173 w 3338748"/>
              <a:gd name="connsiteY84" fmla="*/ 1311704 h 2791847"/>
              <a:gd name="connsiteX85" fmla="*/ 3154242 w 3338748"/>
              <a:gd name="connsiteY85" fmla="*/ 1484704 h 2791847"/>
              <a:gd name="connsiteX86" fmla="*/ 2970468 w 3338748"/>
              <a:gd name="connsiteY86" fmla="*/ 1671176 h 2791847"/>
              <a:gd name="connsiteX87" fmla="*/ 2803423 w 3338748"/>
              <a:gd name="connsiteY87" fmla="*/ 1607020 h 2791847"/>
              <a:gd name="connsiteX88" fmla="*/ 2550412 w 3338748"/>
              <a:gd name="connsiteY88" fmla="*/ 1849409 h 2791847"/>
              <a:gd name="connsiteX89" fmla="*/ 2408450 w 3338748"/>
              <a:gd name="connsiteY89" fmla="*/ 1860595 h 2791847"/>
              <a:gd name="connsiteX90" fmla="*/ 2258037 w 3338748"/>
              <a:gd name="connsiteY90" fmla="*/ 1847353 h 2791847"/>
              <a:gd name="connsiteX91" fmla="*/ 2005130 w 3338748"/>
              <a:gd name="connsiteY91" fmla="*/ 1607020 h 2791847"/>
              <a:gd name="connsiteX92" fmla="*/ 1842548 w 3338748"/>
              <a:gd name="connsiteY92" fmla="*/ 1667493 h 2791847"/>
              <a:gd name="connsiteX93" fmla="*/ 1657962 w 3338748"/>
              <a:gd name="connsiteY93" fmla="*/ 1477167 h 2791847"/>
              <a:gd name="connsiteX94" fmla="*/ 1720812 w 3338748"/>
              <a:gd name="connsiteY94" fmla="*/ 1311704 h 2791847"/>
              <a:gd name="connsiteX95" fmla="*/ 1487364 w 3338748"/>
              <a:gd name="connsiteY95" fmla="*/ 1059145 h 2791847"/>
              <a:gd name="connsiteX96" fmla="*/ 1478152 w 3338748"/>
              <a:gd name="connsiteY96" fmla="*/ 930297 h 2791847"/>
              <a:gd name="connsiteX97" fmla="*/ 1488461 w 3338748"/>
              <a:gd name="connsiteY97" fmla="*/ 794090 h 2791847"/>
              <a:gd name="connsiteX98" fmla="*/ 1720812 w 3338748"/>
              <a:gd name="connsiteY98" fmla="*/ 541586 h 2791847"/>
              <a:gd name="connsiteX99" fmla="*/ 1660813 w 3338748"/>
              <a:gd name="connsiteY99" fmla="*/ 379579 h 2791847"/>
              <a:gd name="connsiteX100" fmla="*/ 1842548 w 3338748"/>
              <a:gd name="connsiteY100" fmla="*/ 193102 h 2791847"/>
              <a:gd name="connsiteX101" fmla="*/ 2005130 w 3338748"/>
              <a:gd name="connsiteY101" fmla="*/ 253575 h 2791847"/>
              <a:gd name="connsiteX102" fmla="*/ 2258037 w 3338748"/>
              <a:gd name="connsiteY102" fmla="*/ 13242 h 2791847"/>
              <a:gd name="connsiteX103" fmla="*/ 2408450 w 3338748"/>
              <a:gd name="connsiteY103" fmla="*/ 0 h 2791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3338748" h="2791847">
                <a:moveTo>
                  <a:pt x="876729" y="1390478"/>
                </a:moveTo>
                <a:lnTo>
                  <a:pt x="1000888" y="1390478"/>
                </a:lnTo>
                <a:lnTo>
                  <a:pt x="1000888" y="1490900"/>
                </a:lnTo>
                <a:cubicBezTo>
                  <a:pt x="1058707" y="1492422"/>
                  <a:pt x="1101919" y="1500334"/>
                  <a:pt x="1152435" y="1514636"/>
                </a:cubicBezTo>
                <a:lnTo>
                  <a:pt x="1152435" y="1702699"/>
                </a:lnTo>
                <a:cubicBezTo>
                  <a:pt x="1066315" y="1657053"/>
                  <a:pt x="959197" y="1636056"/>
                  <a:pt x="924201" y="1658879"/>
                </a:cubicBezTo>
                <a:cubicBezTo>
                  <a:pt x="889814" y="1672573"/>
                  <a:pt x="892857" y="1719132"/>
                  <a:pt x="916898" y="1735565"/>
                </a:cubicBezTo>
                <a:cubicBezTo>
                  <a:pt x="947025" y="1777864"/>
                  <a:pt x="1209036" y="1819250"/>
                  <a:pt x="1185300" y="2018572"/>
                </a:cubicBezTo>
                <a:cubicBezTo>
                  <a:pt x="1173736" y="2157337"/>
                  <a:pt x="1050795" y="2202071"/>
                  <a:pt x="1002714" y="2215765"/>
                </a:cubicBezTo>
                <a:lnTo>
                  <a:pt x="1002714" y="2332619"/>
                </a:lnTo>
                <a:lnTo>
                  <a:pt x="878555" y="2332619"/>
                </a:lnTo>
                <a:lnTo>
                  <a:pt x="878555" y="2230371"/>
                </a:lnTo>
                <a:cubicBezTo>
                  <a:pt x="805216" y="2228546"/>
                  <a:pt x="716357" y="2208461"/>
                  <a:pt x="683187" y="2186551"/>
                </a:cubicBezTo>
                <a:lnTo>
                  <a:pt x="683187" y="1991184"/>
                </a:lnTo>
                <a:cubicBezTo>
                  <a:pt x="751049" y="2049612"/>
                  <a:pt x="850863" y="2073348"/>
                  <a:pt x="905943" y="2067870"/>
                </a:cubicBezTo>
                <a:cubicBezTo>
                  <a:pt x="959502" y="2062089"/>
                  <a:pt x="961023" y="2004270"/>
                  <a:pt x="935157" y="1982055"/>
                </a:cubicBezTo>
                <a:cubicBezTo>
                  <a:pt x="899248" y="1931235"/>
                  <a:pt x="631454" y="1913281"/>
                  <a:pt x="679535" y="1668008"/>
                </a:cubicBezTo>
                <a:cubicBezTo>
                  <a:pt x="701141" y="1542937"/>
                  <a:pt x="826822" y="1502768"/>
                  <a:pt x="878555" y="1498204"/>
                </a:cubicBezTo>
                <a:close/>
                <a:moveTo>
                  <a:pt x="930298" y="1209872"/>
                </a:moveTo>
                <a:cubicBezTo>
                  <a:pt x="570386" y="1209872"/>
                  <a:pt x="278620" y="1501638"/>
                  <a:pt x="278620" y="1861550"/>
                </a:cubicBezTo>
                <a:cubicBezTo>
                  <a:pt x="278620" y="2221462"/>
                  <a:pt x="570386" y="2513228"/>
                  <a:pt x="930298" y="2513228"/>
                </a:cubicBezTo>
                <a:cubicBezTo>
                  <a:pt x="1290210" y="2513228"/>
                  <a:pt x="1581976" y="2221462"/>
                  <a:pt x="1581976" y="1861550"/>
                </a:cubicBezTo>
                <a:cubicBezTo>
                  <a:pt x="1581976" y="1501638"/>
                  <a:pt x="1290210" y="1209872"/>
                  <a:pt x="930298" y="1209872"/>
                </a:cubicBezTo>
                <a:close/>
                <a:moveTo>
                  <a:pt x="930298" y="931252"/>
                </a:moveTo>
                <a:cubicBezTo>
                  <a:pt x="978641" y="931252"/>
                  <a:pt x="1026123" y="934940"/>
                  <a:pt x="1072299" y="943210"/>
                </a:cubicBezTo>
                <a:cubicBezTo>
                  <a:pt x="1078225" y="1077712"/>
                  <a:pt x="1189239" y="1184827"/>
                  <a:pt x="1325271" y="1184827"/>
                </a:cubicBezTo>
                <a:cubicBezTo>
                  <a:pt x="1389346" y="1184827"/>
                  <a:pt x="1447870" y="1161062"/>
                  <a:pt x="1491822" y="1121080"/>
                </a:cubicBezTo>
                <a:cubicBezTo>
                  <a:pt x="1560665" y="1172964"/>
                  <a:pt x="1621985" y="1234245"/>
                  <a:pt x="1672734" y="1303906"/>
                </a:cubicBezTo>
                <a:cubicBezTo>
                  <a:pt x="1631620" y="1348206"/>
                  <a:pt x="1607021" y="1407650"/>
                  <a:pt x="1607021" y="1472839"/>
                </a:cubicBezTo>
                <a:cubicBezTo>
                  <a:pt x="1607021" y="1609454"/>
                  <a:pt x="1715058" y="1720837"/>
                  <a:pt x="1850368" y="1725897"/>
                </a:cubicBezTo>
                <a:cubicBezTo>
                  <a:pt x="1857243" y="1770137"/>
                  <a:pt x="1860596" y="1815452"/>
                  <a:pt x="1860596" y="1861550"/>
                </a:cubicBezTo>
                <a:cubicBezTo>
                  <a:pt x="1860596" y="1905141"/>
                  <a:pt x="1857598" y="1948032"/>
                  <a:pt x="1850724" y="1989879"/>
                </a:cubicBezTo>
                <a:cubicBezTo>
                  <a:pt x="1715248" y="1994762"/>
                  <a:pt x="1607021" y="2106220"/>
                  <a:pt x="1607021" y="2242956"/>
                </a:cubicBezTo>
                <a:cubicBezTo>
                  <a:pt x="1607021" y="2310045"/>
                  <a:pt x="1633075" y="2371048"/>
                  <a:pt x="1676090" y="2415956"/>
                </a:cubicBezTo>
                <a:cubicBezTo>
                  <a:pt x="1623970" y="2486508"/>
                  <a:pt x="1562059" y="2549342"/>
                  <a:pt x="1492316" y="2602428"/>
                </a:cubicBezTo>
                <a:cubicBezTo>
                  <a:pt x="1448293" y="2562210"/>
                  <a:pt x="1389577" y="2538272"/>
                  <a:pt x="1325271" y="2538272"/>
                </a:cubicBezTo>
                <a:cubicBezTo>
                  <a:pt x="1188978" y="2538272"/>
                  <a:pt x="1077799" y="2645798"/>
                  <a:pt x="1072260" y="2780661"/>
                </a:cubicBezTo>
                <a:cubicBezTo>
                  <a:pt x="1026020" y="2788168"/>
                  <a:pt x="978589" y="2791847"/>
                  <a:pt x="930298" y="2791847"/>
                </a:cubicBezTo>
                <a:cubicBezTo>
                  <a:pt x="879025" y="2791847"/>
                  <a:pt x="828721" y="2787699"/>
                  <a:pt x="779885" y="2778605"/>
                </a:cubicBezTo>
                <a:cubicBezTo>
                  <a:pt x="773316" y="2644706"/>
                  <a:pt x="662576" y="2538272"/>
                  <a:pt x="526978" y="2538272"/>
                </a:cubicBezTo>
                <a:cubicBezTo>
                  <a:pt x="464760" y="2538272"/>
                  <a:pt x="407776" y="2560680"/>
                  <a:pt x="364396" y="2598745"/>
                </a:cubicBezTo>
                <a:cubicBezTo>
                  <a:pt x="293756" y="2544835"/>
                  <a:pt x="231152" y="2480984"/>
                  <a:pt x="179810" y="2408419"/>
                </a:cubicBezTo>
                <a:cubicBezTo>
                  <a:pt x="219271" y="2364626"/>
                  <a:pt x="242660" y="2306522"/>
                  <a:pt x="242660" y="2242956"/>
                </a:cubicBezTo>
                <a:cubicBezTo>
                  <a:pt x="242660" y="2109691"/>
                  <a:pt x="139858" y="2000436"/>
                  <a:pt x="9212" y="1990397"/>
                </a:cubicBezTo>
                <a:cubicBezTo>
                  <a:pt x="3018" y="1948318"/>
                  <a:pt x="0" y="1905286"/>
                  <a:pt x="0" y="1861550"/>
                </a:cubicBezTo>
                <a:cubicBezTo>
                  <a:pt x="0" y="1815259"/>
                  <a:pt x="3381" y="1769758"/>
                  <a:pt x="10309" y="1725342"/>
                </a:cubicBezTo>
                <a:cubicBezTo>
                  <a:pt x="140432" y="1714747"/>
                  <a:pt x="242660" y="1605731"/>
                  <a:pt x="242660" y="1472839"/>
                </a:cubicBezTo>
                <a:cubicBezTo>
                  <a:pt x="242660" y="1410890"/>
                  <a:pt x="220446" y="1354129"/>
                  <a:pt x="182661" y="1310832"/>
                </a:cubicBezTo>
                <a:cubicBezTo>
                  <a:pt x="233408" y="1239821"/>
                  <a:pt x="295027" y="1177295"/>
                  <a:pt x="364396" y="1124354"/>
                </a:cubicBezTo>
                <a:cubicBezTo>
                  <a:pt x="407776" y="1162420"/>
                  <a:pt x="464760" y="1184827"/>
                  <a:pt x="526978" y="1184827"/>
                </a:cubicBezTo>
                <a:cubicBezTo>
                  <a:pt x="662576" y="1184827"/>
                  <a:pt x="773316" y="1078394"/>
                  <a:pt x="779885" y="944495"/>
                </a:cubicBezTo>
                <a:cubicBezTo>
                  <a:pt x="828721" y="935400"/>
                  <a:pt x="879025" y="931252"/>
                  <a:pt x="930298" y="931252"/>
                </a:cubicBezTo>
                <a:close/>
                <a:moveTo>
                  <a:pt x="2354881" y="459226"/>
                </a:moveTo>
                <a:lnTo>
                  <a:pt x="2479040" y="459226"/>
                </a:lnTo>
                <a:lnTo>
                  <a:pt x="2479040" y="559648"/>
                </a:lnTo>
                <a:cubicBezTo>
                  <a:pt x="2536859" y="561169"/>
                  <a:pt x="2580071" y="569081"/>
                  <a:pt x="2630587" y="583384"/>
                </a:cubicBezTo>
                <a:lnTo>
                  <a:pt x="2630587" y="771447"/>
                </a:lnTo>
                <a:cubicBezTo>
                  <a:pt x="2544467" y="725801"/>
                  <a:pt x="2437349" y="704803"/>
                  <a:pt x="2402353" y="727626"/>
                </a:cubicBezTo>
                <a:cubicBezTo>
                  <a:pt x="2367966" y="741320"/>
                  <a:pt x="2371009" y="787880"/>
                  <a:pt x="2395050" y="804312"/>
                </a:cubicBezTo>
                <a:cubicBezTo>
                  <a:pt x="2425177" y="846611"/>
                  <a:pt x="2687188" y="887997"/>
                  <a:pt x="2663452" y="1087320"/>
                </a:cubicBezTo>
                <a:cubicBezTo>
                  <a:pt x="2651888" y="1226085"/>
                  <a:pt x="2528947" y="1270819"/>
                  <a:pt x="2480866" y="1284513"/>
                </a:cubicBezTo>
                <a:lnTo>
                  <a:pt x="2480866" y="1401367"/>
                </a:lnTo>
                <a:lnTo>
                  <a:pt x="2356707" y="1401367"/>
                </a:lnTo>
                <a:lnTo>
                  <a:pt x="2356707" y="1299119"/>
                </a:lnTo>
                <a:cubicBezTo>
                  <a:pt x="2283368" y="1297294"/>
                  <a:pt x="2194509" y="1277209"/>
                  <a:pt x="2161339" y="1255299"/>
                </a:cubicBezTo>
                <a:lnTo>
                  <a:pt x="2161339" y="1059932"/>
                </a:lnTo>
                <a:cubicBezTo>
                  <a:pt x="2229201" y="1118360"/>
                  <a:pt x="2329015" y="1142096"/>
                  <a:pt x="2384095" y="1136618"/>
                </a:cubicBezTo>
                <a:cubicBezTo>
                  <a:pt x="2437654" y="1130837"/>
                  <a:pt x="2439175" y="1073018"/>
                  <a:pt x="2413309" y="1050803"/>
                </a:cubicBezTo>
                <a:cubicBezTo>
                  <a:pt x="2377400" y="999983"/>
                  <a:pt x="2109606" y="982029"/>
                  <a:pt x="2157687" y="736756"/>
                </a:cubicBezTo>
                <a:cubicBezTo>
                  <a:pt x="2179293" y="611685"/>
                  <a:pt x="2304974" y="571516"/>
                  <a:pt x="2356707" y="566951"/>
                </a:cubicBezTo>
                <a:close/>
                <a:moveTo>
                  <a:pt x="2408450" y="278619"/>
                </a:moveTo>
                <a:cubicBezTo>
                  <a:pt x="2048538" y="278619"/>
                  <a:pt x="1756772" y="570385"/>
                  <a:pt x="1756772" y="930297"/>
                </a:cubicBezTo>
                <a:cubicBezTo>
                  <a:pt x="1756772" y="1290210"/>
                  <a:pt x="2048538" y="1581976"/>
                  <a:pt x="2408450" y="1581976"/>
                </a:cubicBezTo>
                <a:cubicBezTo>
                  <a:pt x="2768362" y="1581976"/>
                  <a:pt x="3060128" y="1290210"/>
                  <a:pt x="3060128" y="930297"/>
                </a:cubicBezTo>
                <a:cubicBezTo>
                  <a:pt x="3060128" y="570385"/>
                  <a:pt x="2768362" y="278619"/>
                  <a:pt x="2408450" y="278619"/>
                </a:cubicBezTo>
                <a:close/>
                <a:moveTo>
                  <a:pt x="2408450" y="0"/>
                </a:moveTo>
                <a:cubicBezTo>
                  <a:pt x="2456793" y="0"/>
                  <a:pt x="2504275" y="3687"/>
                  <a:pt x="2550451" y="11958"/>
                </a:cubicBezTo>
                <a:cubicBezTo>
                  <a:pt x="2556377" y="146460"/>
                  <a:pt x="2667391" y="253575"/>
                  <a:pt x="2803423" y="253575"/>
                </a:cubicBezTo>
                <a:cubicBezTo>
                  <a:pt x="2867498" y="253575"/>
                  <a:pt x="2926022" y="229809"/>
                  <a:pt x="2969974" y="189827"/>
                </a:cubicBezTo>
                <a:cubicBezTo>
                  <a:pt x="3038817" y="241712"/>
                  <a:pt x="3100137" y="302992"/>
                  <a:pt x="3150886" y="372654"/>
                </a:cubicBezTo>
                <a:cubicBezTo>
                  <a:pt x="3109772" y="416954"/>
                  <a:pt x="3085173" y="476397"/>
                  <a:pt x="3085173" y="541586"/>
                </a:cubicBezTo>
                <a:cubicBezTo>
                  <a:pt x="3085173" y="678202"/>
                  <a:pt x="3193210" y="789585"/>
                  <a:pt x="3328520" y="794645"/>
                </a:cubicBezTo>
                <a:cubicBezTo>
                  <a:pt x="3335395" y="838885"/>
                  <a:pt x="3338748" y="884199"/>
                  <a:pt x="3338748" y="930297"/>
                </a:cubicBezTo>
                <a:cubicBezTo>
                  <a:pt x="3338748" y="973889"/>
                  <a:pt x="3335750" y="1016780"/>
                  <a:pt x="3328876" y="1058627"/>
                </a:cubicBezTo>
                <a:cubicBezTo>
                  <a:pt x="3193400" y="1063510"/>
                  <a:pt x="3085173" y="1174968"/>
                  <a:pt x="3085173" y="1311704"/>
                </a:cubicBezTo>
                <a:cubicBezTo>
                  <a:pt x="3085173" y="1378793"/>
                  <a:pt x="3111227" y="1439796"/>
                  <a:pt x="3154242" y="1484704"/>
                </a:cubicBezTo>
                <a:cubicBezTo>
                  <a:pt x="3102122" y="1555256"/>
                  <a:pt x="3040211" y="1618090"/>
                  <a:pt x="2970468" y="1671176"/>
                </a:cubicBezTo>
                <a:cubicBezTo>
                  <a:pt x="2926445" y="1630958"/>
                  <a:pt x="2867729" y="1607020"/>
                  <a:pt x="2803423" y="1607020"/>
                </a:cubicBezTo>
                <a:cubicBezTo>
                  <a:pt x="2667130" y="1607020"/>
                  <a:pt x="2555951" y="1714546"/>
                  <a:pt x="2550412" y="1849409"/>
                </a:cubicBezTo>
                <a:cubicBezTo>
                  <a:pt x="2504172" y="1856916"/>
                  <a:pt x="2456741" y="1860595"/>
                  <a:pt x="2408450" y="1860595"/>
                </a:cubicBezTo>
                <a:cubicBezTo>
                  <a:pt x="2357177" y="1860595"/>
                  <a:pt x="2306873" y="1856447"/>
                  <a:pt x="2258037" y="1847353"/>
                </a:cubicBezTo>
                <a:cubicBezTo>
                  <a:pt x="2251468" y="1713454"/>
                  <a:pt x="2140728" y="1607020"/>
                  <a:pt x="2005130" y="1607020"/>
                </a:cubicBezTo>
                <a:cubicBezTo>
                  <a:pt x="1942912" y="1607020"/>
                  <a:pt x="1885928" y="1629428"/>
                  <a:pt x="1842548" y="1667493"/>
                </a:cubicBezTo>
                <a:cubicBezTo>
                  <a:pt x="1771908" y="1613583"/>
                  <a:pt x="1709304" y="1549732"/>
                  <a:pt x="1657962" y="1477167"/>
                </a:cubicBezTo>
                <a:cubicBezTo>
                  <a:pt x="1697423" y="1433374"/>
                  <a:pt x="1720812" y="1375270"/>
                  <a:pt x="1720812" y="1311704"/>
                </a:cubicBezTo>
                <a:cubicBezTo>
                  <a:pt x="1720812" y="1178439"/>
                  <a:pt x="1618010" y="1069184"/>
                  <a:pt x="1487364" y="1059145"/>
                </a:cubicBezTo>
                <a:cubicBezTo>
                  <a:pt x="1481170" y="1017066"/>
                  <a:pt x="1478152" y="974034"/>
                  <a:pt x="1478152" y="930297"/>
                </a:cubicBezTo>
                <a:cubicBezTo>
                  <a:pt x="1478152" y="884007"/>
                  <a:pt x="1481533" y="838506"/>
                  <a:pt x="1488461" y="794090"/>
                </a:cubicBezTo>
                <a:cubicBezTo>
                  <a:pt x="1618584" y="783495"/>
                  <a:pt x="1720812" y="674479"/>
                  <a:pt x="1720812" y="541586"/>
                </a:cubicBezTo>
                <a:cubicBezTo>
                  <a:pt x="1720812" y="479637"/>
                  <a:pt x="1698598" y="422877"/>
                  <a:pt x="1660813" y="379579"/>
                </a:cubicBezTo>
                <a:cubicBezTo>
                  <a:pt x="1711560" y="308568"/>
                  <a:pt x="1773179" y="246042"/>
                  <a:pt x="1842548" y="193102"/>
                </a:cubicBezTo>
                <a:cubicBezTo>
                  <a:pt x="1885928" y="231167"/>
                  <a:pt x="1942912" y="253575"/>
                  <a:pt x="2005130" y="253575"/>
                </a:cubicBezTo>
                <a:cubicBezTo>
                  <a:pt x="2140728" y="253575"/>
                  <a:pt x="2251468" y="147142"/>
                  <a:pt x="2258037" y="13242"/>
                </a:cubicBezTo>
                <a:cubicBezTo>
                  <a:pt x="2306873" y="4148"/>
                  <a:pt x="2357177" y="0"/>
                  <a:pt x="2408450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err="1">
              <a:ln>
                <a:solidFill>
                  <a:schemeClr val="tx1">
                    <a:alpha val="0"/>
                  </a:schemeClr>
                </a:solidFill>
              </a:ln>
              <a:solidFill>
                <a:schemeClr val="tx1"/>
              </a:solidFill>
            </a:endParaRPr>
          </a:p>
        </p:txBody>
      </p:sp>
      <p:grpSp>
        <p:nvGrpSpPr>
          <p:cNvPr id="53" name="Group 52"/>
          <p:cNvGrpSpPr/>
          <p:nvPr/>
        </p:nvGrpSpPr>
        <p:grpSpPr>
          <a:xfrm>
            <a:off x="993848" y="2980902"/>
            <a:ext cx="661848" cy="196818"/>
            <a:chOff x="7076708" y="717630"/>
            <a:chExt cx="4128320" cy="1227668"/>
          </a:xfrm>
          <a:solidFill>
            <a:schemeClr val="bg1"/>
          </a:solidFill>
          <a:effectLst>
            <a:outerShdw blurRad="63500" algn="ctr" rotWithShape="0">
              <a:prstClr val="black">
                <a:alpha val="40000"/>
              </a:prstClr>
            </a:outerShdw>
          </a:effectLst>
        </p:grpSpPr>
        <p:sp>
          <p:nvSpPr>
            <p:cNvPr id="54" name="Freeform 53"/>
            <p:cNvSpPr/>
            <p:nvPr/>
          </p:nvSpPr>
          <p:spPr>
            <a:xfrm>
              <a:off x="7076708" y="834982"/>
              <a:ext cx="1267740" cy="992963"/>
            </a:xfrm>
            <a:custGeom>
              <a:avLst/>
              <a:gdLst>
                <a:gd name="connsiteX0" fmla="*/ 1593850 w 3365500"/>
                <a:gd name="connsiteY0" fmla="*/ 2148558 h 2636043"/>
                <a:gd name="connsiteX1" fmla="*/ 1456409 w 3365500"/>
                <a:gd name="connsiteY1" fmla="*/ 2285999 h 2636043"/>
                <a:gd name="connsiteX2" fmla="*/ 1593850 w 3365500"/>
                <a:gd name="connsiteY2" fmla="*/ 2423440 h 2636043"/>
                <a:gd name="connsiteX3" fmla="*/ 1731291 w 3365500"/>
                <a:gd name="connsiteY3" fmla="*/ 2285999 h 2636043"/>
                <a:gd name="connsiteX4" fmla="*/ 1593850 w 3365500"/>
                <a:gd name="connsiteY4" fmla="*/ 2148558 h 2636043"/>
                <a:gd name="connsiteX5" fmla="*/ 555625 w 3365500"/>
                <a:gd name="connsiteY5" fmla="*/ 2148558 h 2636043"/>
                <a:gd name="connsiteX6" fmla="*/ 418184 w 3365500"/>
                <a:gd name="connsiteY6" fmla="*/ 2285999 h 2636043"/>
                <a:gd name="connsiteX7" fmla="*/ 555625 w 3365500"/>
                <a:gd name="connsiteY7" fmla="*/ 2423440 h 2636043"/>
                <a:gd name="connsiteX8" fmla="*/ 693066 w 3365500"/>
                <a:gd name="connsiteY8" fmla="*/ 2285999 h 2636043"/>
                <a:gd name="connsiteX9" fmla="*/ 555625 w 3365500"/>
                <a:gd name="connsiteY9" fmla="*/ 2148558 h 2636043"/>
                <a:gd name="connsiteX10" fmla="*/ 1593850 w 3365500"/>
                <a:gd name="connsiteY10" fmla="*/ 1935955 h 2636043"/>
                <a:gd name="connsiteX11" fmla="*/ 1943894 w 3365500"/>
                <a:gd name="connsiteY11" fmla="*/ 2285999 h 2636043"/>
                <a:gd name="connsiteX12" fmla="*/ 1593850 w 3365500"/>
                <a:gd name="connsiteY12" fmla="*/ 2636043 h 2636043"/>
                <a:gd name="connsiteX13" fmla="*/ 1243806 w 3365500"/>
                <a:gd name="connsiteY13" fmla="*/ 2285999 h 2636043"/>
                <a:gd name="connsiteX14" fmla="*/ 1593850 w 3365500"/>
                <a:gd name="connsiteY14" fmla="*/ 1935955 h 2636043"/>
                <a:gd name="connsiteX15" fmla="*/ 555625 w 3365500"/>
                <a:gd name="connsiteY15" fmla="*/ 1935955 h 2636043"/>
                <a:gd name="connsiteX16" fmla="*/ 905669 w 3365500"/>
                <a:gd name="connsiteY16" fmla="*/ 2285999 h 2636043"/>
                <a:gd name="connsiteX17" fmla="*/ 555625 w 3365500"/>
                <a:gd name="connsiteY17" fmla="*/ 2636043 h 2636043"/>
                <a:gd name="connsiteX18" fmla="*/ 205581 w 3365500"/>
                <a:gd name="connsiteY18" fmla="*/ 2285999 h 2636043"/>
                <a:gd name="connsiteX19" fmla="*/ 555625 w 3365500"/>
                <a:gd name="connsiteY19" fmla="*/ 1935955 h 2636043"/>
                <a:gd name="connsiteX20" fmla="*/ 2625272 w 3365500"/>
                <a:gd name="connsiteY20" fmla="*/ 1330722 h 2636043"/>
                <a:gd name="connsiteX21" fmla="*/ 3283491 w 3365500"/>
                <a:gd name="connsiteY21" fmla="*/ 1330722 h 2636043"/>
                <a:gd name="connsiteX22" fmla="*/ 3333750 w 3365500"/>
                <a:gd name="connsiteY22" fmla="*/ 1380981 h 2636043"/>
                <a:gd name="connsiteX23" fmla="*/ 3333750 w 3365500"/>
                <a:gd name="connsiteY23" fmla="*/ 2057703 h 2636043"/>
                <a:gd name="connsiteX24" fmla="*/ 3283491 w 3365500"/>
                <a:gd name="connsiteY24" fmla="*/ 2107962 h 2636043"/>
                <a:gd name="connsiteX25" fmla="*/ 2625272 w 3365500"/>
                <a:gd name="connsiteY25" fmla="*/ 2107962 h 2636043"/>
                <a:gd name="connsiteX26" fmla="*/ 2575013 w 3365500"/>
                <a:gd name="connsiteY26" fmla="*/ 2057703 h 2636043"/>
                <a:gd name="connsiteX27" fmla="*/ 2575013 w 3365500"/>
                <a:gd name="connsiteY27" fmla="*/ 1380981 h 2636043"/>
                <a:gd name="connsiteX28" fmla="*/ 2625272 w 3365500"/>
                <a:gd name="connsiteY28" fmla="*/ 1330722 h 2636043"/>
                <a:gd name="connsiteX29" fmla="*/ 1686719 w 3365500"/>
                <a:gd name="connsiteY29" fmla="*/ 1021051 h 2636043"/>
                <a:gd name="connsiteX30" fmla="*/ 1748632 w 3365500"/>
                <a:gd name="connsiteY30" fmla="*/ 1056770 h 2636043"/>
                <a:gd name="connsiteX31" fmla="*/ 1705769 w 3365500"/>
                <a:gd name="connsiteY31" fmla="*/ 1125826 h 2636043"/>
                <a:gd name="connsiteX32" fmla="*/ 1653382 w 3365500"/>
                <a:gd name="connsiteY32" fmla="*/ 1063914 h 2636043"/>
                <a:gd name="connsiteX33" fmla="*/ 1058442 w 3365500"/>
                <a:gd name="connsiteY33" fmla="*/ 892757 h 2636043"/>
                <a:gd name="connsiteX34" fmla="*/ 1122363 w 3365500"/>
                <a:gd name="connsiteY34" fmla="*/ 912812 h 2636043"/>
                <a:gd name="connsiteX35" fmla="*/ 1605756 w 3365500"/>
                <a:gd name="connsiteY35" fmla="*/ 1084262 h 2636043"/>
                <a:gd name="connsiteX36" fmla="*/ 1655763 w 3365500"/>
                <a:gd name="connsiteY36" fmla="*/ 1234280 h 2636043"/>
                <a:gd name="connsiteX37" fmla="*/ 981869 w 3365500"/>
                <a:gd name="connsiteY37" fmla="*/ 986630 h 2636043"/>
                <a:gd name="connsiteX38" fmla="*/ 1058442 w 3365500"/>
                <a:gd name="connsiteY38" fmla="*/ 892757 h 2636043"/>
                <a:gd name="connsiteX39" fmla="*/ 2625272 w 3365500"/>
                <a:gd name="connsiteY39" fmla="*/ 488949 h 2636043"/>
                <a:gd name="connsiteX40" fmla="*/ 3283491 w 3365500"/>
                <a:gd name="connsiteY40" fmla="*/ 488949 h 2636043"/>
                <a:gd name="connsiteX41" fmla="*/ 3333750 w 3365500"/>
                <a:gd name="connsiteY41" fmla="*/ 539208 h 2636043"/>
                <a:gd name="connsiteX42" fmla="*/ 3333750 w 3365500"/>
                <a:gd name="connsiteY42" fmla="*/ 1215930 h 2636043"/>
                <a:gd name="connsiteX43" fmla="*/ 3283491 w 3365500"/>
                <a:gd name="connsiteY43" fmla="*/ 1266189 h 2636043"/>
                <a:gd name="connsiteX44" fmla="*/ 2625272 w 3365500"/>
                <a:gd name="connsiteY44" fmla="*/ 1266189 h 2636043"/>
                <a:gd name="connsiteX45" fmla="*/ 2575013 w 3365500"/>
                <a:gd name="connsiteY45" fmla="*/ 1215930 h 2636043"/>
                <a:gd name="connsiteX46" fmla="*/ 2575013 w 3365500"/>
                <a:gd name="connsiteY46" fmla="*/ 539208 h 2636043"/>
                <a:gd name="connsiteX47" fmla="*/ 2625272 w 3365500"/>
                <a:gd name="connsiteY47" fmla="*/ 488949 h 2636043"/>
                <a:gd name="connsiteX48" fmla="*/ 1163797 w 3365500"/>
                <a:gd name="connsiteY48" fmla="*/ 274164 h 2636043"/>
                <a:gd name="connsiteX49" fmla="*/ 1403350 w 3365500"/>
                <a:gd name="connsiteY49" fmla="*/ 513717 h 2636043"/>
                <a:gd name="connsiteX50" fmla="*/ 1163797 w 3365500"/>
                <a:gd name="connsiteY50" fmla="*/ 753270 h 2636043"/>
                <a:gd name="connsiteX51" fmla="*/ 924244 w 3365500"/>
                <a:gd name="connsiteY51" fmla="*/ 513717 h 2636043"/>
                <a:gd name="connsiteX52" fmla="*/ 1163797 w 3365500"/>
                <a:gd name="connsiteY52" fmla="*/ 274164 h 2636043"/>
                <a:gd name="connsiteX53" fmla="*/ 1555750 w 3365500"/>
                <a:gd name="connsiteY53" fmla="*/ 129381 h 2636043"/>
                <a:gd name="connsiteX54" fmla="*/ 738981 w 3365500"/>
                <a:gd name="connsiteY54" fmla="*/ 131763 h 2636043"/>
                <a:gd name="connsiteX55" fmla="*/ 667544 w 3365500"/>
                <a:gd name="connsiteY55" fmla="*/ 196056 h 2636043"/>
                <a:gd name="connsiteX56" fmla="*/ 665163 w 3365500"/>
                <a:gd name="connsiteY56" fmla="*/ 1310481 h 2636043"/>
                <a:gd name="connsiteX57" fmla="*/ 861383 w 3365500"/>
                <a:gd name="connsiteY57" fmla="*/ 1315210 h 2636043"/>
                <a:gd name="connsiteX58" fmla="*/ 851160 w 3365500"/>
                <a:gd name="connsiteY58" fmla="*/ 1212739 h 2636043"/>
                <a:gd name="connsiteX59" fmla="*/ 917574 w 3365500"/>
                <a:gd name="connsiteY59" fmla="*/ 869950 h 2636043"/>
                <a:gd name="connsiteX60" fmla="*/ 1134268 w 3365500"/>
                <a:gd name="connsiteY60" fmla="*/ 808038 h 2636043"/>
                <a:gd name="connsiteX61" fmla="*/ 1236662 w 3365500"/>
                <a:gd name="connsiteY61" fmla="*/ 1010444 h 2636043"/>
                <a:gd name="connsiteX62" fmla="*/ 1162843 w 3365500"/>
                <a:gd name="connsiteY62" fmla="*/ 936625 h 2636043"/>
                <a:gd name="connsiteX63" fmla="*/ 962818 w 3365500"/>
                <a:gd name="connsiteY63" fmla="*/ 986631 h 2636043"/>
                <a:gd name="connsiteX64" fmla="*/ 1253330 w 3365500"/>
                <a:gd name="connsiteY64" fmla="*/ 1258094 h 2636043"/>
                <a:gd name="connsiteX65" fmla="*/ 1262526 w 3365500"/>
                <a:gd name="connsiteY65" fmla="*/ 1314292 h 2636043"/>
                <a:gd name="connsiteX66" fmla="*/ 1479246 w 3365500"/>
                <a:gd name="connsiteY66" fmla="*/ 1313776 h 2636043"/>
                <a:gd name="connsiteX67" fmla="*/ 1486694 w 3365500"/>
                <a:gd name="connsiteY67" fmla="*/ 1291431 h 2636043"/>
                <a:gd name="connsiteX68" fmla="*/ 1603375 w 3365500"/>
                <a:gd name="connsiteY68" fmla="*/ 1277144 h 2636043"/>
                <a:gd name="connsiteX69" fmla="*/ 1583007 w 3365500"/>
                <a:gd name="connsiteY69" fmla="*/ 1313529 h 2636043"/>
                <a:gd name="connsiteX70" fmla="*/ 1711999 w 3365500"/>
                <a:gd name="connsiteY70" fmla="*/ 1313222 h 2636043"/>
                <a:gd name="connsiteX71" fmla="*/ 1643856 w 3365500"/>
                <a:gd name="connsiteY71" fmla="*/ 1262856 h 2636043"/>
                <a:gd name="connsiteX72" fmla="*/ 1693863 w 3365500"/>
                <a:gd name="connsiteY72" fmla="*/ 1227138 h 2636043"/>
                <a:gd name="connsiteX73" fmla="*/ 1800347 w 3365500"/>
                <a:gd name="connsiteY73" fmla="*/ 1313012 h 2636043"/>
                <a:gd name="connsiteX74" fmla="*/ 1862931 w 3365500"/>
                <a:gd name="connsiteY74" fmla="*/ 1312863 h 2636043"/>
                <a:gd name="connsiteX75" fmla="*/ 1651000 w 3365500"/>
                <a:gd name="connsiteY75" fmla="*/ 200819 h 2636043"/>
                <a:gd name="connsiteX76" fmla="*/ 1555750 w 3365500"/>
                <a:gd name="connsiteY76" fmla="*/ 129381 h 2636043"/>
                <a:gd name="connsiteX77" fmla="*/ 2324100 w 3365500"/>
                <a:gd name="connsiteY77" fmla="*/ 0 h 2636043"/>
                <a:gd name="connsiteX78" fmla="*/ 2489200 w 3365500"/>
                <a:gd name="connsiteY78" fmla="*/ 3175 h 2636043"/>
                <a:gd name="connsiteX79" fmla="*/ 2492375 w 3365500"/>
                <a:gd name="connsiteY79" fmla="*/ 2203450 h 2636043"/>
                <a:gd name="connsiteX80" fmla="*/ 3365500 w 3365500"/>
                <a:gd name="connsiteY80" fmla="*/ 2197100 h 2636043"/>
                <a:gd name="connsiteX81" fmla="*/ 2324100 w 3365500"/>
                <a:gd name="connsiteY81" fmla="*/ 2355850 h 2636043"/>
                <a:gd name="connsiteX82" fmla="*/ 2320925 w 3365500"/>
                <a:gd name="connsiteY82" fmla="*/ 2111375 h 2636043"/>
                <a:gd name="connsiteX83" fmla="*/ 2155825 w 3365500"/>
                <a:gd name="connsiteY83" fmla="*/ 2111375 h 2636043"/>
                <a:gd name="connsiteX84" fmla="*/ 2155825 w 3365500"/>
                <a:gd name="connsiteY84" fmla="*/ 2210328 h 2636043"/>
                <a:gd name="connsiteX85" fmla="*/ 2061102 w 3365500"/>
                <a:gd name="connsiteY85" fmla="*/ 2305051 h 2636043"/>
                <a:gd name="connsiteX86" fmla="*/ 1989598 w 3365500"/>
                <a:gd name="connsiteY86" fmla="*/ 2305051 h 2636043"/>
                <a:gd name="connsiteX87" fmla="*/ 1991519 w 3365500"/>
                <a:gd name="connsiteY87" fmla="*/ 2285998 h 2636043"/>
                <a:gd name="connsiteX88" fmla="*/ 1593850 w 3365500"/>
                <a:gd name="connsiteY88" fmla="*/ 1888329 h 2636043"/>
                <a:gd name="connsiteX89" fmla="*/ 1196181 w 3365500"/>
                <a:gd name="connsiteY89" fmla="*/ 2285998 h 2636043"/>
                <a:gd name="connsiteX90" fmla="*/ 1198102 w 3365500"/>
                <a:gd name="connsiteY90" fmla="*/ 2305051 h 2636043"/>
                <a:gd name="connsiteX91" fmla="*/ 951373 w 3365500"/>
                <a:gd name="connsiteY91" fmla="*/ 2305051 h 2636043"/>
                <a:gd name="connsiteX92" fmla="*/ 953294 w 3365500"/>
                <a:gd name="connsiteY92" fmla="*/ 2285998 h 2636043"/>
                <a:gd name="connsiteX93" fmla="*/ 555625 w 3365500"/>
                <a:gd name="connsiteY93" fmla="*/ 1888329 h 2636043"/>
                <a:gd name="connsiteX94" fmla="*/ 157956 w 3365500"/>
                <a:gd name="connsiteY94" fmla="*/ 2285998 h 2636043"/>
                <a:gd name="connsiteX95" fmla="*/ 159877 w 3365500"/>
                <a:gd name="connsiteY95" fmla="*/ 2305051 h 2636043"/>
                <a:gd name="connsiteX96" fmla="*/ 101073 w 3365500"/>
                <a:gd name="connsiteY96" fmla="*/ 2305051 h 2636043"/>
                <a:gd name="connsiteX97" fmla="*/ 6350 w 3365500"/>
                <a:gd name="connsiteY97" fmla="*/ 2210328 h 2636043"/>
                <a:gd name="connsiteX98" fmla="*/ 6350 w 3365500"/>
                <a:gd name="connsiteY98" fmla="*/ 2015367 h 2636043"/>
                <a:gd name="connsiteX99" fmla="*/ 0 w 3365500"/>
                <a:gd name="connsiteY99" fmla="*/ 1393824 h 2636043"/>
                <a:gd name="connsiteX100" fmla="*/ 92075 w 3365500"/>
                <a:gd name="connsiteY100" fmla="*/ 1336674 h 2636043"/>
                <a:gd name="connsiteX101" fmla="*/ 542925 w 3365500"/>
                <a:gd name="connsiteY101" fmla="*/ 1425574 h 2636043"/>
                <a:gd name="connsiteX102" fmla="*/ 546100 w 3365500"/>
                <a:gd name="connsiteY102" fmla="*/ 1425574 h 2636043"/>
                <a:gd name="connsiteX103" fmla="*/ 546100 w 3365500"/>
                <a:gd name="connsiteY103" fmla="*/ 60324 h 2636043"/>
                <a:gd name="connsiteX104" fmla="*/ 596900 w 3365500"/>
                <a:gd name="connsiteY104" fmla="*/ 6349 h 2636043"/>
                <a:gd name="connsiteX105" fmla="*/ 1701800 w 3365500"/>
                <a:gd name="connsiteY105" fmla="*/ 6349 h 2636043"/>
                <a:gd name="connsiteX106" fmla="*/ 1752600 w 3365500"/>
                <a:gd name="connsiteY106" fmla="*/ 69849 h 2636043"/>
                <a:gd name="connsiteX107" fmla="*/ 2016125 w 3365500"/>
                <a:gd name="connsiteY107" fmla="*/ 1450974 h 2636043"/>
                <a:gd name="connsiteX108" fmla="*/ 2014716 w 3365500"/>
                <a:gd name="connsiteY108" fmla="*/ 1450986 h 2636043"/>
                <a:gd name="connsiteX109" fmla="*/ 2070651 w 3365500"/>
                <a:gd name="connsiteY109" fmla="*/ 1738653 h 2636043"/>
                <a:gd name="connsiteX110" fmla="*/ 2097972 w 3365500"/>
                <a:gd name="connsiteY110" fmla="*/ 1744169 h 2636043"/>
                <a:gd name="connsiteX111" fmla="*/ 2155825 w 3365500"/>
                <a:gd name="connsiteY111" fmla="*/ 1831448 h 2636043"/>
                <a:gd name="connsiteX112" fmla="*/ 2155825 w 3365500"/>
                <a:gd name="connsiteY112" fmla="*/ 1938494 h 2636043"/>
                <a:gd name="connsiteX113" fmla="*/ 2339975 w 3365500"/>
                <a:gd name="connsiteY113" fmla="*/ 1946275 h 2636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</a:cxnLst>
              <a:rect l="l" t="t" r="r" b="b"/>
              <a:pathLst>
                <a:path w="3365500" h="2636043">
                  <a:moveTo>
                    <a:pt x="1593850" y="2148558"/>
                  </a:moveTo>
                  <a:cubicBezTo>
                    <a:pt x="1517943" y="2148558"/>
                    <a:pt x="1456409" y="2210092"/>
                    <a:pt x="1456409" y="2285999"/>
                  </a:cubicBezTo>
                  <a:cubicBezTo>
                    <a:pt x="1456409" y="2361906"/>
                    <a:pt x="1517943" y="2423440"/>
                    <a:pt x="1593850" y="2423440"/>
                  </a:cubicBezTo>
                  <a:cubicBezTo>
                    <a:pt x="1669757" y="2423440"/>
                    <a:pt x="1731291" y="2361906"/>
                    <a:pt x="1731291" y="2285999"/>
                  </a:cubicBezTo>
                  <a:cubicBezTo>
                    <a:pt x="1731291" y="2210092"/>
                    <a:pt x="1669757" y="2148558"/>
                    <a:pt x="1593850" y="2148558"/>
                  </a:cubicBezTo>
                  <a:close/>
                  <a:moveTo>
                    <a:pt x="555625" y="2148558"/>
                  </a:moveTo>
                  <a:cubicBezTo>
                    <a:pt x="479718" y="2148558"/>
                    <a:pt x="418184" y="2210092"/>
                    <a:pt x="418184" y="2285999"/>
                  </a:cubicBezTo>
                  <a:cubicBezTo>
                    <a:pt x="418184" y="2361906"/>
                    <a:pt x="479718" y="2423440"/>
                    <a:pt x="555625" y="2423440"/>
                  </a:cubicBezTo>
                  <a:cubicBezTo>
                    <a:pt x="631532" y="2423440"/>
                    <a:pt x="693066" y="2361906"/>
                    <a:pt x="693066" y="2285999"/>
                  </a:cubicBezTo>
                  <a:cubicBezTo>
                    <a:pt x="693066" y="2210092"/>
                    <a:pt x="631532" y="2148558"/>
                    <a:pt x="555625" y="2148558"/>
                  </a:cubicBezTo>
                  <a:close/>
                  <a:moveTo>
                    <a:pt x="1593850" y="1935955"/>
                  </a:moveTo>
                  <a:cubicBezTo>
                    <a:pt x="1787174" y="1935955"/>
                    <a:pt x="1943894" y="2092675"/>
                    <a:pt x="1943894" y="2285999"/>
                  </a:cubicBezTo>
                  <a:cubicBezTo>
                    <a:pt x="1943894" y="2479323"/>
                    <a:pt x="1787174" y="2636043"/>
                    <a:pt x="1593850" y="2636043"/>
                  </a:cubicBezTo>
                  <a:cubicBezTo>
                    <a:pt x="1400526" y="2636043"/>
                    <a:pt x="1243806" y="2479323"/>
                    <a:pt x="1243806" y="2285999"/>
                  </a:cubicBezTo>
                  <a:cubicBezTo>
                    <a:pt x="1243806" y="2092675"/>
                    <a:pt x="1400526" y="1935955"/>
                    <a:pt x="1593850" y="1935955"/>
                  </a:cubicBezTo>
                  <a:close/>
                  <a:moveTo>
                    <a:pt x="555625" y="1935955"/>
                  </a:moveTo>
                  <a:cubicBezTo>
                    <a:pt x="748949" y="1935955"/>
                    <a:pt x="905669" y="2092675"/>
                    <a:pt x="905669" y="2285999"/>
                  </a:cubicBezTo>
                  <a:cubicBezTo>
                    <a:pt x="905669" y="2479323"/>
                    <a:pt x="748949" y="2636043"/>
                    <a:pt x="555625" y="2636043"/>
                  </a:cubicBezTo>
                  <a:cubicBezTo>
                    <a:pt x="362301" y="2636043"/>
                    <a:pt x="205581" y="2479323"/>
                    <a:pt x="205581" y="2285999"/>
                  </a:cubicBezTo>
                  <a:cubicBezTo>
                    <a:pt x="205581" y="2092675"/>
                    <a:pt x="362301" y="1935955"/>
                    <a:pt x="555625" y="1935955"/>
                  </a:cubicBezTo>
                  <a:close/>
                  <a:moveTo>
                    <a:pt x="2625272" y="1330722"/>
                  </a:moveTo>
                  <a:lnTo>
                    <a:pt x="3283491" y="1330722"/>
                  </a:lnTo>
                  <a:cubicBezTo>
                    <a:pt x="3311248" y="1330722"/>
                    <a:pt x="3333750" y="1353224"/>
                    <a:pt x="3333750" y="1380981"/>
                  </a:cubicBezTo>
                  <a:lnTo>
                    <a:pt x="3333750" y="2057703"/>
                  </a:lnTo>
                  <a:cubicBezTo>
                    <a:pt x="3333750" y="2085460"/>
                    <a:pt x="3311248" y="2107962"/>
                    <a:pt x="3283491" y="2107962"/>
                  </a:cubicBezTo>
                  <a:lnTo>
                    <a:pt x="2625272" y="2107962"/>
                  </a:lnTo>
                  <a:cubicBezTo>
                    <a:pt x="2597515" y="2107962"/>
                    <a:pt x="2575013" y="2085460"/>
                    <a:pt x="2575013" y="2057703"/>
                  </a:cubicBezTo>
                  <a:lnTo>
                    <a:pt x="2575013" y="1380981"/>
                  </a:lnTo>
                  <a:cubicBezTo>
                    <a:pt x="2575013" y="1353224"/>
                    <a:pt x="2597515" y="1330722"/>
                    <a:pt x="2625272" y="1330722"/>
                  </a:cubicBezTo>
                  <a:close/>
                  <a:moveTo>
                    <a:pt x="1686719" y="1021051"/>
                  </a:moveTo>
                  <a:cubicBezTo>
                    <a:pt x="1733551" y="1016289"/>
                    <a:pt x="1739900" y="1040102"/>
                    <a:pt x="1748632" y="1056770"/>
                  </a:cubicBezTo>
                  <a:cubicBezTo>
                    <a:pt x="1734344" y="1079789"/>
                    <a:pt x="1727200" y="1105188"/>
                    <a:pt x="1705769" y="1125826"/>
                  </a:cubicBezTo>
                  <a:cubicBezTo>
                    <a:pt x="1693070" y="1095664"/>
                    <a:pt x="1675607" y="1077407"/>
                    <a:pt x="1653382" y="1063914"/>
                  </a:cubicBezTo>
                  <a:close/>
                  <a:moveTo>
                    <a:pt x="1058442" y="892757"/>
                  </a:moveTo>
                  <a:cubicBezTo>
                    <a:pt x="1076326" y="891926"/>
                    <a:pt x="1097559" y="897532"/>
                    <a:pt x="1122363" y="912812"/>
                  </a:cubicBezTo>
                  <a:cubicBezTo>
                    <a:pt x="1171575" y="991393"/>
                    <a:pt x="1294606" y="1169987"/>
                    <a:pt x="1605756" y="1084262"/>
                  </a:cubicBezTo>
                  <a:cubicBezTo>
                    <a:pt x="1624806" y="1079499"/>
                    <a:pt x="1739106" y="1122362"/>
                    <a:pt x="1655763" y="1234280"/>
                  </a:cubicBezTo>
                  <a:cubicBezTo>
                    <a:pt x="1395413" y="1346992"/>
                    <a:pt x="1077913" y="1200149"/>
                    <a:pt x="981869" y="986630"/>
                  </a:cubicBezTo>
                  <a:cubicBezTo>
                    <a:pt x="981274" y="955674"/>
                    <a:pt x="1004789" y="895250"/>
                    <a:pt x="1058442" y="892757"/>
                  </a:cubicBezTo>
                  <a:close/>
                  <a:moveTo>
                    <a:pt x="2625272" y="488949"/>
                  </a:moveTo>
                  <a:lnTo>
                    <a:pt x="3283491" y="488949"/>
                  </a:lnTo>
                  <a:cubicBezTo>
                    <a:pt x="3311248" y="488949"/>
                    <a:pt x="3333750" y="511451"/>
                    <a:pt x="3333750" y="539208"/>
                  </a:cubicBezTo>
                  <a:lnTo>
                    <a:pt x="3333750" y="1215930"/>
                  </a:lnTo>
                  <a:cubicBezTo>
                    <a:pt x="3333750" y="1243687"/>
                    <a:pt x="3311248" y="1266189"/>
                    <a:pt x="3283491" y="1266189"/>
                  </a:cubicBezTo>
                  <a:lnTo>
                    <a:pt x="2625272" y="1266189"/>
                  </a:lnTo>
                  <a:cubicBezTo>
                    <a:pt x="2597515" y="1266189"/>
                    <a:pt x="2575013" y="1243687"/>
                    <a:pt x="2575013" y="1215930"/>
                  </a:cubicBezTo>
                  <a:lnTo>
                    <a:pt x="2575013" y="539208"/>
                  </a:lnTo>
                  <a:cubicBezTo>
                    <a:pt x="2575013" y="511451"/>
                    <a:pt x="2597515" y="488949"/>
                    <a:pt x="2625272" y="488949"/>
                  </a:cubicBezTo>
                  <a:close/>
                  <a:moveTo>
                    <a:pt x="1163797" y="274164"/>
                  </a:moveTo>
                  <a:cubicBezTo>
                    <a:pt x="1296098" y="274164"/>
                    <a:pt x="1403350" y="381416"/>
                    <a:pt x="1403350" y="513717"/>
                  </a:cubicBezTo>
                  <a:cubicBezTo>
                    <a:pt x="1403350" y="646018"/>
                    <a:pt x="1296098" y="753270"/>
                    <a:pt x="1163797" y="753270"/>
                  </a:cubicBezTo>
                  <a:cubicBezTo>
                    <a:pt x="1031496" y="753270"/>
                    <a:pt x="924244" y="646018"/>
                    <a:pt x="924244" y="513717"/>
                  </a:cubicBezTo>
                  <a:cubicBezTo>
                    <a:pt x="924244" y="381416"/>
                    <a:pt x="1031496" y="274164"/>
                    <a:pt x="1163797" y="274164"/>
                  </a:cubicBezTo>
                  <a:close/>
                  <a:moveTo>
                    <a:pt x="1555750" y="129381"/>
                  </a:moveTo>
                  <a:lnTo>
                    <a:pt x="738981" y="131763"/>
                  </a:lnTo>
                  <a:cubicBezTo>
                    <a:pt x="705644" y="143669"/>
                    <a:pt x="674687" y="153194"/>
                    <a:pt x="667544" y="196056"/>
                  </a:cubicBezTo>
                  <a:cubicBezTo>
                    <a:pt x="666750" y="567531"/>
                    <a:pt x="665957" y="939006"/>
                    <a:pt x="665163" y="1310481"/>
                  </a:cubicBezTo>
                  <a:lnTo>
                    <a:pt x="861383" y="1315210"/>
                  </a:lnTo>
                  <a:lnTo>
                    <a:pt x="851160" y="1212739"/>
                  </a:lnTo>
                  <a:cubicBezTo>
                    <a:pt x="843161" y="1071017"/>
                    <a:pt x="856258" y="933648"/>
                    <a:pt x="917574" y="869950"/>
                  </a:cubicBezTo>
                  <a:cubicBezTo>
                    <a:pt x="1020762" y="763588"/>
                    <a:pt x="1095374" y="790575"/>
                    <a:pt x="1134268" y="808038"/>
                  </a:cubicBezTo>
                  <a:cubicBezTo>
                    <a:pt x="1223168" y="863601"/>
                    <a:pt x="1238250" y="947737"/>
                    <a:pt x="1236662" y="1010444"/>
                  </a:cubicBezTo>
                  <a:cubicBezTo>
                    <a:pt x="1207293" y="995363"/>
                    <a:pt x="1187449" y="961231"/>
                    <a:pt x="1162843" y="936625"/>
                  </a:cubicBezTo>
                  <a:cubicBezTo>
                    <a:pt x="1091406" y="800894"/>
                    <a:pt x="936625" y="903287"/>
                    <a:pt x="962818" y="986631"/>
                  </a:cubicBezTo>
                  <a:cubicBezTo>
                    <a:pt x="1000124" y="1134269"/>
                    <a:pt x="1177924" y="1234281"/>
                    <a:pt x="1253330" y="1258094"/>
                  </a:cubicBezTo>
                  <a:lnTo>
                    <a:pt x="1262526" y="1314292"/>
                  </a:lnTo>
                  <a:lnTo>
                    <a:pt x="1479246" y="1313776"/>
                  </a:lnTo>
                  <a:lnTo>
                    <a:pt x="1486694" y="1291431"/>
                  </a:lnTo>
                  <a:lnTo>
                    <a:pt x="1603375" y="1277144"/>
                  </a:lnTo>
                  <a:lnTo>
                    <a:pt x="1583007" y="1313529"/>
                  </a:lnTo>
                  <a:lnTo>
                    <a:pt x="1711999" y="1313222"/>
                  </a:lnTo>
                  <a:lnTo>
                    <a:pt x="1643856" y="1262856"/>
                  </a:lnTo>
                  <a:lnTo>
                    <a:pt x="1693863" y="1227138"/>
                  </a:lnTo>
                  <a:lnTo>
                    <a:pt x="1800347" y="1313012"/>
                  </a:lnTo>
                  <a:lnTo>
                    <a:pt x="1862931" y="1312863"/>
                  </a:lnTo>
                  <a:lnTo>
                    <a:pt x="1651000" y="200819"/>
                  </a:lnTo>
                  <a:cubicBezTo>
                    <a:pt x="1631157" y="165099"/>
                    <a:pt x="1611312" y="136525"/>
                    <a:pt x="1555750" y="129381"/>
                  </a:cubicBezTo>
                  <a:close/>
                  <a:moveTo>
                    <a:pt x="2324100" y="0"/>
                  </a:moveTo>
                  <a:lnTo>
                    <a:pt x="2489200" y="3175"/>
                  </a:lnTo>
                  <a:cubicBezTo>
                    <a:pt x="2490258" y="736600"/>
                    <a:pt x="2491317" y="1470025"/>
                    <a:pt x="2492375" y="2203450"/>
                  </a:cubicBezTo>
                  <a:lnTo>
                    <a:pt x="3365500" y="2197100"/>
                  </a:lnTo>
                  <a:cubicBezTo>
                    <a:pt x="3316817" y="2329392"/>
                    <a:pt x="2728383" y="2363258"/>
                    <a:pt x="2324100" y="2355850"/>
                  </a:cubicBezTo>
                  <a:cubicBezTo>
                    <a:pt x="2323042" y="2274358"/>
                    <a:pt x="2321983" y="2192867"/>
                    <a:pt x="2320925" y="2111375"/>
                  </a:cubicBezTo>
                  <a:lnTo>
                    <a:pt x="2155825" y="2111375"/>
                  </a:lnTo>
                  <a:lnTo>
                    <a:pt x="2155825" y="2210328"/>
                  </a:lnTo>
                  <a:cubicBezTo>
                    <a:pt x="2155825" y="2262642"/>
                    <a:pt x="2113416" y="2305051"/>
                    <a:pt x="2061102" y="2305051"/>
                  </a:cubicBezTo>
                  <a:lnTo>
                    <a:pt x="1989598" y="2305051"/>
                  </a:lnTo>
                  <a:lnTo>
                    <a:pt x="1991519" y="2285998"/>
                  </a:lnTo>
                  <a:cubicBezTo>
                    <a:pt x="1991519" y="2066371"/>
                    <a:pt x="1813477" y="1888329"/>
                    <a:pt x="1593850" y="1888329"/>
                  </a:cubicBezTo>
                  <a:cubicBezTo>
                    <a:pt x="1374223" y="1888329"/>
                    <a:pt x="1196181" y="2066371"/>
                    <a:pt x="1196181" y="2285998"/>
                  </a:cubicBezTo>
                  <a:lnTo>
                    <a:pt x="1198102" y="2305051"/>
                  </a:lnTo>
                  <a:lnTo>
                    <a:pt x="951373" y="2305051"/>
                  </a:lnTo>
                  <a:lnTo>
                    <a:pt x="953294" y="2285998"/>
                  </a:lnTo>
                  <a:cubicBezTo>
                    <a:pt x="953294" y="2066371"/>
                    <a:pt x="775252" y="1888329"/>
                    <a:pt x="555625" y="1888329"/>
                  </a:cubicBezTo>
                  <a:cubicBezTo>
                    <a:pt x="335998" y="1888329"/>
                    <a:pt x="157956" y="2066371"/>
                    <a:pt x="157956" y="2285998"/>
                  </a:cubicBezTo>
                  <a:lnTo>
                    <a:pt x="159877" y="2305051"/>
                  </a:lnTo>
                  <a:lnTo>
                    <a:pt x="101073" y="2305051"/>
                  </a:lnTo>
                  <a:cubicBezTo>
                    <a:pt x="48759" y="2305051"/>
                    <a:pt x="6350" y="2262642"/>
                    <a:pt x="6350" y="2210328"/>
                  </a:cubicBezTo>
                  <a:lnTo>
                    <a:pt x="6350" y="2015367"/>
                  </a:lnTo>
                  <a:cubicBezTo>
                    <a:pt x="4233" y="1808186"/>
                    <a:pt x="2117" y="1601005"/>
                    <a:pt x="0" y="1393824"/>
                  </a:cubicBezTo>
                  <a:cubicBezTo>
                    <a:pt x="11642" y="1358899"/>
                    <a:pt x="42333" y="1336674"/>
                    <a:pt x="92075" y="1336674"/>
                  </a:cubicBezTo>
                  <a:lnTo>
                    <a:pt x="542925" y="1425574"/>
                  </a:lnTo>
                  <a:lnTo>
                    <a:pt x="546100" y="1425574"/>
                  </a:lnTo>
                  <a:lnTo>
                    <a:pt x="546100" y="60324"/>
                  </a:lnTo>
                  <a:cubicBezTo>
                    <a:pt x="550333" y="29632"/>
                    <a:pt x="573617" y="11641"/>
                    <a:pt x="596900" y="6349"/>
                  </a:cubicBezTo>
                  <a:lnTo>
                    <a:pt x="1701800" y="6349"/>
                  </a:lnTo>
                  <a:cubicBezTo>
                    <a:pt x="1731433" y="14816"/>
                    <a:pt x="1742811" y="17725"/>
                    <a:pt x="1752600" y="69849"/>
                  </a:cubicBezTo>
                  <a:lnTo>
                    <a:pt x="2016125" y="1450974"/>
                  </a:lnTo>
                  <a:lnTo>
                    <a:pt x="2014716" y="1450986"/>
                  </a:lnTo>
                  <a:lnTo>
                    <a:pt x="2070651" y="1738653"/>
                  </a:lnTo>
                  <a:lnTo>
                    <a:pt x="2097972" y="1744169"/>
                  </a:lnTo>
                  <a:cubicBezTo>
                    <a:pt x="2131970" y="1758549"/>
                    <a:pt x="2155825" y="1792213"/>
                    <a:pt x="2155825" y="1831448"/>
                  </a:cubicBezTo>
                  <a:lnTo>
                    <a:pt x="2155825" y="1938494"/>
                  </a:lnTo>
                  <a:lnTo>
                    <a:pt x="2339975" y="1946275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200"/>
            </a:p>
          </p:txBody>
        </p:sp>
        <p:sp>
          <p:nvSpPr>
            <p:cNvPr id="55" name="Rounded Rectangle 66"/>
            <p:cNvSpPr/>
            <p:nvPr/>
          </p:nvSpPr>
          <p:spPr bwMode="auto">
            <a:xfrm flipH="1">
              <a:off x="8464933" y="717630"/>
              <a:ext cx="2740095" cy="1227668"/>
            </a:xfrm>
            <a:custGeom>
              <a:avLst/>
              <a:gdLst/>
              <a:ahLst/>
              <a:cxnLst/>
              <a:rect l="l" t="t" r="r" b="b"/>
              <a:pathLst>
                <a:path w="7820908" h="3504066">
                  <a:moveTo>
                    <a:pt x="6286100" y="2653607"/>
                  </a:moveTo>
                  <a:cubicBezTo>
                    <a:pt x="6134597" y="2653607"/>
                    <a:pt x="6011780" y="2776424"/>
                    <a:pt x="6011780" y="2927927"/>
                  </a:cubicBezTo>
                  <a:cubicBezTo>
                    <a:pt x="6011780" y="3079430"/>
                    <a:pt x="6134597" y="3202247"/>
                    <a:pt x="6286100" y="3202247"/>
                  </a:cubicBezTo>
                  <a:cubicBezTo>
                    <a:pt x="6437603" y="3202247"/>
                    <a:pt x="6560420" y="3079430"/>
                    <a:pt x="6560420" y="2927927"/>
                  </a:cubicBezTo>
                  <a:cubicBezTo>
                    <a:pt x="6560420" y="2776424"/>
                    <a:pt x="6437603" y="2653607"/>
                    <a:pt x="6286100" y="2653607"/>
                  </a:cubicBezTo>
                  <a:close/>
                  <a:moveTo>
                    <a:pt x="5055470" y="2653607"/>
                  </a:moveTo>
                  <a:cubicBezTo>
                    <a:pt x="4903967" y="2653607"/>
                    <a:pt x="4781150" y="2776424"/>
                    <a:pt x="4781150" y="2927927"/>
                  </a:cubicBezTo>
                  <a:cubicBezTo>
                    <a:pt x="4781150" y="3079430"/>
                    <a:pt x="4903967" y="3202247"/>
                    <a:pt x="5055470" y="3202247"/>
                  </a:cubicBezTo>
                  <a:cubicBezTo>
                    <a:pt x="5206973" y="3202247"/>
                    <a:pt x="5329790" y="3079430"/>
                    <a:pt x="5329790" y="2927927"/>
                  </a:cubicBezTo>
                  <a:cubicBezTo>
                    <a:pt x="5329790" y="2776424"/>
                    <a:pt x="5206973" y="2653607"/>
                    <a:pt x="5055470" y="2653607"/>
                  </a:cubicBezTo>
                  <a:close/>
                  <a:moveTo>
                    <a:pt x="1320400" y="2653607"/>
                  </a:moveTo>
                  <a:cubicBezTo>
                    <a:pt x="1168897" y="2653607"/>
                    <a:pt x="1046080" y="2776424"/>
                    <a:pt x="1046080" y="2927927"/>
                  </a:cubicBezTo>
                  <a:cubicBezTo>
                    <a:pt x="1046080" y="3079430"/>
                    <a:pt x="1168897" y="3202247"/>
                    <a:pt x="1320400" y="3202247"/>
                  </a:cubicBezTo>
                  <a:cubicBezTo>
                    <a:pt x="1471903" y="3202247"/>
                    <a:pt x="1594720" y="3079430"/>
                    <a:pt x="1594720" y="2927927"/>
                  </a:cubicBezTo>
                  <a:cubicBezTo>
                    <a:pt x="1594720" y="2776424"/>
                    <a:pt x="1471903" y="2653607"/>
                    <a:pt x="1320400" y="2653607"/>
                  </a:cubicBezTo>
                  <a:close/>
                  <a:moveTo>
                    <a:pt x="6301254" y="2337197"/>
                  </a:moveTo>
                  <a:cubicBezTo>
                    <a:pt x="6627830" y="2337197"/>
                    <a:pt x="6892572" y="2598409"/>
                    <a:pt x="6892572" y="2920632"/>
                  </a:cubicBezTo>
                  <a:cubicBezTo>
                    <a:pt x="6892572" y="3242854"/>
                    <a:pt x="6627830" y="3504066"/>
                    <a:pt x="6301254" y="3504066"/>
                  </a:cubicBezTo>
                  <a:cubicBezTo>
                    <a:pt x="5974678" y="3504066"/>
                    <a:pt x="5709936" y="3242854"/>
                    <a:pt x="5709936" y="2920632"/>
                  </a:cubicBezTo>
                  <a:cubicBezTo>
                    <a:pt x="5709936" y="2598409"/>
                    <a:pt x="5974678" y="2337197"/>
                    <a:pt x="6301254" y="2337197"/>
                  </a:cubicBezTo>
                  <a:close/>
                  <a:moveTo>
                    <a:pt x="5038901" y="2337197"/>
                  </a:moveTo>
                  <a:cubicBezTo>
                    <a:pt x="5365477" y="2337197"/>
                    <a:pt x="5630219" y="2598409"/>
                    <a:pt x="5630219" y="2920632"/>
                  </a:cubicBezTo>
                  <a:cubicBezTo>
                    <a:pt x="5630219" y="3242854"/>
                    <a:pt x="5365477" y="3504066"/>
                    <a:pt x="5038901" y="3504066"/>
                  </a:cubicBezTo>
                  <a:cubicBezTo>
                    <a:pt x="4712325" y="3504066"/>
                    <a:pt x="4447583" y="3242854"/>
                    <a:pt x="4447583" y="2920632"/>
                  </a:cubicBezTo>
                  <a:cubicBezTo>
                    <a:pt x="4447583" y="2598409"/>
                    <a:pt x="4712325" y="2337197"/>
                    <a:pt x="5038901" y="2337197"/>
                  </a:cubicBezTo>
                  <a:close/>
                  <a:moveTo>
                    <a:pt x="1348204" y="2337197"/>
                  </a:moveTo>
                  <a:cubicBezTo>
                    <a:pt x="1674780" y="2337197"/>
                    <a:pt x="1939522" y="2598409"/>
                    <a:pt x="1939522" y="2920632"/>
                  </a:cubicBezTo>
                  <a:cubicBezTo>
                    <a:pt x="1939522" y="3242854"/>
                    <a:pt x="1674780" y="3504066"/>
                    <a:pt x="1348204" y="3504066"/>
                  </a:cubicBezTo>
                  <a:cubicBezTo>
                    <a:pt x="1021628" y="3504066"/>
                    <a:pt x="756886" y="3242854"/>
                    <a:pt x="756886" y="2920632"/>
                  </a:cubicBezTo>
                  <a:cubicBezTo>
                    <a:pt x="756886" y="2598409"/>
                    <a:pt x="1021628" y="2337197"/>
                    <a:pt x="1348204" y="2337197"/>
                  </a:cubicBezTo>
                  <a:close/>
                  <a:moveTo>
                    <a:pt x="742304" y="813940"/>
                  </a:moveTo>
                  <a:cubicBezTo>
                    <a:pt x="627350" y="1017391"/>
                    <a:pt x="521111" y="1503434"/>
                    <a:pt x="513563" y="1546801"/>
                  </a:cubicBezTo>
                  <a:lnTo>
                    <a:pt x="1555977" y="1546801"/>
                  </a:lnTo>
                  <a:cubicBezTo>
                    <a:pt x="1572543" y="1546801"/>
                    <a:pt x="1585973" y="1533371"/>
                    <a:pt x="1585973" y="1516805"/>
                  </a:cubicBezTo>
                  <a:lnTo>
                    <a:pt x="1585973" y="843937"/>
                  </a:lnTo>
                  <a:cubicBezTo>
                    <a:pt x="1585973" y="827371"/>
                    <a:pt x="1572543" y="813940"/>
                    <a:pt x="1555977" y="813940"/>
                  </a:cubicBezTo>
                  <a:close/>
                  <a:moveTo>
                    <a:pt x="2094829" y="0"/>
                  </a:moveTo>
                  <a:lnTo>
                    <a:pt x="7705746" y="0"/>
                  </a:lnTo>
                  <a:cubicBezTo>
                    <a:pt x="7769348" y="0"/>
                    <a:pt x="7820908" y="51560"/>
                    <a:pt x="7820908" y="115162"/>
                  </a:cubicBezTo>
                  <a:lnTo>
                    <a:pt x="7820908" y="2698468"/>
                  </a:lnTo>
                  <a:cubicBezTo>
                    <a:pt x="7820908" y="2762071"/>
                    <a:pt x="7769348" y="2813631"/>
                    <a:pt x="7705746" y="2813631"/>
                  </a:cubicBezTo>
                  <a:lnTo>
                    <a:pt x="6953894" y="2813631"/>
                  </a:lnTo>
                  <a:lnTo>
                    <a:pt x="6953894" y="2684104"/>
                  </a:lnTo>
                  <a:cubicBezTo>
                    <a:pt x="6953894" y="2444615"/>
                    <a:pt x="6759750" y="2250470"/>
                    <a:pt x="6520262" y="2250470"/>
                  </a:cubicBezTo>
                  <a:lnTo>
                    <a:pt x="4801499" y="2250470"/>
                  </a:lnTo>
                  <a:cubicBezTo>
                    <a:pt x="4562010" y="2250470"/>
                    <a:pt x="4367866" y="2444615"/>
                    <a:pt x="4367866" y="2684104"/>
                  </a:cubicBezTo>
                  <a:lnTo>
                    <a:pt x="4367866" y="2813631"/>
                  </a:lnTo>
                  <a:lnTo>
                    <a:pt x="2003301" y="2813631"/>
                  </a:lnTo>
                  <a:lnTo>
                    <a:pt x="1979164" y="2808758"/>
                  </a:lnTo>
                  <a:cubicBezTo>
                    <a:pt x="1934432" y="2492850"/>
                    <a:pt x="1668227" y="2250470"/>
                    <a:pt x="1346640" y="2250470"/>
                  </a:cubicBezTo>
                  <a:cubicBezTo>
                    <a:pt x="993074" y="2250470"/>
                    <a:pt x="706452" y="2543452"/>
                    <a:pt x="706452" y="2904864"/>
                  </a:cubicBezTo>
                  <a:cubicBezTo>
                    <a:pt x="706452" y="2933485"/>
                    <a:pt x="708250" y="2961677"/>
                    <a:pt x="712367" y="2989249"/>
                  </a:cubicBezTo>
                  <a:lnTo>
                    <a:pt x="80816" y="2989249"/>
                  </a:lnTo>
                  <a:cubicBezTo>
                    <a:pt x="36182" y="2989249"/>
                    <a:pt x="0" y="2953067"/>
                    <a:pt x="0" y="2908433"/>
                  </a:cubicBezTo>
                  <a:lnTo>
                    <a:pt x="0" y="2718828"/>
                  </a:lnTo>
                  <a:cubicBezTo>
                    <a:pt x="0" y="2674195"/>
                    <a:pt x="36182" y="2638012"/>
                    <a:pt x="80816" y="2638012"/>
                  </a:cubicBezTo>
                  <a:lnTo>
                    <a:pt x="85246" y="2638012"/>
                  </a:lnTo>
                  <a:lnTo>
                    <a:pt x="78842" y="1738372"/>
                  </a:lnTo>
                  <a:cubicBezTo>
                    <a:pt x="78842" y="1705340"/>
                    <a:pt x="480453" y="532078"/>
                    <a:pt x="521189" y="532078"/>
                  </a:cubicBezTo>
                  <a:lnTo>
                    <a:pt x="1814381" y="532078"/>
                  </a:lnTo>
                  <a:cubicBezTo>
                    <a:pt x="1842016" y="532078"/>
                    <a:pt x="1866102" y="544402"/>
                    <a:pt x="1877877" y="563236"/>
                  </a:cubicBezTo>
                  <a:lnTo>
                    <a:pt x="1877877" y="1919936"/>
                  </a:lnTo>
                  <a:cubicBezTo>
                    <a:pt x="1877877" y="1979846"/>
                    <a:pt x="1926443" y="2028412"/>
                    <a:pt x="1986353" y="2028412"/>
                  </a:cubicBezTo>
                  <a:cubicBezTo>
                    <a:pt x="2046262" y="2028412"/>
                    <a:pt x="2094829" y="1979846"/>
                    <a:pt x="2094829" y="1919936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91440" rIns="9144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18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363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545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727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5909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090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272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454" algn="l" defTabSz="914363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US" sz="1200">
                <a:solidFill>
                  <a:schemeClr val="lt1"/>
                </a:solidFill>
              </a:endParaRPr>
            </a:p>
          </p:txBody>
        </p:sp>
      </p:grpSp>
      <p:sp>
        <p:nvSpPr>
          <p:cNvPr id="56" name="Freeform 55"/>
          <p:cNvSpPr/>
          <p:nvPr/>
        </p:nvSpPr>
        <p:spPr>
          <a:xfrm>
            <a:off x="1031977" y="4023819"/>
            <a:ext cx="614483" cy="278038"/>
          </a:xfrm>
          <a:custGeom>
            <a:avLst/>
            <a:gdLst>
              <a:gd name="connsiteX0" fmla="*/ 0 w 1603375"/>
              <a:gd name="connsiteY0" fmla="*/ 461962 h 725487"/>
              <a:gd name="connsiteX1" fmla="*/ 1603375 w 1603375"/>
              <a:gd name="connsiteY1" fmla="*/ 461962 h 725487"/>
              <a:gd name="connsiteX2" fmla="*/ 1603375 w 1603375"/>
              <a:gd name="connsiteY2" fmla="*/ 617537 h 725487"/>
              <a:gd name="connsiteX3" fmla="*/ 1460500 w 1603375"/>
              <a:gd name="connsiteY3" fmla="*/ 725487 h 725487"/>
              <a:gd name="connsiteX4" fmla="*/ 396875 w 1603375"/>
              <a:gd name="connsiteY4" fmla="*/ 725487 h 725487"/>
              <a:gd name="connsiteX5" fmla="*/ 1422162 w 1603375"/>
              <a:gd name="connsiteY5" fmla="*/ 311150 h 725487"/>
              <a:gd name="connsiteX6" fmla="*/ 1422162 w 1603375"/>
              <a:gd name="connsiteY6" fmla="*/ 380206 h 725487"/>
              <a:gd name="connsiteX7" fmla="*/ 1467881 w 1603375"/>
              <a:gd name="connsiteY7" fmla="*/ 380206 h 725487"/>
              <a:gd name="connsiteX8" fmla="*/ 1467881 w 1603375"/>
              <a:gd name="connsiteY8" fmla="*/ 311150 h 725487"/>
              <a:gd name="connsiteX9" fmla="*/ 1359911 w 1603375"/>
              <a:gd name="connsiteY9" fmla="*/ 311150 h 725487"/>
              <a:gd name="connsiteX10" fmla="*/ 1359911 w 1603375"/>
              <a:gd name="connsiteY10" fmla="*/ 380206 h 725487"/>
              <a:gd name="connsiteX11" fmla="*/ 1405630 w 1603375"/>
              <a:gd name="connsiteY11" fmla="*/ 380206 h 725487"/>
              <a:gd name="connsiteX12" fmla="*/ 1405630 w 1603375"/>
              <a:gd name="connsiteY12" fmla="*/ 311150 h 725487"/>
              <a:gd name="connsiteX13" fmla="*/ 1297658 w 1603375"/>
              <a:gd name="connsiteY13" fmla="*/ 311150 h 725487"/>
              <a:gd name="connsiteX14" fmla="*/ 1297658 w 1603375"/>
              <a:gd name="connsiteY14" fmla="*/ 380206 h 725487"/>
              <a:gd name="connsiteX15" fmla="*/ 1343377 w 1603375"/>
              <a:gd name="connsiteY15" fmla="*/ 380206 h 725487"/>
              <a:gd name="connsiteX16" fmla="*/ 1343377 w 1603375"/>
              <a:gd name="connsiteY16" fmla="*/ 311150 h 725487"/>
              <a:gd name="connsiteX17" fmla="*/ 1235405 w 1603375"/>
              <a:gd name="connsiteY17" fmla="*/ 311150 h 725487"/>
              <a:gd name="connsiteX18" fmla="*/ 1235405 w 1603375"/>
              <a:gd name="connsiteY18" fmla="*/ 380206 h 725487"/>
              <a:gd name="connsiteX19" fmla="*/ 1281124 w 1603375"/>
              <a:gd name="connsiteY19" fmla="*/ 380206 h 725487"/>
              <a:gd name="connsiteX20" fmla="*/ 1281124 w 1603375"/>
              <a:gd name="connsiteY20" fmla="*/ 311150 h 725487"/>
              <a:gd name="connsiteX21" fmla="*/ 1173152 w 1603375"/>
              <a:gd name="connsiteY21" fmla="*/ 311150 h 725487"/>
              <a:gd name="connsiteX22" fmla="*/ 1173152 w 1603375"/>
              <a:gd name="connsiteY22" fmla="*/ 380206 h 725487"/>
              <a:gd name="connsiteX23" fmla="*/ 1218871 w 1603375"/>
              <a:gd name="connsiteY23" fmla="*/ 380206 h 725487"/>
              <a:gd name="connsiteX24" fmla="*/ 1218871 w 1603375"/>
              <a:gd name="connsiteY24" fmla="*/ 311150 h 725487"/>
              <a:gd name="connsiteX25" fmla="*/ 1110899 w 1603375"/>
              <a:gd name="connsiteY25" fmla="*/ 311150 h 725487"/>
              <a:gd name="connsiteX26" fmla="*/ 1110899 w 1603375"/>
              <a:gd name="connsiteY26" fmla="*/ 380206 h 725487"/>
              <a:gd name="connsiteX27" fmla="*/ 1156618 w 1603375"/>
              <a:gd name="connsiteY27" fmla="*/ 380206 h 725487"/>
              <a:gd name="connsiteX28" fmla="*/ 1156618 w 1603375"/>
              <a:gd name="connsiteY28" fmla="*/ 311150 h 725487"/>
              <a:gd name="connsiteX29" fmla="*/ 1048646 w 1603375"/>
              <a:gd name="connsiteY29" fmla="*/ 311150 h 725487"/>
              <a:gd name="connsiteX30" fmla="*/ 1048646 w 1603375"/>
              <a:gd name="connsiteY30" fmla="*/ 380206 h 725487"/>
              <a:gd name="connsiteX31" fmla="*/ 1094365 w 1603375"/>
              <a:gd name="connsiteY31" fmla="*/ 380206 h 725487"/>
              <a:gd name="connsiteX32" fmla="*/ 1094365 w 1603375"/>
              <a:gd name="connsiteY32" fmla="*/ 311150 h 725487"/>
              <a:gd name="connsiteX33" fmla="*/ 986393 w 1603375"/>
              <a:gd name="connsiteY33" fmla="*/ 311150 h 725487"/>
              <a:gd name="connsiteX34" fmla="*/ 986393 w 1603375"/>
              <a:gd name="connsiteY34" fmla="*/ 380206 h 725487"/>
              <a:gd name="connsiteX35" fmla="*/ 1032112 w 1603375"/>
              <a:gd name="connsiteY35" fmla="*/ 380206 h 725487"/>
              <a:gd name="connsiteX36" fmla="*/ 1032112 w 1603375"/>
              <a:gd name="connsiteY36" fmla="*/ 311150 h 725487"/>
              <a:gd name="connsiteX37" fmla="*/ 769938 w 1603375"/>
              <a:gd name="connsiteY37" fmla="*/ 234950 h 725487"/>
              <a:gd name="connsiteX38" fmla="*/ 886619 w 1603375"/>
              <a:gd name="connsiteY38" fmla="*/ 234950 h 725487"/>
              <a:gd name="connsiteX39" fmla="*/ 886619 w 1603375"/>
              <a:gd name="connsiteY39" fmla="*/ 427831 h 725487"/>
              <a:gd name="connsiteX40" fmla="*/ 769938 w 1603375"/>
              <a:gd name="connsiteY40" fmla="*/ 427831 h 725487"/>
              <a:gd name="connsiteX41" fmla="*/ 626468 w 1603375"/>
              <a:gd name="connsiteY41" fmla="*/ 234950 h 725487"/>
              <a:gd name="connsiteX42" fmla="*/ 743149 w 1603375"/>
              <a:gd name="connsiteY42" fmla="*/ 234950 h 725487"/>
              <a:gd name="connsiteX43" fmla="*/ 743149 w 1603375"/>
              <a:gd name="connsiteY43" fmla="*/ 427831 h 725487"/>
              <a:gd name="connsiteX44" fmla="*/ 626468 w 1603375"/>
              <a:gd name="connsiteY44" fmla="*/ 427831 h 725487"/>
              <a:gd name="connsiteX45" fmla="*/ 482998 w 1603375"/>
              <a:gd name="connsiteY45" fmla="*/ 234950 h 725487"/>
              <a:gd name="connsiteX46" fmla="*/ 599679 w 1603375"/>
              <a:gd name="connsiteY46" fmla="*/ 234950 h 725487"/>
              <a:gd name="connsiteX47" fmla="*/ 599679 w 1603375"/>
              <a:gd name="connsiteY47" fmla="*/ 427831 h 725487"/>
              <a:gd name="connsiteX48" fmla="*/ 482998 w 1603375"/>
              <a:gd name="connsiteY48" fmla="*/ 427831 h 725487"/>
              <a:gd name="connsiteX49" fmla="*/ 339527 w 1603375"/>
              <a:gd name="connsiteY49" fmla="*/ 234950 h 725487"/>
              <a:gd name="connsiteX50" fmla="*/ 456208 w 1603375"/>
              <a:gd name="connsiteY50" fmla="*/ 234950 h 725487"/>
              <a:gd name="connsiteX51" fmla="*/ 456208 w 1603375"/>
              <a:gd name="connsiteY51" fmla="*/ 427831 h 725487"/>
              <a:gd name="connsiteX52" fmla="*/ 339527 w 1603375"/>
              <a:gd name="connsiteY52" fmla="*/ 427831 h 725487"/>
              <a:gd name="connsiteX53" fmla="*/ 196056 w 1603375"/>
              <a:gd name="connsiteY53" fmla="*/ 234950 h 725487"/>
              <a:gd name="connsiteX54" fmla="*/ 312737 w 1603375"/>
              <a:gd name="connsiteY54" fmla="*/ 234950 h 725487"/>
              <a:gd name="connsiteX55" fmla="*/ 312737 w 1603375"/>
              <a:gd name="connsiteY55" fmla="*/ 427831 h 725487"/>
              <a:gd name="connsiteX56" fmla="*/ 196056 w 1603375"/>
              <a:gd name="connsiteY56" fmla="*/ 427831 h 725487"/>
              <a:gd name="connsiteX57" fmla="*/ 1422162 w 1603375"/>
              <a:gd name="connsiteY57" fmla="*/ 211136 h 725487"/>
              <a:gd name="connsiteX58" fmla="*/ 1422162 w 1603375"/>
              <a:gd name="connsiteY58" fmla="*/ 280192 h 725487"/>
              <a:gd name="connsiteX59" fmla="*/ 1467881 w 1603375"/>
              <a:gd name="connsiteY59" fmla="*/ 280192 h 725487"/>
              <a:gd name="connsiteX60" fmla="*/ 1467881 w 1603375"/>
              <a:gd name="connsiteY60" fmla="*/ 211136 h 725487"/>
              <a:gd name="connsiteX61" fmla="*/ 1359911 w 1603375"/>
              <a:gd name="connsiteY61" fmla="*/ 211136 h 725487"/>
              <a:gd name="connsiteX62" fmla="*/ 1359911 w 1603375"/>
              <a:gd name="connsiteY62" fmla="*/ 280192 h 725487"/>
              <a:gd name="connsiteX63" fmla="*/ 1405630 w 1603375"/>
              <a:gd name="connsiteY63" fmla="*/ 280192 h 725487"/>
              <a:gd name="connsiteX64" fmla="*/ 1405630 w 1603375"/>
              <a:gd name="connsiteY64" fmla="*/ 211136 h 725487"/>
              <a:gd name="connsiteX65" fmla="*/ 1297658 w 1603375"/>
              <a:gd name="connsiteY65" fmla="*/ 211136 h 725487"/>
              <a:gd name="connsiteX66" fmla="*/ 1297658 w 1603375"/>
              <a:gd name="connsiteY66" fmla="*/ 280192 h 725487"/>
              <a:gd name="connsiteX67" fmla="*/ 1343377 w 1603375"/>
              <a:gd name="connsiteY67" fmla="*/ 280192 h 725487"/>
              <a:gd name="connsiteX68" fmla="*/ 1343377 w 1603375"/>
              <a:gd name="connsiteY68" fmla="*/ 211136 h 725487"/>
              <a:gd name="connsiteX69" fmla="*/ 1235405 w 1603375"/>
              <a:gd name="connsiteY69" fmla="*/ 211136 h 725487"/>
              <a:gd name="connsiteX70" fmla="*/ 1235405 w 1603375"/>
              <a:gd name="connsiteY70" fmla="*/ 280192 h 725487"/>
              <a:gd name="connsiteX71" fmla="*/ 1281124 w 1603375"/>
              <a:gd name="connsiteY71" fmla="*/ 280192 h 725487"/>
              <a:gd name="connsiteX72" fmla="*/ 1281124 w 1603375"/>
              <a:gd name="connsiteY72" fmla="*/ 211136 h 725487"/>
              <a:gd name="connsiteX73" fmla="*/ 1173152 w 1603375"/>
              <a:gd name="connsiteY73" fmla="*/ 211136 h 725487"/>
              <a:gd name="connsiteX74" fmla="*/ 1173152 w 1603375"/>
              <a:gd name="connsiteY74" fmla="*/ 280192 h 725487"/>
              <a:gd name="connsiteX75" fmla="*/ 1218871 w 1603375"/>
              <a:gd name="connsiteY75" fmla="*/ 280192 h 725487"/>
              <a:gd name="connsiteX76" fmla="*/ 1218871 w 1603375"/>
              <a:gd name="connsiteY76" fmla="*/ 211136 h 725487"/>
              <a:gd name="connsiteX77" fmla="*/ 1110899 w 1603375"/>
              <a:gd name="connsiteY77" fmla="*/ 211136 h 725487"/>
              <a:gd name="connsiteX78" fmla="*/ 1110899 w 1603375"/>
              <a:gd name="connsiteY78" fmla="*/ 280192 h 725487"/>
              <a:gd name="connsiteX79" fmla="*/ 1156618 w 1603375"/>
              <a:gd name="connsiteY79" fmla="*/ 280192 h 725487"/>
              <a:gd name="connsiteX80" fmla="*/ 1156618 w 1603375"/>
              <a:gd name="connsiteY80" fmla="*/ 211136 h 725487"/>
              <a:gd name="connsiteX81" fmla="*/ 1048646 w 1603375"/>
              <a:gd name="connsiteY81" fmla="*/ 211136 h 725487"/>
              <a:gd name="connsiteX82" fmla="*/ 1048646 w 1603375"/>
              <a:gd name="connsiteY82" fmla="*/ 280192 h 725487"/>
              <a:gd name="connsiteX83" fmla="*/ 1094365 w 1603375"/>
              <a:gd name="connsiteY83" fmla="*/ 280192 h 725487"/>
              <a:gd name="connsiteX84" fmla="*/ 1094365 w 1603375"/>
              <a:gd name="connsiteY84" fmla="*/ 211136 h 725487"/>
              <a:gd name="connsiteX85" fmla="*/ 986393 w 1603375"/>
              <a:gd name="connsiteY85" fmla="*/ 211136 h 725487"/>
              <a:gd name="connsiteX86" fmla="*/ 986393 w 1603375"/>
              <a:gd name="connsiteY86" fmla="*/ 280192 h 725487"/>
              <a:gd name="connsiteX87" fmla="*/ 1032112 w 1603375"/>
              <a:gd name="connsiteY87" fmla="*/ 280192 h 725487"/>
              <a:gd name="connsiteX88" fmla="*/ 1032112 w 1603375"/>
              <a:gd name="connsiteY88" fmla="*/ 211136 h 725487"/>
              <a:gd name="connsiteX89" fmla="*/ 967581 w 1603375"/>
              <a:gd name="connsiteY89" fmla="*/ 184944 h 725487"/>
              <a:gd name="connsiteX90" fmla="*/ 1486694 w 1603375"/>
              <a:gd name="connsiteY90" fmla="*/ 184944 h 725487"/>
              <a:gd name="connsiteX91" fmla="*/ 1486694 w 1603375"/>
              <a:gd name="connsiteY91" fmla="*/ 427832 h 725487"/>
              <a:gd name="connsiteX92" fmla="*/ 967581 w 1603375"/>
              <a:gd name="connsiteY92" fmla="*/ 427832 h 725487"/>
              <a:gd name="connsiteX93" fmla="*/ 1336439 w 1603375"/>
              <a:gd name="connsiteY93" fmla="*/ 55165 h 725487"/>
              <a:gd name="connsiteX94" fmla="*/ 1336439 w 1603375"/>
              <a:gd name="connsiteY94" fmla="*/ 124221 h 725487"/>
              <a:gd name="connsiteX95" fmla="*/ 1382158 w 1603375"/>
              <a:gd name="connsiteY95" fmla="*/ 124221 h 725487"/>
              <a:gd name="connsiteX96" fmla="*/ 1382158 w 1603375"/>
              <a:gd name="connsiteY96" fmla="*/ 55165 h 725487"/>
              <a:gd name="connsiteX97" fmla="*/ 1270359 w 1603375"/>
              <a:gd name="connsiteY97" fmla="*/ 55165 h 725487"/>
              <a:gd name="connsiteX98" fmla="*/ 1270359 w 1603375"/>
              <a:gd name="connsiteY98" fmla="*/ 124221 h 725487"/>
              <a:gd name="connsiteX99" fmla="*/ 1316078 w 1603375"/>
              <a:gd name="connsiteY99" fmla="*/ 124221 h 725487"/>
              <a:gd name="connsiteX100" fmla="*/ 1316078 w 1603375"/>
              <a:gd name="connsiteY100" fmla="*/ 55165 h 725487"/>
              <a:gd name="connsiteX101" fmla="*/ 1204279 w 1603375"/>
              <a:gd name="connsiteY101" fmla="*/ 55165 h 725487"/>
              <a:gd name="connsiteX102" fmla="*/ 1204279 w 1603375"/>
              <a:gd name="connsiteY102" fmla="*/ 124221 h 725487"/>
              <a:gd name="connsiteX103" fmla="*/ 1249998 w 1603375"/>
              <a:gd name="connsiteY103" fmla="*/ 124221 h 725487"/>
              <a:gd name="connsiteX104" fmla="*/ 1249998 w 1603375"/>
              <a:gd name="connsiteY104" fmla="*/ 55165 h 725487"/>
              <a:gd name="connsiteX105" fmla="*/ 1138199 w 1603375"/>
              <a:gd name="connsiteY105" fmla="*/ 55165 h 725487"/>
              <a:gd name="connsiteX106" fmla="*/ 1138199 w 1603375"/>
              <a:gd name="connsiteY106" fmla="*/ 124221 h 725487"/>
              <a:gd name="connsiteX107" fmla="*/ 1183918 w 1603375"/>
              <a:gd name="connsiteY107" fmla="*/ 124221 h 725487"/>
              <a:gd name="connsiteX108" fmla="*/ 1183918 w 1603375"/>
              <a:gd name="connsiteY108" fmla="*/ 55165 h 725487"/>
              <a:gd name="connsiteX109" fmla="*/ 1072119 w 1603375"/>
              <a:gd name="connsiteY109" fmla="*/ 55165 h 725487"/>
              <a:gd name="connsiteX110" fmla="*/ 1072119 w 1603375"/>
              <a:gd name="connsiteY110" fmla="*/ 124221 h 725487"/>
              <a:gd name="connsiteX111" fmla="*/ 1117838 w 1603375"/>
              <a:gd name="connsiteY111" fmla="*/ 124221 h 725487"/>
              <a:gd name="connsiteX112" fmla="*/ 1117838 w 1603375"/>
              <a:gd name="connsiteY112" fmla="*/ 55165 h 725487"/>
              <a:gd name="connsiteX113" fmla="*/ 1036639 w 1603375"/>
              <a:gd name="connsiteY113" fmla="*/ 25400 h 725487"/>
              <a:gd name="connsiteX114" fmla="*/ 1417637 w 1603375"/>
              <a:gd name="connsiteY114" fmla="*/ 25400 h 725487"/>
              <a:gd name="connsiteX115" fmla="*/ 1417637 w 1603375"/>
              <a:gd name="connsiteY115" fmla="*/ 153987 h 725487"/>
              <a:gd name="connsiteX116" fmla="*/ 1036639 w 1603375"/>
              <a:gd name="connsiteY116" fmla="*/ 153987 h 725487"/>
              <a:gd name="connsiteX117" fmla="*/ 769938 w 1603375"/>
              <a:gd name="connsiteY117" fmla="*/ 0 h 725487"/>
              <a:gd name="connsiteX118" fmla="*/ 886619 w 1603375"/>
              <a:gd name="connsiteY118" fmla="*/ 0 h 725487"/>
              <a:gd name="connsiteX119" fmla="*/ 886619 w 1603375"/>
              <a:gd name="connsiteY119" fmla="*/ 192881 h 725487"/>
              <a:gd name="connsiteX120" fmla="*/ 769938 w 1603375"/>
              <a:gd name="connsiteY120" fmla="*/ 192881 h 725487"/>
              <a:gd name="connsiteX121" fmla="*/ 626468 w 1603375"/>
              <a:gd name="connsiteY121" fmla="*/ 0 h 725487"/>
              <a:gd name="connsiteX122" fmla="*/ 743149 w 1603375"/>
              <a:gd name="connsiteY122" fmla="*/ 0 h 725487"/>
              <a:gd name="connsiteX123" fmla="*/ 743149 w 1603375"/>
              <a:gd name="connsiteY123" fmla="*/ 192881 h 725487"/>
              <a:gd name="connsiteX124" fmla="*/ 626468 w 1603375"/>
              <a:gd name="connsiteY124" fmla="*/ 192881 h 725487"/>
              <a:gd name="connsiteX125" fmla="*/ 482998 w 1603375"/>
              <a:gd name="connsiteY125" fmla="*/ 0 h 725487"/>
              <a:gd name="connsiteX126" fmla="*/ 599679 w 1603375"/>
              <a:gd name="connsiteY126" fmla="*/ 0 h 725487"/>
              <a:gd name="connsiteX127" fmla="*/ 599679 w 1603375"/>
              <a:gd name="connsiteY127" fmla="*/ 192881 h 725487"/>
              <a:gd name="connsiteX128" fmla="*/ 482998 w 1603375"/>
              <a:gd name="connsiteY128" fmla="*/ 192881 h 725487"/>
              <a:gd name="connsiteX129" fmla="*/ 339527 w 1603375"/>
              <a:gd name="connsiteY129" fmla="*/ 0 h 725487"/>
              <a:gd name="connsiteX130" fmla="*/ 456208 w 1603375"/>
              <a:gd name="connsiteY130" fmla="*/ 0 h 725487"/>
              <a:gd name="connsiteX131" fmla="*/ 456208 w 1603375"/>
              <a:gd name="connsiteY131" fmla="*/ 192881 h 725487"/>
              <a:gd name="connsiteX132" fmla="*/ 339527 w 1603375"/>
              <a:gd name="connsiteY132" fmla="*/ 192881 h 725487"/>
              <a:gd name="connsiteX133" fmla="*/ 196056 w 1603375"/>
              <a:gd name="connsiteY133" fmla="*/ 0 h 725487"/>
              <a:gd name="connsiteX134" fmla="*/ 312737 w 1603375"/>
              <a:gd name="connsiteY134" fmla="*/ 0 h 725487"/>
              <a:gd name="connsiteX135" fmla="*/ 312737 w 1603375"/>
              <a:gd name="connsiteY135" fmla="*/ 192881 h 725487"/>
              <a:gd name="connsiteX136" fmla="*/ 196056 w 1603375"/>
              <a:gd name="connsiteY136" fmla="*/ 192881 h 725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</a:cxnLst>
            <a:rect l="l" t="t" r="r" b="b"/>
            <a:pathLst>
              <a:path w="1603375" h="725487">
                <a:moveTo>
                  <a:pt x="0" y="461962"/>
                </a:moveTo>
                <a:lnTo>
                  <a:pt x="1603375" y="461962"/>
                </a:lnTo>
                <a:lnTo>
                  <a:pt x="1603375" y="617537"/>
                </a:lnTo>
                <a:cubicBezTo>
                  <a:pt x="1589088" y="705908"/>
                  <a:pt x="1529557" y="720461"/>
                  <a:pt x="1460500" y="725487"/>
                </a:cubicBezTo>
                <a:lnTo>
                  <a:pt x="396875" y="725487"/>
                </a:lnTo>
                <a:close/>
                <a:moveTo>
                  <a:pt x="1422162" y="311150"/>
                </a:moveTo>
                <a:lnTo>
                  <a:pt x="1422162" y="380206"/>
                </a:lnTo>
                <a:lnTo>
                  <a:pt x="1467881" y="380206"/>
                </a:lnTo>
                <a:lnTo>
                  <a:pt x="1467881" y="311150"/>
                </a:lnTo>
                <a:close/>
                <a:moveTo>
                  <a:pt x="1359911" y="311150"/>
                </a:moveTo>
                <a:lnTo>
                  <a:pt x="1359911" y="380206"/>
                </a:lnTo>
                <a:lnTo>
                  <a:pt x="1405630" y="380206"/>
                </a:lnTo>
                <a:lnTo>
                  <a:pt x="1405630" y="311150"/>
                </a:lnTo>
                <a:close/>
                <a:moveTo>
                  <a:pt x="1297658" y="311150"/>
                </a:moveTo>
                <a:lnTo>
                  <a:pt x="1297658" y="380206"/>
                </a:lnTo>
                <a:lnTo>
                  <a:pt x="1343377" y="380206"/>
                </a:lnTo>
                <a:lnTo>
                  <a:pt x="1343377" y="311150"/>
                </a:lnTo>
                <a:close/>
                <a:moveTo>
                  <a:pt x="1235405" y="311150"/>
                </a:moveTo>
                <a:lnTo>
                  <a:pt x="1235405" y="380206"/>
                </a:lnTo>
                <a:lnTo>
                  <a:pt x="1281124" y="380206"/>
                </a:lnTo>
                <a:lnTo>
                  <a:pt x="1281124" y="311150"/>
                </a:lnTo>
                <a:close/>
                <a:moveTo>
                  <a:pt x="1173152" y="311150"/>
                </a:moveTo>
                <a:lnTo>
                  <a:pt x="1173152" y="380206"/>
                </a:lnTo>
                <a:lnTo>
                  <a:pt x="1218871" y="380206"/>
                </a:lnTo>
                <a:lnTo>
                  <a:pt x="1218871" y="311150"/>
                </a:lnTo>
                <a:close/>
                <a:moveTo>
                  <a:pt x="1110899" y="311150"/>
                </a:moveTo>
                <a:lnTo>
                  <a:pt x="1110899" y="380206"/>
                </a:lnTo>
                <a:lnTo>
                  <a:pt x="1156618" y="380206"/>
                </a:lnTo>
                <a:lnTo>
                  <a:pt x="1156618" y="311150"/>
                </a:lnTo>
                <a:close/>
                <a:moveTo>
                  <a:pt x="1048646" y="311150"/>
                </a:moveTo>
                <a:lnTo>
                  <a:pt x="1048646" y="380206"/>
                </a:lnTo>
                <a:lnTo>
                  <a:pt x="1094365" y="380206"/>
                </a:lnTo>
                <a:lnTo>
                  <a:pt x="1094365" y="311150"/>
                </a:lnTo>
                <a:close/>
                <a:moveTo>
                  <a:pt x="986393" y="311150"/>
                </a:moveTo>
                <a:lnTo>
                  <a:pt x="986393" y="380206"/>
                </a:lnTo>
                <a:lnTo>
                  <a:pt x="1032112" y="380206"/>
                </a:lnTo>
                <a:lnTo>
                  <a:pt x="1032112" y="311150"/>
                </a:lnTo>
                <a:close/>
                <a:moveTo>
                  <a:pt x="769938" y="234950"/>
                </a:moveTo>
                <a:lnTo>
                  <a:pt x="886619" y="234950"/>
                </a:lnTo>
                <a:lnTo>
                  <a:pt x="886619" y="427831"/>
                </a:lnTo>
                <a:lnTo>
                  <a:pt x="769938" y="427831"/>
                </a:lnTo>
                <a:close/>
                <a:moveTo>
                  <a:pt x="626468" y="234950"/>
                </a:moveTo>
                <a:lnTo>
                  <a:pt x="743149" y="234950"/>
                </a:lnTo>
                <a:lnTo>
                  <a:pt x="743149" y="427831"/>
                </a:lnTo>
                <a:lnTo>
                  <a:pt x="626468" y="427831"/>
                </a:lnTo>
                <a:close/>
                <a:moveTo>
                  <a:pt x="482998" y="234950"/>
                </a:moveTo>
                <a:lnTo>
                  <a:pt x="599679" y="234950"/>
                </a:lnTo>
                <a:lnTo>
                  <a:pt x="599679" y="427831"/>
                </a:lnTo>
                <a:lnTo>
                  <a:pt x="482998" y="427831"/>
                </a:lnTo>
                <a:close/>
                <a:moveTo>
                  <a:pt x="339527" y="234950"/>
                </a:moveTo>
                <a:lnTo>
                  <a:pt x="456208" y="234950"/>
                </a:lnTo>
                <a:lnTo>
                  <a:pt x="456208" y="427831"/>
                </a:lnTo>
                <a:lnTo>
                  <a:pt x="339527" y="427831"/>
                </a:lnTo>
                <a:close/>
                <a:moveTo>
                  <a:pt x="196056" y="234950"/>
                </a:moveTo>
                <a:lnTo>
                  <a:pt x="312737" y="234950"/>
                </a:lnTo>
                <a:lnTo>
                  <a:pt x="312737" y="427831"/>
                </a:lnTo>
                <a:lnTo>
                  <a:pt x="196056" y="427831"/>
                </a:lnTo>
                <a:close/>
                <a:moveTo>
                  <a:pt x="1422162" y="211136"/>
                </a:moveTo>
                <a:lnTo>
                  <a:pt x="1422162" y="280192"/>
                </a:lnTo>
                <a:lnTo>
                  <a:pt x="1467881" y="280192"/>
                </a:lnTo>
                <a:lnTo>
                  <a:pt x="1467881" y="211136"/>
                </a:lnTo>
                <a:close/>
                <a:moveTo>
                  <a:pt x="1359911" y="211136"/>
                </a:moveTo>
                <a:lnTo>
                  <a:pt x="1359911" y="280192"/>
                </a:lnTo>
                <a:lnTo>
                  <a:pt x="1405630" y="280192"/>
                </a:lnTo>
                <a:lnTo>
                  <a:pt x="1405630" y="211136"/>
                </a:lnTo>
                <a:close/>
                <a:moveTo>
                  <a:pt x="1297658" y="211136"/>
                </a:moveTo>
                <a:lnTo>
                  <a:pt x="1297658" y="280192"/>
                </a:lnTo>
                <a:lnTo>
                  <a:pt x="1343377" y="280192"/>
                </a:lnTo>
                <a:lnTo>
                  <a:pt x="1343377" y="211136"/>
                </a:lnTo>
                <a:close/>
                <a:moveTo>
                  <a:pt x="1235405" y="211136"/>
                </a:moveTo>
                <a:lnTo>
                  <a:pt x="1235405" y="280192"/>
                </a:lnTo>
                <a:lnTo>
                  <a:pt x="1281124" y="280192"/>
                </a:lnTo>
                <a:lnTo>
                  <a:pt x="1281124" y="211136"/>
                </a:lnTo>
                <a:close/>
                <a:moveTo>
                  <a:pt x="1173152" y="211136"/>
                </a:moveTo>
                <a:lnTo>
                  <a:pt x="1173152" y="280192"/>
                </a:lnTo>
                <a:lnTo>
                  <a:pt x="1218871" y="280192"/>
                </a:lnTo>
                <a:lnTo>
                  <a:pt x="1218871" y="211136"/>
                </a:lnTo>
                <a:close/>
                <a:moveTo>
                  <a:pt x="1110899" y="211136"/>
                </a:moveTo>
                <a:lnTo>
                  <a:pt x="1110899" y="280192"/>
                </a:lnTo>
                <a:lnTo>
                  <a:pt x="1156618" y="280192"/>
                </a:lnTo>
                <a:lnTo>
                  <a:pt x="1156618" y="211136"/>
                </a:lnTo>
                <a:close/>
                <a:moveTo>
                  <a:pt x="1048646" y="211136"/>
                </a:moveTo>
                <a:lnTo>
                  <a:pt x="1048646" y="280192"/>
                </a:lnTo>
                <a:lnTo>
                  <a:pt x="1094365" y="280192"/>
                </a:lnTo>
                <a:lnTo>
                  <a:pt x="1094365" y="211136"/>
                </a:lnTo>
                <a:close/>
                <a:moveTo>
                  <a:pt x="986393" y="211136"/>
                </a:moveTo>
                <a:lnTo>
                  <a:pt x="986393" y="280192"/>
                </a:lnTo>
                <a:lnTo>
                  <a:pt x="1032112" y="280192"/>
                </a:lnTo>
                <a:lnTo>
                  <a:pt x="1032112" y="211136"/>
                </a:lnTo>
                <a:close/>
                <a:moveTo>
                  <a:pt x="967581" y="184944"/>
                </a:moveTo>
                <a:lnTo>
                  <a:pt x="1486694" y="184944"/>
                </a:lnTo>
                <a:lnTo>
                  <a:pt x="1486694" y="427832"/>
                </a:lnTo>
                <a:lnTo>
                  <a:pt x="967581" y="427832"/>
                </a:lnTo>
                <a:close/>
                <a:moveTo>
                  <a:pt x="1336439" y="55165"/>
                </a:moveTo>
                <a:lnTo>
                  <a:pt x="1336439" y="124221"/>
                </a:lnTo>
                <a:lnTo>
                  <a:pt x="1382158" y="124221"/>
                </a:lnTo>
                <a:lnTo>
                  <a:pt x="1382158" y="55165"/>
                </a:lnTo>
                <a:close/>
                <a:moveTo>
                  <a:pt x="1270359" y="55165"/>
                </a:moveTo>
                <a:lnTo>
                  <a:pt x="1270359" y="124221"/>
                </a:lnTo>
                <a:lnTo>
                  <a:pt x="1316078" y="124221"/>
                </a:lnTo>
                <a:lnTo>
                  <a:pt x="1316078" y="55165"/>
                </a:lnTo>
                <a:close/>
                <a:moveTo>
                  <a:pt x="1204279" y="55165"/>
                </a:moveTo>
                <a:lnTo>
                  <a:pt x="1204279" y="124221"/>
                </a:lnTo>
                <a:lnTo>
                  <a:pt x="1249998" y="124221"/>
                </a:lnTo>
                <a:lnTo>
                  <a:pt x="1249998" y="55165"/>
                </a:lnTo>
                <a:close/>
                <a:moveTo>
                  <a:pt x="1138199" y="55165"/>
                </a:moveTo>
                <a:lnTo>
                  <a:pt x="1138199" y="124221"/>
                </a:lnTo>
                <a:lnTo>
                  <a:pt x="1183918" y="124221"/>
                </a:lnTo>
                <a:lnTo>
                  <a:pt x="1183918" y="55165"/>
                </a:lnTo>
                <a:close/>
                <a:moveTo>
                  <a:pt x="1072119" y="55165"/>
                </a:moveTo>
                <a:lnTo>
                  <a:pt x="1072119" y="124221"/>
                </a:lnTo>
                <a:lnTo>
                  <a:pt x="1117838" y="124221"/>
                </a:lnTo>
                <a:lnTo>
                  <a:pt x="1117838" y="55165"/>
                </a:lnTo>
                <a:close/>
                <a:moveTo>
                  <a:pt x="1036639" y="25400"/>
                </a:moveTo>
                <a:lnTo>
                  <a:pt x="1417637" y="25400"/>
                </a:lnTo>
                <a:lnTo>
                  <a:pt x="1417637" y="153987"/>
                </a:lnTo>
                <a:lnTo>
                  <a:pt x="1036639" y="153987"/>
                </a:lnTo>
                <a:close/>
                <a:moveTo>
                  <a:pt x="769938" y="0"/>
                </a:moveTo>
                <a:lnTo>
                  <a:pt x="886619" y="0"/>
                </a:lnTo>
                <a:lnTo>
                  <a:pt x="886619" y="192881"/>
                </a:lnTo>
                <a:lnTo>
                  <a:pt x="769938" y="192881"/>
                </a:lnTo>
                <a:close/>
                <a:moveTo>
                  <a:pt x="626468" y="0"/>
                </a:moveTo>
                <a:lnTo>
                  <a:pt x="743149" y="0"/>
                </a:lnTo>
                <a:lnTo>
                  <a:pt x="743149" y="192881"/>
                </a:lnTo>
                <a:lnTo>
                  <a:pt x="626468" y="192881"/>
                </a:lnTo>
                <a:close/>
                <a:moveTo>
                  <a:pt x="482998" y="0"/>
                </a:moveTo>
                <a:lnTo>
                  <a:pt x="599679" y="0"/>
                </a:lnTo>
                <a:lnTo>
                  <a:pt x="599679" y="192881"/>
                </a:lnTo>
                <a:lnTo>
                  <a:pt x="482998" y="192881"/>
                </a:lnTo>
                <a:close/>
                <a:moveTo>
                  <a:pt x="339527" y="0"/>
                </a:moveTo>
                <a:lnTo>
                  <a:pt x="456208" y="0"/>
                </a:lnTo>
                <a:lnTo>
                  <a:pt x="456208" y="192881"/>
                </a:lnTo>
                <a:lnTo>
                  <a:pt x="339527" y="192881"/>
                </a:lnTo>
                <a:close/>
                <a:moveTo>
                  <a:pt x="196056" y="0"/>
                </a:moveTo>
                <a:lnTo>
                  <a:pt x="312737" y="0"/>
                </a:lnTo>
                <a:lnTo>
                  <a:pt x="312737" y="192881"/>
                </a:lnTo>
                <a:lnTo>
                  <a:pt x="196056" y="1928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7" name="Freeform 56"/>
          <p:cNvSpPr>
            <a:spLocks/>
          </p:cNvSpPr>
          <p:nvPr/>
        </p:nvSpPr>
        <p:spPr bwMode="auto">
          <a:xfrm>
            <a:off x="744896" y="5057755"/>
            <a:ext cx="487597" cy="433489"/>
          </a:xfrm>
          <a:custGeom>
            <a:avLst/>
            <a:gdLst>
              <a:gd name="connsiteX0" fmla="*/ 500924 w 814724"/>
              <a:gd name="connsiteY0" fmla="*/ 631805 h 724316"/>
              <a:gd name="connsiteX1" fmla="*/ 520372 w 814724"/>
              <a:gd name="connsiteY1" fmla="*/ 631805 h 724316"/>
              <a:gd name="connsiteX2" fmla="*/ 540346 w 814724"/>
              <a:gd name="connsiteY2" fmla="*/ 634433 h 724316"/>
              <a:gd name="connsiteX3" fmla="*/ 562423 w 814724"/>
              <a:gd name="connsiteY3" fmla="*/ 639690 h 724316"/>
              <a:gd name="connsiteX4" fmla="*/ 584499 w 814724"/>
              <a:gd name="connsiteY4" fmla="*/ 647048 h 724316"/>
              <a:gd name="connsiteX5" fmla="*/ 607627 w 814724"/>
              <a:gd name="connsiteY5" fmla="*/ 658087 h 724316"/>
              <a:gd name="connsiteX6" fmla="*/ 631280 w 814724"/>
              <a:gd name="connsiteY6" fmla="*/ 672279 h 724316"/>
              <a:gd name="connsiteX7" fmla="*/ 632857 w 814724"/>
              <a:gd name="connsiteY7" fmla="*/ 673330 h 724316"/>
              <a:gd name="connsiteX8" fmla="*/ 635485 w 814724"/>
              <a:gd name="connsiteY8" fmla="*/ 674907 h 724316"/>
              <a:gd name="connsiteX9" fmla="*/ 639690 w 814724"/>
              <a:gd name="connsiteY9" fmla="*/ 677535 h 724316"/>
              <a:gd name="connsiteX10" fmla="*/ 645472 w 814724"/>
              <a:gd name="connsiteY10" fmla="*/ 680689 h 724316"/>
              <a:gd name="connsiteX11" fmla="*/ 652831 w 814724"/>
              <a:gd name="connsiteY11" fmla="*/ 684368 h 724316"/>
              <a:gd name="connsiteX12" fmla="*/ 661766 w 814724"/>
              <a:gd name="connsiteY12" fmla="*/ 686996 h 724316"/>
              <a:gd name="connsiteX13" fmla="*/ 670702 w 814724"/>
              <a:gd name="connsiteY13" fmla="*/ 690150 h 724316"/>
              <a:gd name="connsiteX14" fmla="*/ 681215 w 814724"/>
              <a:gd name="connsiteY14" fmla="*/ 692778 h 724316"/>
              <a:gd name="connsiteX15" fmla="*/ 692779 w 814724"/>
              <a:gd name="connsiteY15" fmla="*/ 694355 h 724316"/>
              <a:gd name="connsiteX16" fmla="*/ 705394 w 814724"/>
              <a:gd name="connsiteY16" fmla="*/ 695406 h 724316"/>
              <a:gd name="connsiteX17" fmla="*/ 718009 w 814724"/>
              <a:gd name="connsiteY17" fmla="*/ 694355 h 724316"/>
              <a:gd name="connsiteX18" fmla="*/ 732726 w 814724"/>
              <a:gd name="connsiteY18" fmla="*/ 691727 h 724316"/>
              <a:gd name="connsiteX19" fmla="*/ 746918 w 814724"/>
              <a:gd name="connsiteY19" fmla="*/ 688573 h 724316"/>
              <a:gd name="connsiteX20" fmla="*/ 762162 w 814724"/>
              <a:gd name="connsiteY20" fmla="*/ 682791 h 724316"/>
              <a:gd name="connsiteX21" fmla="*/ 778456 w 814724"/>
              <a:gd name="connsiteY21" fmla="*/ 674381 h 724316"/>
              <a:gd name="connsiteX22" fmla="*/ 794225 w 814724"/>
              <a:gd name="connsiteY22" fmla="*/ 663869 h 724316"/>
              <a:gd name="connsiteX23" fmla="*/ 807891 w 814724"/>
              <a:gd name="connsiteY23" fmla="*/ 682791 h 724316"/>
              <a:gd name="connsiteX24" fmla="*/ 789494 w 814724"/>
              <a:gd name="connsiteY24" fmla="*/ 695406 h 724316"/>
              <a:gd name="connsiteX25" fmla="*/ 770572 w 814724"/>
              <a:gd name="connsiteY25" fmla="*/ 704868 h 724316"/>
              <a:gd name="connsiteX26" fmla="*/ 752700 w 814724"/>
              <a:gd name="connsiteY26" fmla="*/ 711175 h 724316"/>
              <a:gd name="connsiteX27" fmla="*/ 735880 w 814724"/>
              <a:gd name="connsiteY27" fmla="*/ 715380 h 724316"/>
              <a:gd name="connsiteX28" fmla="*/ 720111 w 814724"/>
              <a:gd name="connsiteY28" fmla="*/ 718009 h 724316"/>
              <a:gd name="connsiteX29" fmla="*/ 704868 w 814724"/>
              <a:gd name="connsiteY29" fmla="*/ 719060 h 724316"/>
              <a:gd name="connsiteX30" fmla="*/ 689625 w 814724"/>
              <a:gd name="connsiteY30" fmla="*/ 718009 h 724316"/>
              <a:gd name="connsiteX31" fmla="*/ 675958 w 814724"/>
              <a:gd name="connsiteY31" fmla="*/ 715380 h 724316"/>
              <a:gd name="connsiteX32" fmla="*/ 663869 w 814724"/>
              <a:gd name="connsiteY32" fmla="*/ 713278 h 724316"/>
              <a:gd name="connsiteX33" fmla="*/ 652831 w 814724"/>
              <a:gd name="connsiteY33" fmla="*/ 709073 h 724316"/>
              <a:gd name="connsiteX34" fmla="*/ 642844 w 814724"/>
              <a:gd name="connsiteY34" fmla="*/ 705393 h 724316"/>
              <a:gd name="connsiteX35" fmla="*/ 634434 w 814724"/>
              <a:gd name="connsiteY35" fmla="*/ 701188 h 724316"/>
              <a:gd name="connsiteX36" fmla="*/ 627601 w 814724"/>
              <a:gd name="connsiteY36" fmla="*/ 698035 h 724316"/>
              <a:gd name="connsiteX37" fmla="*/ 622870 w 814724"/>
              <a:gd name="connsiteY37" fmla="*/ 694355 h 724316"/>
              <a:gd name="connsiteX38" fmla="*/ 619191 w 814724"/>
              <a:gd name="connsiteY38" fmla="*/ 691727 h 724316"/>
              <a:gd name="connsiteX39" fmla="*/ 617614 w 814724"/>
              <a:gd name="connsiteY39" fmla="*/ 691201 h 724316"/>
              <a:gd name="connsiteX40" fmla="*/ 597114 w 814724"/>
              <a:gd name="connsiteY40" fmla="*/ 678586 h 724316"/>
              <a:gd name="connsiteX41" fmla="*/ 577140 w 814724"/>
              <a:gd name="connsiteY41" fmla="*/ 668074 h 724316"/>
              <a:gd name="connsiteX42" fmla="*/ 557692 w 814724"/>
              <a:gd name="connsiteY42" fmla="*/ 661240 h 724316"/>
              <a:gd name="connsiteX43" fmla="*/ 538769 w 814724"/>
              <a:gd name="connsiteY43" fmla="*/ 657035 h 724316"/>
              <a:gd name="connsiteX44" fmla="*/ 520898 w 814724"/>
              <a:gd name="connsiteY44" fmla="*/ 654933 h 724316"/>
              <a:gd name="connsiteX45" fmla="*/ 504078 w 814724"/>
              <a:gd name="connsiteY45" fmla="*/ 654933 h 724316"/>
              <a:gd name="connsiteX46" fmla="*/ 488309 w 814724"/>
              <a:gd name="connsiteY46" fmla="*/ 656510 h 724316"/>
              <a:gd name="connsiteX47" fmla="*/ 473592 w 814724"/>
              <a:gd name="connsiteY47" fmla="*/ 659138 h 724316"/>
              <a:gd name="connsiteX48" fmla="*/ 460451 w 814724"/>
              <a:gd name="connsiteY48" fmla="*/ 662292 h 724316"/>
              <a:gd name="connsiteX49" fmla="*/ 448361 w 814724"/>
              <a:gd name="connsiteY49" fmla="*/ 666497 h 724316"/>
              <a:gd name="connsiteX50" fmla="*/ 437323 w 814724"/>
              <a:gd name="connsiteY50" fmla="*/ 671753 h 724316"/>
              <a:gd name="connsiteX51" fmla="*/ 428913 w 814724"/>
              <a:gd name="connsiteY51" fmla="*/ 675958 h 724316"/>
              <a:gd name="connsiteX52" fmla="*/ 421554 w 814724"/>
              <a:gd name="connsiteY52" fmla="*/ 680163 h 724316"/>
              <a:gd name="connsiteX53" fmla="*/ 416298 w 814724"/>
              <a:gd name="connsiteY53" fmla="*/ 683317 h 724316"/>
              <a:gd name="connsiteX54" fmla="*/ 412093 w 814724"/>
              <a:gd name="connsiteY54" fmla="*/ 685945 h 724316"/>
              <a:gd name="connsiteX55" fmla="*/ 410516 w 814724"/>
              <a:gd name="connsiteY55" fmla="*/ 687522 h 724316"/>
              <a:gd name="connsiteX56" fmla="*/ 391593 w 814724"/>
              <a:gd name="connsiteY56" fmla="*/ 700663 h 724316"/>
              <a:gd name="connsiteX57" fmla="*/ 373196 w 814724"/>
              <a:gd name="connsiteY57" fmla="*/ 709598 h 724316"/>
              <a:gd name="connsiteX58" fmla="*/ 355325 w 814724"/>
              <a:gd name="connsiteY58" fmla="*/ 716432 h 724316"/>
              <a:gd name="connsiteX59" fmla="*/ 338505 w 814724"/>
              <a:gd name="connsiteY59" fmla="*/ 720637 h 724316"/>
              <a:gd name="connsiteX60" fmla="*/ 322210 w 814724"/>
              <a:gd name="connsiteY60" fmla="*/ 723265 h 724316"/>
              <a:gd name="connsiteX61" fmla="*/ 306967 w 814724"/>
              <a:gd name="connsiteY61" fmla="*/ 724316 h 724316"/>
              <a:gd name="connsiteX62" fmla="*/ 291724 w 814724"/>
              <a:gd name="connsiteY62" fmla="*/ 723265 h 724316"/>
              <a:gd name="connsiteX63" fmla="*/ 278583 w 814724"/>
              <a:gd name="connsiteY63" fmla="*/ 720637 h 724316"/>
              <a:gd name="connsiteX64" fmla="*/ 266493 w 814724"/>
              <a:gd name="connsiteY64" fmla="*/ 718009 h 724316"/>
              <a:gd name="connsiteX65" fmla="*/ 255455 w 814724"/>
              <a:gd name="connsiteY65" fmla="*/ 713804 h 724316"/>
              <a:gd name="connsiteX66" fmla="*/ 245468 w 814724"/>
              <a:gd name="connsiteY66" fmla="*/ 710650 h 724316"/>
              <a:gd name="connsiteX67" fmla="*/ 237058 w 814724"/>
              <a:gd name="connsiteY67" fmla="*/ 706445 h 724316"/>
              <a:gd name="connsiteX68" fmla="*/ 230225 w 814724"/>
              <a:gd name="connsiteY68" fmla="*/ 702765 h 724316"/>
              <a:gd name="connsiteX69" fmla="*/ 224969 w 814724"/>
              <a:gd name="connsiteY69" fmla="*/ 699611 h 724316"/>
              <a:gd name="connsiteX70" fmla="*/ 221815 w 814724"/>
              <a:gd name="connsiteY70" fmla="*/ 696983 h 724316"/>
              <a:gd name="connsiteX71" fmla="*/ 220238 w 814724"/>
              <a:gd name="connsiteY71" fmla="*/ 695932 h 724316"/>
              <a:gd name="connsiteX72" fmla="*/ 199739 w 814724"/>
              <a:gd name="connsiteY72" fmla="*/ 683317 h 724316"/>
              <a:gd name="connsiteX73" fmla="*/ 179239 w 814724"/>
              <a:gd name="connsiteY73" fmla="*/ 673330 h 724316"/>
              <a:gd name="connsiteX74" fmla="*/ 159791 w 814724"/>
              <a:gd name="connsiteY74" fmla="*/ 666497 h 724316"/>
              <a:gd name="connsiteX75" fmla="*/ 141394 w 814724"/>
              <a:gd name="connsiteY75" fmla="*/ 662292 h 724316"/>
              <a:gd name="connsiteX76" fmla="*/ 124574 w 814724"/>
              <a:gd name="connsiteY76" fmla="*/ 659664 h 724316"/>
              <a:gd name="connsiteX77" fmla="*/ 107754 w 814724"/>
              <a:gd name="connsiteY77" fmla="*/ 659664 h 724316"/>
              <a:gd name="connsiteX78" fmla="*/ 91459 w 814724"/>
              <a:gd name="connsiteY78" fmla="*/ 660715 h 724316"/>
              <a:gd name="connsiteX79" fmla="*/ 77267 w 814724"/>
              <a:gd name="connsiteY79" fmla="*/ 663343 h 724316"/>
              <a:gd name="connsiteX80" fmla="*/ 64652 w 814724"/>
              <a:gd name="connsiteY80" fmla="*/ 667548 h 724316"/>
              <a:gd name="connsiteX81" fmla="*/ 52563 w 814724"/>
              <a:gd name="connsiteY81" fmla="*/ 671753 h 724316"/>
              <a:gd name="connsiteX82" fmla="*/ 41524 w 814724"/>
              <a:gd name="connsiteY82" fmla="*/ 675958 h 724316"/>
              <a:gd name="connsiteX83" fmla="*/ 33114 w 814724"/>
              <a:gd name="connsiteY83" fmla="*/ 680163 h 724316"/>
              <a:gd name="connsiteX84" fmla="*/ 25230 w 814724"/>
              <a:gd name="connsiteY84" fmla="*/ 684368 h 724316"/>
              <a:gd name="connsiteX85" fmla="*/ 20499 w 814724"/>
              <a:gd name="connsiteY85" fmla="*/ 687522 h 724316"/>
              <a:gd name="connsiteX86" fmla="*/ 16294 w 814724"/>
              <a:gd name="connsiteY86" fmla="*/ 690150 h 724316"/>
              <a:gd name="connsiteX87" fmla="*/ 14717 w 814724"/>
              <a:gd name="connsiteY87" fmla="*/ 691727 h 724316"/>
              <a:gd name="connsiteX88" fmla="*/ 0 w 814724"/>
              <a:gd name="connsiteY88" fmla="*/ 673330 h 724316"/>
              <a:gd name="connsiteX89" fmla="*/ 1577 w 814724"/>
              <a:gd name="connsiteY89" fmla="*/ 672279 h 724316"/>
              <a:gd name="connsiteX90" fmla="*/ 5256 w 814724"/>
              <a:gd name="connsiteY90" fmla="*/ 670176 h 724316"/>
              <a:gd name="connsiteX91" fmla="*/ 11038 w 814724"/>
              <a:gd name="connsiteY91" fmla="*/ 665971 h 724316"/>
              <a:gd name="connsiteX92" fmla="*/ 18922 w 814724"/>
              <a:gd name="connsiteY92" fmla="*/ 661240 h 724316"/>
              <a:gd name="connsiteX93" fmla="*/ 28909 w 814724"/>
              <a:gd name="connsiteY93" fmla="*/ 656510 h 724316"/>
              <a:gd name="connsiteX94" fmla="*/ 40473 w 814724"/>
              <a:gd name="connsiteY94" fmla="*/ 650728 h 724316"/>
              <a:gd name="connsiteX95" fmla="*/ 54139 w 814724"/>
              <a:gd name="connsiteY95" fmla="*/ 645997 h 724316"/>
              <a:gd name="connsiteX96" fmla="*/ 69383 w 814724"/>
              <a:gd name="connsiteY96" fmla="*/ 641792 h 724316"/>
              <a:gd name="connsiteX97" fmla="*/ 86203 w 814724"/>
              <a:gd name="connsiteY97" fmla="*/ 638638 h 724316"/>
              <a:gd name="connsiteX98" fmla="*/ 104074 w 814724"/>
              <a:gd name="connsiteY98" fmla="*/ 637061 h 724316"/>
              <a:gd name="connsiteX99" fmla="*/ 123522 w 814724"/>
              <a:gd name="connsiteY99" fmla="*/ 637061 h 724316"/>
              <a:gd name="connsiteX100" fmla="*/ 144022 w 814724"/>
              <a:gd name="connsiteY100" fmla="*/ 638638 h 724316"/>
              <a:gd name="connsiteX101" fmla="*/ 165047 w 814724"/>
              <a:gd name="connsiteY101" fmla="*/ 643895 h 724316"/>
              <a:gd name="connsiteX102" fmla="*/ 187124 w 814724"/>
              <a:gd name="connsiteY102" fmla="*/ 651253 h 724316"/>
              <a:gd name="connsiteX103" fmla="*/ 209726 w 814724"/>
              <a:gd name="connsiteY103" fmla="*/ 662292 h 724316"/>
              <a:gd name="connsiteX104" fmla="*/ 233379 w 814724"/>
              <a:gd name="connsiteY104" fmla="*/ 676484 h 724316"/>
              <a:gd name="connsiteX105" fmla="*/ 235481 w 814724"/>
              <a:gd name="connsiteY105" fmla="*/ 677535 h 724316"/>
              <a:gd name="connsiteX106" fmla="*/ 237584 w 814724"/>
              <a:gd name="connsiteY106" fmla="*/ 680163 h 724316"/>
              <a:gd name="connsiteX107" fmla="*/ 241789 w 814724"/>
              <a:gd name="connsiteY107" fmla="*/ 682791 h 724316"/>
              <a:gd name="connsiteX108" fmla="*/ 248096 w 814724"/>
              <a:gd name="connsiteY108" fmla="*/ 685419 h 724316"/>
              <a:gd name="connsiteX109" fmla="*/ 255455 w 814724"/>
              <a:gd name="connsiteY109" fmla="*/ 688573 h 724316"/>
              <a:gd name="connsiteX110" fmla="*/ 263865 w 814724"/>
              <a:gd name="connsiteY110" fmla="*/ 691727 h 724316"/>
              <a:gd name="connsiteX111" fmla="*/ 273327 w 814724"/>
              <a:gd name="connsiteY111" fmla="*/ 695406 h 724316"/>
              <a:gd name="connsiteX112" fmla="*/ 283314 w 814724"/>
              <a:gd name="connsiteY112" fmla="*/ 698035 h 724316"/>
              <a:gd name="connsiteX113" fmla="*/ 295403 w 814724"/>
              <a:gd name="connsiteY113" fmla="*/ 699611 h 724316"/>
              <a:gd name="connsiteX114" fmla="*/ 306967 w 814724"/>
              <a:gd name="connsiteY114" fmla="*/ 700663 h 724316"/>
              <a:gd name="connsiteX115" fmla="*/ 320633 w 814724"/>
              <a:gd name="connsiteY115" fmla="*/ 699611 h 724316"/>
              <a:gd name="connsiteX116" fmla="*/ 334825 w 814724"/>
              <a:gd name="connsiteY116" fmla="*/ 696983 h 724316"/>
              <a:gd name="connsiteX117" fmla="*/ 349543 w 814724"/>
              <a:gd name="connsiteY117" fmla="*/ 693830 h 724316"/>
              <a:gd name="connsiteX118" fmla="*/ 364786 w 814724"/>
              <a:gd name="connsiteY118" fmla="*/ 687522 h 724316"/>
              <a:gd name="connsiteX119" fmla="*/ 380030 w 814724"/>
              <a:gd name="connsiteY119" fmla="*/ 679112 h 724316"/>
              <a:gd name="connsiteX120" fmla="*/ 395798 w 814724"/>
              <a:gd name="connsiteY120" fmla="*/ 669125 h 724316"/>
              <a:gd name="connsiteX121" fmla="*/ 397375 w 814724"/>
              <a:gd name="connsiteY121" fmla="*/ 668074 h 724316"/>
              <a:gd name="connsiteX122" fmla="*/ 401055 w 814724"/>
              <a:gd name="connsiteY122" fmla="*/ 665971 h 724316"/>
              <a:gd name="connsiteX123" fmla="*/ 406837 w 814724"/>
              <a:gd name="connsiteY123" fmla="*/ 661240 h 724316"/>
              <a:gd name="connsiteX124" fmla="*/ 415247 w 814724"/>
              <a:gd name="connsiteY124" fmla="*/ 656510 h 724316"/>
              <a:gd name="connsiteX125" fmla="*/ 425759 w 814724"/>
              <a:gd name="connsiteY125" fmla="*/ 651253 h 724316"/>
              <a:gd name="connsiteX126" fmla="*/ 437323 w 814724"/>
              <a:gd name="connsiteY126" fmla="*/ 645997 h 724316"/>
              <a:gd name="connsiteX127" fmla="*/ 450989 w 814724"/>
              <a:gd name="connsiteY127" fmla="*/ 641266 h 724316"/>
              <a:gd name="connsiteX128" fmla="*/ 466233 w 814724"/>
              <a:gd name="connsiteY128" fmla="*/ 637061 h 724316"/>
              <a:gd name="connsiteX129" fmla="*/ 483053 w 814724"/>
              <a:gd name="connsiteY129" fmla="*/ 633382 h 724316"/>
              <a:gd name="connsiteX130" fmla="*/ 500924 w 814724"/>
              <a:gd name="connsiteY130" fmla="*/ 577666 h 724316"/>
              <a:gd name="connsiteX131" fmla="*/ 520372 w 814724"/>
              <a:gd name="connsiteY131" fmla="*/ 577666 h 724316"/>
              <a:gd name="connsiteX132" fmla="*/ 540346 w 814724"/>
              <a:gd name="connsiteY132" fmla="*/ 579243 h 724316"/>
              <a:gd name="connsiteX133" fmla="*/ 562423 w 814724"/>
              <a:gd name="connsiteY133" fmla="*/ 584499 h 724316"/>
              <a:gd name="connsiteX134" fmla="*/ 584499 w 814724"/>
              <a:gd name="connsiteY134" fmla="*/ 591858 h 724316"/>
              <a:gd name="connsiteX135" fmla="*/ 607627 w 814724"/>
              <a:gd name="connsiteY135" fmla="*/ 602896 h 724316"/>
              <a:gd name="connsiteX136" fmla="*/ 631280 w 814724"/>
              <a:gd name="connsiteY136" fmla="*/ 617614 h 724316"/>
              <a:gd name="connsiteX137" fmla="*/ 632857 w 814724"/>
              <a:gd name="connsiteY137" fmla="*/ 618139 h 724316"/>
              <a:gd name="connsiteX138" fmla="*/ 635485 w 814724"/>
              <a:gd name="connsiteY138" fmla="*/ 620242 h 724316"/>
              <a:gd name="connsiteX139" fmla="*/ 639690 w 814724"/>
              <a:gd name="connsiteY139" fmla="*/ 622344 h 724316"/>
              <a:gd name="connsiteX140" fmla="*/ 645472 w 814724"/>
              <a:gd name="connsiteY140" fmla="*/ 626024 h 724316"/>
              <a:gd name="connsiteX141" fmla="*/ 652831 w 814724"/>
              <a:gd name="connsiteY141" fmla="*/ 629178 h 724316"/>
              <a:gd name="connsiteX142" fmla="*/ 661766 w 814724"/>
              <a:gd name="connsiteY142" fmla="*/ 632857 h 724316"/>
              <a:gd name="connsiteX143" fmla="*/ 670702 w 814724"/>
              <a:gd name="connsiteY143" fmla="*/ 635485 h 724316"/>
              <a:gd name="connsiteX144" fmla="*/ 681215 w 814724"/>
              <a:gd name="connsiteY144" fmla="*/ 637588 h 724316"/>
              <a:gd name="connsiteX145" fmla="*/ 692779 w 814724"/>
              <a:gd name="connsiteY145" fmla="*/ 639690 h 724316"/>
              <a:gd name="connsiteX146" fmla="*/ 705394 w 814724"/>
              <a:gd name="connsiteY146" fmla="*/ 640216 h 724316"/>
              <a:gd name="connsiteX147" fmla="*/ 718009 w 814724"/>
              <a:gd name="connsiteY147" fmla="*/ 639690 h 724316"/>
              <a:gd name="connsiteX148" fmla="*/ 732726 w 814724"/>
              <a:gd name="connsiteY148" fmla="*/ 637588 h 724316"/>
              <a:gd name="connsiteX149" fmla="*/ 746918 w 814724"/>
              <a:gd name="connsiteY149" fmla="*/ 633383 h 724316"/>
              <a:gd name="connsiteX150" fmla="*/ 762162 w 814724"/>
              <a:gd name="connsiteY150" fmla="*/ 627601 h 724316"/>
              <a:gd name="connsiteX151" fmla="*/ 778456 w 814724"/>
              <a:gd name="connsiteY151" fmla="*/ 620242 h 724316"/>
              <a:gd name="connsiteX152" fmla="*/ 794225 w 814724"/>
              <a:gd name="connsiteY152" fmla="*/ 609204 h 724316"/>
              <a:gd name="connsiteX153" fmla="*/ 807891 w 814724"/>
              <a:gd name="connsiteY153" fmla="*/ 627601 h 724316"/>
              <a:gd name="connsiteX154" fmla="*/ 789494 w 814724"/>
              <a:gd name="connsiteY154" fmla="*/ 640216 h 724316"/>
              <a:gd name="connsiteX155" fmla="*/ 770572 w 814724"/>
              <a:gd name="connsiteY155" fmla="*/ 649677 h 724316"/>
              <a:gd name="connsiteX156" fmla="*/ 752700 w 814724"/>
              <a:gd name="connsiteY156" fmla="*/ 656510 h 724316"/>
              <a:gd name="connsiteX157" fmla="*/ 735880 w 814724"/>
              <a:gd name="connsiteY157" fmla="*/ 660715 h 724316"/>
              <a:gd name="connsiteX158" fmla="*/ 720111 w 814724"/>
              <a:gd name="connsiteY158" fmla="*/ 663343 h 724316"/>
              <a:gd name="connsiteX159" fmla="*/ 704868 w 814724"/>
              <a:gd name="connsiteY159" fmla="*/ 663869 h 724316"/>
              <a:gd name="connsiteX160" fmla="*/ 689625 w 814724"/>
              <a:gd name="connsiteY160" fmla="*/ 663343 h 724316"/>
              <a:gd name="connsiteX161" fmla="*/ 675958 w 814724"/>
              <a:gd name="connsiteY161" fmla="*/ 660715 h 724316"/>
              <a:gd name="connsiteX162" fmla="*/ 663869 w 814724"/>
              <a:gd name="connsiteY162" fmla="*/ 658087 h 724316"/>
              <a:gd name="connsiteX163" fmla="*/ 652831 w 814724"/>
              <a:gd name="connsiteY163" fmla="*/ 653882 h 724316"/>
              <a:gd name="connsiteX164" fmla="*/ 642844 w 814724"/>
              <a:gd name="connsiteY164" fmla="*/ 650728 h 724316"/>
              <a:gd name="connsiteX165" fmla="*/ 634434 w 814724"/>
              <a:gd name="connsiteY165" fmla="*/ 645998 h 724316"/>
              <a:gd name="connsiteX166" fmla="*/ 627601 w 814724"/>
              <a:gd name="connsiteY166" fmla="*/ 642844 h 724316"/>
              <a:gd name="connsiteX167" fmla="*/ 622870 w 814724"/>
              <a:gd name="connsiteY167" fmla="*/ 639690 h 724316"/>
              <a:gd name="connsiteX168" fmla="*/ 619191 w 814724"/>
              <a:gd name="connsiteY168" fmla="*/ 637062 h 724316"/>
              <a:gd name="connsiteX169" fmla="*/ 617614 w 814724"/>
              <a:gd name="connsiteY169" fmla="*/ 636011 h 724316"/>
              <a:gd name="connsiteX170" fmla="*/ 597114 w 814724"/>
              <a:gd name="connsiteY170" fmla="*/ 623396 h 724316"/>
              <a:gd name="connsiteX171" fmla="*/ 577140 w 814724"/>
              <a:gd name="connsiteY171" fmla="*/ 613934 h 724316"/>
              <a:gd name="connsiteX172" fmla="*/ 557692 w 814724"/>
              <a:gd name="connsiteY172" fmla="*/ 607101 h 724316"/>
              <a:gd name="connsiteX173" fmla="*/ 538769 w 814724"/>
              <a:gd name="connsiteY173" fmla="*/ 602896 h 724316"/>
              <a:gd name="connsiteX174" fmla="*/ 520898 w 814724"/>
              <a:gd name="connsiteY174" fmla="*/ 600794 h 724316"/>
              <a:gd name="connsiteX175" fmla="*/ 504078 w 814724"/>
              <a:gd name="connsiteY175" fmla="*/ 600794 h 724316"/>
              <a:gd name="connsiteX176" fmla="*/ 488309 w 814724"/>
              <a:gd name="connsiteY176" fmla="*/ 602371 h 724316"/>
              <a:gd name="connsiteX177" fmla="*/ 473592 w 814724"/>
              <a:gd name="connsiteY177" fmla="*/ 604999 h 724316"/>
              <a:gd name="connsiteX178" fmla="*/ 460451 w 814724"/>
              <a:gd name="connsiteY178" fmla="*/ 608152 h 724316"/>
              <a:gd name="connsiteX179" fmla="*/ 448361 w 814724"/>
              <a:gd name="connsiteY179" fmla="*/ 612357 h 724316"/>
              <a:gd name="connsiteX180" fmla="*/ 437323 w 814724"/>
              <a:gd name="connsiteY180" fmla="*/ 616562 h 724316"/>
              <a:gd name="connsiteX181" fmla="*/ 428913 w 814724"/>
              <a:gd name="connsiteY181" fmla="*/ 620767 h 724316"/>
              <a:gd name="connsiteX182" fmla="*/ 421554 w 814724"/>
              <a:gd name="connsiteY182" fmla="*/ 624973 h 724316"/>
              <a:gd name="connsiteX183" fmla="*/ 416298 w 814724"/>
              <a:gd name="connsiteY183" fmla="*/ 628652 h 724316"/>
              <a:gd name="connsiteX184" fmla="*/ 412093 w 814724"/>
              <a:gd name="connsiteY184" fmla="*/ 631280 h 724316"/>
              <a:gd name="connsiteX185" fmla="*/ 410516 w 814724"/>
              <a:gd name="connsiteY185" fmla="*/ 632857 h 724316"/>
              <a:gd name="connsiteX186" fmla="*/ 391593 w 814724"/>
              <a:gd name="connsiteY186" fmla="*/ 645472 h 724316"/>
              <a:gd name="connsiteX187" fmla="*/ 373196 w 814724"/>
              <a:gd name="connsiteY187" fmla="*/ 654933 h 724316"/>
              <a:gd name="connsiteX188" fmla="*/ 355325 w 814724"/>
              <a:gd name="connsiteY188" fmla="*/ 661241 h 724316"/>
              <a:gd name="connsiteX189" fmla="*/ 338505 w 814724"/>
              <a:gd name="connsiteY189" fmla="*/ 665971 h 724316"/>
              <a:gd name="connsiteX190" fmla="*/ 322210 w 814724"/>
              <a:gd name="connsiteY190" fmla="*/ 668074 h 724316"/>
              <a:gd name="connsiteX191" fmla="*/ 306967 w 814724"/>
              <a:gd name="connsiteY191" fmla="*/ 669125 h 724316"/>
              <a:gd name="connsiteX192" fmla="*/ 291724 w 814724"/>
              <a:gd name="connsiteY192" fmla="*/ 668074 h 724316"/>
              <a:gd name="connsiteX193" fmla="*/ 278583 w 814724"/>
              <a:gd name="connsiteY193" fmla="*/ 665971 h 724316"/>
              <a:gd name="connsiteX194" fmla="*/ 266493 w 814724"/>
              <a:gd name="connsiteY194" fmla="*/ 663343 h 724316"/>
              <a:gd name="connsiteX195" fmla="*/ 255455 w 814724"/>
              <a:gd name="connsiteY195" fmla="*/ 659138 h 724316"/>
              <a:gd name="connsiteX196" fmla="*/ 245468 w 814724"/>
              <a:gd name="connsiteY196" fmla="*/ 655459 h 724316"/>
              <a:gd name="connsiteX197" fmla="*/ 237058 w 814724"/>
              <a:gd name="connsiteY197" fmla="*/ 651254 h 724316"/>
              <a:gd name="connsiteX198" fmla="*/ 230225 w 814724"/>
              <a:gd name="connsiteY198" fmla="*/ 648100 h 724316"/>
              <a:gd name="connsiteX199" fmla="*/ 224969 w 814724"/>
              <a:gd name="connsiteY199" fmla="*/ 644421 h 724316"/>
              <a:gd name="connsiteX200" fmla="*/ 221815 w 814724"/>
              <a:gd name="connsiteY200" fmla="*/ 641793 h 724316"/>
              <a:gd name="connsiteX201" fmla="*/ 220238 w 814724"/>
              <a:gd name="connsiteY201" fmla="*/ 641267 h 724316"/>
              <a:gd name="connsiteX202" fmla="*/ 199739 w 814724"/>
              <a:gd name="connsiteY202" fmla="*/ 628652 h 724316"/>
              <a:gd name="connsiteX203" fmla="*/ 179239 w 814724"/>
              <a:gd name="connsiteY203" fmla="*/ 618139 h 724316"/>
              <a:gd name="connsiteX204" fmla="*/ 159791 w 814724"/>
              <a:gd name="connsiteY204" fmla="*/ 611306 h 724316"/>
              <a:gd name="connsiteX205" fmla="*/ 141394 w 814724"/>
              <a:gd name="connsiteY205" fmla="*/ 607101 h 724316"/>
              <a:gd name="connsiteX206" fmla="*/ 124574 w 814724"/>
              <a:gd name="connsiteY206" fmla="*/ 604999 h 724316"/>
              <a:gd name="connsiteX207" fmla="*/ 107754 w 814724"/>
              <a:gd name="connsiteY207" fmla="*/ 604999 h 724316"/>
              <a:gd name="connsiteX208" fmla="*/ 91459 w 814724"/>
              <a:gd name="connsiteY208" fmla="*/ 605524 h 724316"/>
              <a:gd name="connsiteX209" fmla="*/ 77267 w 814724"/>
              <a:gd name="connsiteY209" fmla="*/ 608152 h 724316"/>
              <a:gd name="connsiteX210" fmla="*/ 64652 w 814724"/>
              <a:gd name="connsiteY210" fmla="*/ 612357 h 724316"/>
              <a:gd name="connsiteX211" fmla="*/ 52563 w 814724"/>
              <a:gd name="connsiteY211" fmla="*/ 616562 h 724316"/>
              <a:gd name="connsiteX212" fmla="*/ 41524 w 814724"/>
              <a:gd name="connsiteY212" fmla="*/ 620767 h 724316"/>
              <a:gd name="connsiteX213" fmla="*/ 33114 w 814724"/>
              <a:gd name="connsiteY213" fmla="*/ 624973 h 724316"/>
              <a:gd name="connsiteX214" fmla="*/ 25230 w 814724"/>
              <a:gd name="connsiteY214" fmla="*/ 629178 h 724316"/>
              <a:gd name="connsiteX215" fmla="*/ 20499 w 814724"/>
              <a:gd name="connsiteY215" fmla="*/ 632857 h 724316"/>
              <a:gd name="connsiteX216" fmla="*/ 16294 w 814724"/>
              <a:gd name="connsiteY216" fmla="*/ 635485 h 724316"/>
              <a:gd name="connsiteX217" fmla="*/ 14717 w 814724"/>
              <a:gd name="connsiteY217" fmla="*/ 637062 h 724316"/>
              <a:gd name="connsiteX218" fmla="*/ 0 w 814724"/>
              <a:gd name="connsiteY218" fmla="*/ 618139 h 724316"/>
              <a:gd name="connsiteX219" fmla="*/ 1577 w 814724"/>
              <a:gd name="connsiteY219" fmla="*/ 617614 h 724316"/>
              <a:gd name="connsiteX220" fmla="*/ 5256 w 814724"/>
              <a:gd name="connsiteY220" fmla="*/ 614986 h 724316"/>
              <a:gd name="connsiteX221" fmla="*/ 11038 w 814724"/>
              <a:gd name="connsiteY221" fmla="*/ 610781 h 724316"/>
              <a:gd name="connsiteX222" fmla="*/ 18922 w 814724"/>
              <a:gd name="connsiteY222" fmla="*/ 606576 h 724316"/>
              <a:gd name="connsiteX223" fmla="*/ 28909 w 814724"/>
              <a:gd name="connsiteY223" fmla="*/ 601319 h 724316"/>
              <a:gd name="connsiteX224" fmla="*/ 40473 w 814724"/>
              <a:gd name="connsiteY224" fmla="*/ 596589 h 724316"/>
              <a:gd name="connsiteX225" fmla="*/ 54139 w 814724"/>
              <a:gd name="connsiteY225" fmla="*/ 591332 h 724316"/>
              <a:gd name="connsiteX226" fmla="*/ 69383 w 814724"/>
              <a:gd name="connsiteY226" fmla="*/ 587127 h 724316"/>
              <a:gd name="connsiteX227" fmla="*/ 86203 w 814724"/>
              <a:gd name="connsiteY227" fmla="*/ 583448 h 724316"/>
              <a:gd name="connsiteX228" fmla="*/ 104074 w 814724"/>
              <a:gd name="connsiteY228" fmla="*/ 581871 h 724316"/>
              <a:gd name="connsiteX229" fmla="*/ 123522 w 814724"/>
              <a:gd name="connsiteY229" fmla="*/ 582922 h 724316"/>
              <a:gd name="connsiteX230" fmla="*/ 144022 w 814724"/>
              <a:gd name="connsiteY230" fmla="*/ 584499 h 724316"/>
              <a:gd name="connsiteX231" fmla="*/ 165047 w 814724"/>
              <a:gd name="connsiteY231" fmla="*/ 589756 h 724316"/>
              <a:gd name="connsiteX232" fmla="*/ 187124 w 814724"/>
              <a:gd name="connsiteY232" fmla="*/ 597114 h 724316"/>
              <a:gd name="connsiteX233" fmla="*/ 209726 w 814724"/>
              <a:gd name="connsiteY233" fmla="*/ 608152 h 724316"/>
              <a:gd name="connsiteX234" fmla="*/ 233379 w 814724"/>
              <a:gd name="connsiteY234" fmla="*/ 622344 h 724316"/>
              <a:gd name="connsiteX235" fmla="*/ 235481 w 814724"/>
              <a:gd name="connsiteY235" fmla="*/ 623396 h 724316"/>
              <a:gd name="connsiteX236" fmla="*/ 237584 w 814724"/>
              <a:gd name="connsiteY236" fmla="*/ 624973 h 724316"/>
              <a:gd name="connsiteX237" fmla="*/ 241789 w 814724"/>
              <a:gd name="connsiteY237" fmla="*/ 627601 h 724316"/>
              <a:gd name="connsiteX238" fmla="*/ 248096 w 814724"/>
              <a:gd name="connsiteY238" fmla="*/ 631280 h 724316"/>
              <a:gd name="connsiteX239" fmla="*/ 255455 w 814724"/>
              <a:gd name="connsiteY239" fmla="*/ 634434 h 724316"/>
              <a:gd name="connsiteX240" fmla="*/ 263865 w 814724"/>
              <a:gd name="connsiteY240" fmla="*/ 637062 h 724316"/>
              <a:gd name="connsiteX241" fmla="*/ 273327 w 814724"/>
              <a:gd name="connsiteY241" fmla="*/ 640216 h 724316"/>
              <a:gd name="connsiteX242" fmla="*/ 283314 w 814724"/>
              <a:gd name="connsiteY242" fmla="*/ 642844 h 724316"/>
              <a:gd name="connsiteX243" fmla="*/ 295403 w 814724"/>
              <a:gd name="connsiteY243" fmla="*/ 644421 h 724316"/>
              <a:gd name="connsiteX244" fmla="*/ 306967 w 814724"/>
              <a:gd name="connsiteY244" fmla="*/ 645472 h 724316"/>
              <a:gd name="connsiteX245" fmla="*/ 320633 w 814724"/>
              <a:gd name="connsiteY245" fmla="*/ 644421 h 724316"/>
              <a:gd name="connsiteX246" fmla="*/ 334825 w 814724"/>
              <a:gd name="connsiteY246" fmla="*/ 641793 h 724316"/>
              <a:gd name="connsiteX247" fmla="*/ 349543 w 814724"/>
              <a:gd name="connsiteY247" fmla="*/ 638639 h 724316"/>
              <a:gd name="connsiteX248" fmla="*/ 364786 w 814724"/>
              <a:gd name="connsiteY248" fmla="*/ 632857 h 724316"/>
              <a:gd name="connsiteX249" fmla="*/ 380030 w 814724"/>
              <a:gd name="connsiteY249" fmla="*/ 624447 h 724316"/>
              <a:gd name="connsiteX250" fmla="*/ 395798 w 814724"/>
              <a:gd name="connsiteY250" fmla="*/ 613934 h 724316"/>
              <a:gd name="connsiteX251" fmla="*/ 397375 w 814724"/>
              <a:gd name="connsiteY251" fmla="*/ 613409 h 724316"/>
              <a:gd name="connsiteX252" fmla="*/ 401055 w 814724"/>
              <a:gd name="connsiteY252" fmla="*/ 610781 h 724316"/>
              <a:gd name="connsiteX253" fmla="*/ 406837 w 814724"/>
              <a:gd name="connsiteY253" fmla="*/ 606576 h 724316"/>
              <a:gd name="connsiteX254" fmla="*/ 415247 w 814724"/>
              <a:gd name="connsiteY254" fmla="*/ 602371 h 724316"/>
              <a:gd name="connsiteX255" fmla="*/ 425759 w 814724"/>
              <a:gd name="connsiteY255" fmla="*/ 597114 h 724316"/>
              <a:gd name="connsiteX256" fmla="*/ 437323 w 814724"/>
              <a:gd name="connsiteY256" fmla="*/ 591332 h 724316"/>
              <a:gd name="connsiteX257" fmla="*/ 450989 w 814724"/>
              <a:gd name="connsiteY257" fmla="*/ 587127 h 724316"/>
              <a:gd name="connsiteX258" fmla="*/ 466233 w 814724"/>
              <a:gd name="connsiteY258" fmla="*/ 582922 h 724316"/>
              <a:gd name="connsiteX259" fmla="*/ 483053 w 814724"/>
              <a:gd name="connsiteY259" fmla="*/ 579243 h 724316"/>
              <a:gd name="connsiteX260" fmla="*/ 641267 w 814724"/>
              <a:gd name="connsiteY260" fmla="*/ 474643 h 724316"/>
              <a:gd name="connsiteX261" fmla="*/ 633382 w 814724"/>
              <a:gd name="connsiteY261" fmla="*/ 476220 h 724316"/>
              <a:gd name="connsiteX262" fmla="*/ 627600 w 814724"/>
              <a:gd name="connsiteY262" fmla="*/ 480425 h 724316"/>
              <a:gd name="connsiteX263" fmla="*/ 623395 w 814724"/>
              <a:gd name="connsiteY263" fmla="*/ 486207 h 724316"/>
              <a:gd name="connsiteX264" fmla="*/ 621818 w 814724"/>
              <a:gd name="connsiteY264" fmla="*/ 494091 h 724316"/>
              <a:gd name="connsiteX265" fmla="*/ 623395 w 814724"/>
              <a:gd name="connsiteY265" fmla="*/ 501450 h 724316"/>
              <a:gd name="connsiteX266" fmla="*/ 627600 w 814724"/>
              <a:gd name="connsiteY266" fmla="*/ 507758 h 724316"/>
              <a:gd name="connsiteX267" fmla="*/ 633382 w 814724"/>
              <a:gd name="connsiteY267" fmla="*/ 511963 h 724316"/>
              <a:gd name="connsiteX268" fmla="*/ 641267 w 814724"/>
              <a:gd name="connsiteY268" fmla="*/ 513539 h 724316"/>
              <a:gd name="connsiteX269" fmla="*/ 648625 w 814724"/>
              <a:gd name="connsiteY269" fmla="*/ 511963 h 724316"/>
              <a:gd name="connsiteX270" fmla="*/ 654933 w 814724"/>
              <a:gd name="connsiteY270" fmla="*/ 507758 h 724316"/>
              <a:gd name="connsiteX271" fmla="*/ 659138 w 814724"/>
              <a:gd name="connsiteY271" fmla="*/ 501450 h 724316"/>
              <a:gd name="connsiteX272" fmla="*/ 660715 w 814724"/>
              <a:gd name="connsiteY272" fmla="*/ 494091 h 724316"/>
              <a:gd name="connsiteX273" fmla="*/ 659138 w 814724"/>
              <a:gd name="connsiteY273" fmla="*/ 486207 h 724316"/>
              <a:gd name="connsiteX274" fmla="*/ 654933 w 814724"/>
              <a:gd name="connsiteY274" fmla="*/ 480425 h 724316"/>
              <a:gd name="connsiteX275" fmla="*/ 648625 w 814724"/>
              <a:gd name="connsiteY275" fmla="*/ 476220 h 724316"/>
              <a:gd name="connsiteX276" fmla="*/ 76216 w 814724"/>
              <a:gd name="connsiteY276" fmla="*/ 393170 h 724316"/>
              <a:gd name="connsiteX277" fmla="*/ 107754 w 814724"/>
              <a:gd name="connsiteY277" fmla="*/ 393170 h 724316"/>
              <a:gd name="connsiteX278" fmla="*/ 107754 w 814724"/>
              <a:gd name="connsiteY278" fmla="*/ 424708 h 724316"/>
              <a:gd name="connsiteX279" fmla="*/ 76216 w 814724"/>
              <a:gd name="connsiteY279" fmla="*/ 424708 h 724316"/>
              <a:gd name="connsiteX280" fmla="*/ 35743 w 814724"/>
              <a:gd name="connsiteY280" fmla="*/ 305390 h 724316"/>
              <a:gd name="connsiteX281" fmla="*/ 138766 w 814724"/>
              <a:gd name="connsiteY281" fmla="*/ 305390 h 724316"/>
              <a:gd name="connsiteX282" fmla="*/ 150855 w 814724"/>
              <a:gd name="connsiteY282" fmla="*/ 305390 h 724316"/>
              <a:gd name="connsiteX283" fmla="*/ 152958 w 814724"/>
              <a:gd name="connsiteY283" fmla="*/ 316954 h 724316"/>
              <a:gd name="connsiteX284" fmla="*/ 185552 w 814724"/>
              <a:gd name="connsiteY284" fmla="*/ 480425 h 724316"/>
              <a:gd name="connsiteX285" fmla="*/ 550859 w 814724"/>
              <a:gd name="connsiteY285" fmla="*/ 480425 h 724316"/>
              <a:gd name="connsiteX286" fmla="*/ 576089 w 814724"/>
              <a:gd name="connsiteY286" fmla="*/ 420503 h 724316"/>
              <a:gd name="connsiteX287" fmla="*/ 749546 w 814724"/>
              <a:gd name="connsiteY287" fmla="*/ 420503 h 724316"/>
              <a:gd name="connsiteX288" fmla="*/ 695229 w 814724"/>
              <a:gd name="connsiteY288" fmla="*/ 582075 h 724316"/>
              <a:gd name="connsiteX289" fmla="*/ 705394 w 814724"/>
              <a:gd name="connsiteY289" fmla="*/ 582922 h 724316"/>
              <a:gd name="connsiteX290" fmla="*/ 718009 w 814724"/>
              <a:gd name="connsiteY290" fmla="*/ 581871 h 724316"/>
              <a:gd name="connsiteX291" fmla="*/ 732726 w 814724"/>
              <a:gd name="connsiteY291" fmla="*/ 579242 h 724316"/>
              <a:gd name="connsiteX292" fmla="*/ 746918 w 814724"/>
              <a:gd name="connsiteY292" fmla="*/ 576089 h 724316"/>
              <a:gd name="connsiteX293" fmla="*/ 762162 w 814724"/>
              <a:gd name="connsiteY293" fmla="*/ 570307 h 724316"/>
              <a:gd name="connsiteX294" fmla="*/ 778456 w 814724"/>
              <a:gd name="connsiteY294" fmla="*/ 561897 h 724316"/>
              <a:gd name="connsiteX295" fmla="*/ 794225 w 814724"/>
              <a:gd name="connsiteY295" fmla="*/ 551384 h 724316"/>
              <a:gd name="connsiteX296" fmla="*/ 807891 w 814724"/>
              <a:gd name="connsiteY296" fmla="*/ 569256 h 724316"/>
              <a:gd name="connsiteX297" fmla="*/ 789494 w 814724"/>
              <a:gd name="connsiteY297" fmla="*/ 581871 h 724316"/>
              <a:gd name="connsiteX298" fmla="*/ 770572 w 814724"/>
              <a:gd name="connsiteY298" fmla="*/ 591332 h 724316"/>
              <a:gd name="connsiteX299" fmla="*/ 752700 w 814724"/>
              <a:gd name="connsiteY299" fmla="*/ 598165 h 724316"/>
              <a:gd name="connsiteX300" fmla="*/ 735880 w 814724"/>
              <a:gd name="connsiteY300" fmla="*/ 602370 h 724316"/>
              <a:gd name="connsiteX301" fmla="*/ 720111 w 814724"/>
              <a:gd name="connsiteY301" fmla="*/ 604998 h 724316"/>
              <a:gd name="connsiteX302" fmla="*/ 704868 w 814724"/>
              <a:gd name="connsiteY302" fmla="*/ 605524 h 724316"/>
              <a:gd name="connsiteX303" fmla="*/ 689625 w 814724"/>
              <a:gd name="connsiteY303" fmla="*/ 604998 h 724316"/>
              <a:gd name="connsiteX304" fmla="*/ 687626 w 814724"/>
              <a:gd name="connsiteY304" fmla="*/ 604691 h 724316"/>
              <a:gd name="connsiteX305" fmla="*/ 687522 w 814724"/>
              <a:gd name="connsiteY305" fmla="*/ 604999 h 724316"/>
              <a:gd name="connsiteX306" fmla="*/ 675958 w 814724"/>
              <a:gd name="connsiteY306" fmla="*/ 602896 h 724316"/>
              <a:gd name="connsiteX307" fmla="*/ 675938 w 814724"/>
              <a:gd name="connsiteY307" fmla="*/ 602890 h 724316"/>
              <a:gd name="connsiteX308" fmla="*/ 663869 w 814724"/>
              <a:gd name="connsiteY308" fmla="*/ 599742 h 724316"/>
              <a:gd name="connsiteX309" fmla="*/ 652831 w 814724"/>
              <a:gd name="connsiteY309" fmla="*/ 596588 h 724316"/>
              <a:gd name="connsiteX310" fmla="*/ 642844 w 814724"/>
              <a:gd name="connsiteY310" fmla="*/ 592909 h 724316"/>
              <a:gd name="connsiteX311" fmla="*/ 634434 w 814724"/>
              <a:gd name="connsiteY311" fmla="*/ 588704 h 724316"/>
              <a:gd name="connsiteX312" fmla="*/ 627601 w 814724"/>
              <a:gd name="connsiteY312" fmla="*/ 585550 h 724316"/>
              <a:gd name="connsiteX313" fmla="*/ 622870 w 814724"/>
              <a:gd name="connsiteY313" fmla="*/ 581871 h 724316"/>
              <a:gd name="connsiteX314" fmla="*/ 619191 w 814724"/>
              <a:gd name="connsiteY314" fmla="*/ 579242 h 724316"/>
              <a:gd name="connsiteX315" fmla="*/ 617614 w 814724"/>
              <a:gd name="connsiteY315" fmla="*/ 578717 h 724316"/>
              <a:gd name="connsiteX316" fmla="*/ 597114 w 814724"/>
              <a:gd name="connsiteY316" fmla="*/ 566102 h 724316"/>
              <a:gd name="connsiteX317" fmla="*/ 577140 w 814724"/>
              <a:gd name="connsiteY317" fmla="*/ 556640 h 724316"/>
              <a:gd name="connsiteX318" fmla="*/ 564993 w 814724"/>
              <a:gd name="connsiteY318" fmla="*/ 551716 h 724316"/>
              <a:gd name="connsiteX319" fmla="*/ 562423 w 814724"/>
              <a:gd name="connsiteY319" fmla="*/ 550859 h 724316"/>
              <a:gd name="connsiteX320" fmla="*/ 540346 w 814724"/>
              <a:gd name="connsiteY320" fmla="*/ 545603 h 724316"/>
              <a:gd name="connsiteX321" fmla="*/ 520372 w 814724"/>
              <a:gd name="connsiteY321" fmla="*/ 544026 h 724316"/>
              <a:gd name="connsiteX322" fmla="*/ 500924 w 814724"/>
              <a:gd name="connsiteY322" fmla="*/ 544026 h 724316"/>
              <a:gd name="connsiteX323" fmla="*/ 483052 w 814724"/>
              <a:gd name="connsiteY323" fmla="*/ 545603 h 724316"/>
              <a:gd name="connsiteX324" fmla="*/ 468134 w 814724"/>
              <a:gd name="connsiteY324" fmla="*/ 548400 h 724316"/>
              <a:gd name="connsiteX325" fmla="*/ 460451 w 814724"/>
              <a:gd name="connsiteY325" fmla="*/ 550859 h 724316"/>
              <a:gd name="connsiteX326" fmla="*/ 448361 w 814724"/>
              <a:gd name="connsiteY326" fmla="*/ 555064 h 724316"/>
              <a:gd name="connsiteX327" fmla="*/ 437323 w 814724"/>
              <a:gd name="connsiteY327" fmla="*/ 559269 h 724316"/>
              <a:gd name="connsiteX328" fmla="*/ 428913 w 814724"/>
              <a:gd name="connsiteY328" fmla="*/ 563474 h 724316"/>
              <a:gd name="connsiteX329" fmla="*/ 421554 w 814724"/>
              <a:gd name="connsiteY329" fmla="*/ 567679 h 724316"/>
              <a:gd name="connsiteX330" fmla="*/ 416298 w 814724"/>
              <a:gd name="connsiteY330" fmla="*/ 570832 h 724316"/>
              <a:gd name="connsiteX331" fmla="*/ 412093 w 814724"/>
              <a:gd name="connsiteY331" fmla="*/ 573461 h 724316"/>
              <a:gd name="connsiteX332" fmla="*/ 410516 w 814724"/>
              <a:gd name="connsiteY332" fmla="*/ 575037 h 724316"/>
              <a:gd name="connsiteX333" fmla="*/ 391593 w 814724"/>
              <a:gd name="connsiteY333" fmla="*/ 587127 h 724316"/>
              <a:gd name="connsiteX334" fmla="*/ 373196 w 814724"/>
              <a:gd name="connsiteY334" fmla="*/ 596588 h 724316"/>
              <a:gd name="connsiteX335" fmla="*/ 355325 w 814724"/>
              <a:gd name="connsiteY335" fmla="*/ 602896 h 724316"/>
              <a:gd name="connsiteX336" fmla="*/ 352465 w 814724"/>
              <a:gd name="connsiteY336" fmla="*/ 603789 h 724316"/>
              <a:gd name="connsiteX337" fmla="*/ 349542 w 814724"/>
              <a:gd name="connsiteY337" fmla="*/ 604999 h 724316"/>
              <a:gd name="connsiteX338" fmla="*/ 346529 w 814724"/>
              <a:gd name="connsiteY338" fmla="*/ 605644 h 724316"/>
              <a:gd name="connsiteX339" fmla="*/ 338505 w 814724"/>
              <a:gd name="connsiteY339" fmla="*/ 608152 h 724316"/>
              <a:gd name="connsiteX340" fmla="*/ 330802 w 814724"/>
              <a:gd name="connsiteY340" fmla="*/ 608897 h 724316"/>
              <a:gd name="connsiteX341" fmla="*/ 320633 w 814724"/>
              <a:gd name="connsiteY341" fmla="*/ 610781 h 724316"/>
              <a:gd name="connsiteX342" fmla="*/ 306967 w 814724"/>
              <a:gd name="connsiteY342" fmla="*/ 611306 h 724316"/>
              <a:gd name="connsiteX343" fmla="*/ 295403 w 814724"/>
              <a:gd name="connsiteY343" fmla="*/ 610781 h 724316"/>
              <a:gd name="connsiteX344" fmla="*/ 283313 w 814724"/>
              <a:gd name="connsiteY344" fmla="*/ 609204 h 724316"/>
              <a:gd name="connsiteX345" fmla="*/ 273326 w 814724"/>
              <a:gd name="connsiteY345" fmla="*/ 606576 h 724316"/>
              <a:gd name="connsiteX346" fmla="*/ 271516 w 814724"/>
              <a:gd name="connsiteY346" fmla="*/ 605872 h 724316"/>
              <a:gd name="connsiteX347" fmla="*/ 266493 w 814724"/>
              <a:gd name="connsiteY347" fmla="*/ 604998 h 724316"/>
              <a:gd name="connsiteX348" fmla="*/ 255459 w 814724"/>
              <a:gd name="connsiteY348" fmla="*/ 600795 h 724316"/>
              <a:gd name="connsiteX349" fmla="*/ 255455 w 814724"/>
              <a:gd name="connsiteY349" fmla="*/ 600794 h 724316"/>
              <a:gd name="connsiteX350" fmla="*/ 255451 w 814724"/>
              <a:gd name="connsiteY350" fmla="*/ 600792 h 724316"/>
              <a:gd name="connsiteX351" fmla="*/ 245468 w 814724"/>
              <a:gd name="connsiteY351" fmla="*/ 597114 h 724316"/>
              <a:gd name="connsiteX352" fmla="*/ 237058 w 814724"/>
              <a:gd name="connsiteY352" fmla="*/ 592909 h 724316"/>
              <a:gd name="connsiteX353" fmla="*/ 230225 w 814724"/>
              <a:gd name="connsiteY353" fmla="*/ 589755 h 724316"/>
              <a:gd name="connsiteX354" fmla="*/ 224969 w 814724"/>
              <a:gd name="connsiteY354" fmla="*/ 586076 h 724316"/>
              <a:gd name="connsiteX355" fmla="*/ 221815 w 814724"/>
              <a:gd name="connsiteY355" fmla="*/ 583447 h 724316"/>
              <a:gd name="connsiteX356" fmla="*/ 220238 w 814724"/>
              <a:gd name="connsiteY356" fmla="*/ 582922 h 724316"/>
              <a:gd name="connsiteX357" fmla="*/ 199739 w 814724"/>
              <a:gd name="connsiteY357" fmla="*/ 570307 h 724316"/>
              <a:gd name="connsiteX358" fmla="*/ 179239 w 814724"/>
              <a:gd name="connsiteY358" fmla="*/ 560845 h 724316"/>
              <a:gd name="connsiteX359" fmla="*/ 164348 w 814724"/>
              <a:gd name="connsiteY359" fmla="*/ 555613 h 724316"/>
              <a:gd name="connsiteX360" fmla="*/ 152432 w 814724"/>
              <a:gd name="connsiteY360" fmla="*/ 552436 h 724316"/>
              <a:gd name="connsiteX361" fmla="*/ 138240 w 814724"/>
              <a:gd name="connsiteY361" fmla="*/ 549808 h 724316"/>
              <a:gd name="connsiteX362" fmla="*/ 123522 w 814724"/>
              <a:gd name="connsiteY362" fmla="*/ 548231 h 724316"/>
              <a:gd name="connsiteX363" fmla="*/ 109330 w 814724"/>
              <a:gd name="connsiteY363" fmla="*/ 548231 h 724316"/>
              <a:gd name="connsiteX364" fmla="*/ 95664 w 814724"/>
              <a:gd name="connsiteY364" fmla="*/ 548757 h 724316"/>
              <a:gd name="connsiteX365" fmla="*/ 83049 w 814724"/>
              <a:gd name="connsiteY365" fmla="*/ 550859 h 724316"/>
              <a:gd name="connsiteX366" fmla="*/ 73187 w 814724"/>
              <a:gd name="connsiteY366" fmla="*/ 552574 h 724316"/>
              <a:gd name="connsiteX367" fmla="*/ 64652 w 814724"/>
              <a:gd name="connsiteY367" fmla="*/ 555064 h 724316"/>
              <a:gd name="connsiteX368" fmla="*/ 52563 w 814724"/>
              <a:gd name="connsiteY368" fmla="*/ 559269 h 724316"/>
              <a:gd name="connsiteX369" fmla="*/ 41524 w 814724"/>
              <a:gd name="connsiteY369" fmla="*/ 563474 h 724316"/>
              <a:gd name="connsiteX370" fmla="*/ 33114 w 814724"/>
              <a:gd name="connsiteY370" fmla="*/ 567679 h 724316"/>
              <a:gd name="connsiteX371" fmla="*/ 25230 w 814724"/>
              <a:gd name="connsiteY371" fmla="*/ 571884 h 724316"/>
              <a:gd name="connsiteX372" fmla="*/ 20499 w 814724"/>
              <a:gd name="connsiteY372" fmla="*/ 575037 h 724316"/>
              <a:gd name="connsiteX373" fmla="*/ 16294 w 814724"/>
              <a:gd name="connsiteY373" fmla="*/ 577666 h 724316"/>
              <a:gd name="connsiteX374" fmla="*/ 14717 w 814724"/>
              <a:gd name="connsiteY374" fmla="*/ 578717 h 724316"/>
              <a:gd name="connsiteX375" fmla="*/ 0 w 814724"/>
              <a:gd name="connsiteY375" fmla="*/ 560845 h 724316"/>
              <a:gd name="connsiteX376" fmla="*/ 1577 w 814724"/>
              <a:gd name="connsiteY376" fmla="*/ 559794 h 724316"/>
              <a:gd name="connsiteX377" fmla="*/ 5256 w 814724"/>
              <a:gd name="connsiteY377" fmla="*/ 557166 h 724316"/>
              <a:gd name="connsiteX378" fmla="*/ 11038 w 814724"/>
              <a:gd name="connsiteY378" fmla="*/ 552961 h 724316"/>
              <a:gd name="connsiteX379" fmla="*/ 18922 w 814724"/>
              <a:gd name="connsiteY379" fmla="*/ 548756 h 724316"/>
              <a:gd name="connsiteX380" fmla="*/ 23653 w 814724"/>
              <a:gd name="connsiteY380" fmla="*/ 546515 h 724316"/>
              <a:gd name="connsiteX381" fmla="*/ 23653 w 814724"/>
              <a:gd name="connsiteY381" fmla="*/ 480425 h 724316"/>
              <a:gd name="connsiteX382" fmla="*/ 155463 w 814724"/>
              <a:gd name="connsiteY382" fmla="*/ 480425 h 724316"/>
              <a:gd name="connsiteX383" fmla="*/ 126151 w 814724"/>
              <a:gd name="connsiteY383" fmla="*/ 334825 h 724316"/>
              <a:gd name="connsiteX384" fmla="*/ 35743 w 814724"/>
              <a:gd name="connsiteY384" fmla="*/ 334825 h 724316"/>
              <a:gd name="connsiteX385" fmla="*/ 392180 w 814724"/>
              <a:gd name="connsiteY385" fmla="*/ 285294 h 724316"/>
              <a:gd name="connsiteX386" fmla="*/ 391068 w 814724"/>
              <a:gd name="connsiteY386" fmla="*/ 285942 h 724316"/>
              <a:gd name="connsiteX387" fmla="*/ 384761 w 814724"/>
              <a:gd name="connsiteY387" fmla="*/ 287519 h 724316"/>
              <a:gd name="connsiteX388" fmla="*/ 381607 w 814724"/>
              <a:gd name="connsiteY388" fmla="*/ 287519 h 724316"/>
              <a:gd name="connsiteX389" fmla="*/ 374774 w 814724"/>
              <a:gd name="connsiteY389" fmla="*/ 286468 h 724316"/>
              <a:gd name="connsiteX390" fmla="*/ 371956 w 814724"/>
              <a:gd name="connsiteY390" fmla="*/ 285818 h 724316"/>
              <a:gd name="connsiteX391" fmla="*/ 327694 w 814724"/>
              <a:gd name="connsiteY391" fmla="*/ 322210 h 724316"/>
              <a:gd name="connsiteX392" fmla="*/ 436413 w 814724"/>
              <a:gd name="connsiteY392" fmla="*/ 322210 h 724316"/>
              <a:gd name="connsiteX393" fmla="*/ 734566 w 814724"/>
              <a:gd name="connsiteY393" fmla="*/ 196725 h 724316"/>
              <a:gd name="connsiteX394" fmla="*/ 690654 w 814724"/>
              <a:gd name="connsiteY394" fmla="*/ 216383 h 724316"/>
              <a:gd name="connsiteX395" fmla="*/ 760099 w 814724"/>
              <a:gd name="connsiteY395" fmla="*/ 251811 h 724316"/>
              <a:gd name="connsiteX396" fmla="*/ 625147 w 814724"/>
              <a:gd name="connsiteY396" fmla="*/ 151317 h 724316"/>
              <a:gd name="connsiteX397" fmla="*/ 578800 w 814724"/>
              <a:gd name="connsiteY397" fmla="*/ 159320 h 724316"/>
              <a:gd name="connsiteX398" fmla="*/ 651775 w 814724"/>
              <a:gd name="connsiteY398" fmla="*/ 196548 h 724316"/>
              <a:gd name="connsiteX399" fmla="*/ 706970 w 814724"/>
              <a:gd name="connsiteY399" fmla="*/ 137189 h 724316"/>
              <a:gd name="connsiteX400" fmla="*/ 637617 w 814724"/>
              <a:gd name="connsiteY400" fmla="*/ 149164 h 724316"/>
              <a:gd name="connsiteX401" fmla="*/ 672069 w 814724"/>
              <a:gd name="connsiteY401" fmla="*/ 206902 h 724316"/>
              <a:gd name="connsiteX402" fmla="*/ 677207 w 814724"/>
              <a:gd name="connsiteY402" fmla="*/ 209522 h 724316"/>
              <a:gd name="connsiteX403" fmla="*/ 729695 w 814724"/>
              <a:gd name="connsiteY403" fmla="*/ 186217 h 724316"/>
              <a:gd name="connsiteX404" fmla="*/ 718402 w 814724"/>
              <a:gd name="connsiteY404" fmla="*/ 133474 h 724316"/>
              <a:gd name="connsiteX405" fmla="*/ 740550 w 814724"/>
              <a:gd name="connsiteY405" fmla="*/ 181397 h 724316"/>
              <a:gd name="connsiteX406" fmla="*/ 795738 w 814724"/>
              <a:gd name="connsiteY406" fmla="*/ 156893 h 724316"/>
              <a:gd name="connsiteX407" fmla="*/ 527424 w 814724"/>
              <a:gd name="connsiteY407" fmla="*/ 108542 h 724316"/>
              <a:gd name="connsiteX408" fmla="*/ 492743 w 814724"/>
              <a:gd name="connsiteY408" fmla="*/ 115417 h 724316"/>
              <a:gd name="connsiteX409" fmla="*/ 549719 w 814724"/>
              <a:gd name="connsiteY409" fmla="*/ 144484 h 724316"/>
              <a:gd name="connsiteX410" fmla="*/ 608374 w 814724"/>
              <a:gd name="connsiteY410" fmla="*/ 100157 h 724316"/>
              <a:gd name="connsiteX411" fmla="*/ 630807 w 814724"/>
              <a:gd name="connsiteY411" fmla="*/ 137751 h 724316"/>
              <a:gd name="connsiteX412" fmla="*/ 695756 w 814724"/>
              <a:gd name="connsiteY412" fmla="*/ 126617 h 724316"/>
              <a:gd name="connsiteX413" fmla="*/ 592384 w 814724"/>
              <a:gd name="connsiteY413" fmla="*/ 95664 h 724316"/>
              <a:gd name="connsiteX414" fmla="*/ 539867 w 814724"/>
              <a:gd name="connsiteY414" fmla="*/ 106075 h 724316"/>
              <a:gd name="connsiteX415" fmla="*/ 566627 w 814724"/>
              <a:gd name="connsiteY415" fmla="*/ 148753 h 724316"/>
              <a:gd name="connsiteX416" fmla="*/ 618412 w 814724"/>
              <a:gd name="connsiteY416" fmla="*/ 139876 h 724316"/>
              <a:gd name="connsiteX417" fmla="*/ 438507 w 814724"/>
              <a:gd name="connsiteY417" fmla="*/ 74146 h 724316"/>
              <a:gd name="connsiteX418" fmla="*/ 418308 w 814724"/>
              <a:gd name="connsiteY418" fmla="*/ 77444 h 724316"/>
              <a:gd name="connsiteX419" fmla="*/ 455576 w 814724"/>
              <a:gd name="connsiteY419" fmla="*/ 96456 h 724316"/>
              <a:gd name="connsiteX420" fmla="*/ 519230 w 814724"/>
              <a:gd name="connsiteY420" fmla="*/ 73163 h 724316"/>
              <a:gd name="connsiteX421" fmla="*/ 533091 w 814724"/>
              <a:gd name="connsiteY421" fmla="*/ 95268 h 724316"/>
              <a:gd name="connsiteX422" fmla="*/ 569594 w 814724"/>
              <a:gd name="connsiteY422" fmla="*/ 88414 h 724316"/>
              <a:gd name="connsiteX423" fmla="*/ 493061 w 814724"/>
              <a:gd name="connsiteY423" fmla="*/ 65239 h 724316"/>
              <a:gd name="connsiteX424" fmla="*/ 451927 w 814724"/>
              <a:gd name="connsiteY424" fmla="*/ 71955 h 724316"/>
              <a:gd name="connsiteX425" fmla="*/ 477797 w 814724"/>
              <a:gd name="connsiteY425" fmla="*/ 105651 h 724316"/>
              <a:gd name="connsiteX426" fmla="*/ 520641 w 814724"/>
              <a:gd name="connsiteY426" fmla="*/ 97606 h 724316"/>
              <a:gd name="connsiteX427" fmla="*/ 502298 w 814724"/>
              <a:gd name="connsiteY427" fmla="*/ 68036 h 724316"/>
              <a:gd name="connsiteX428" fmla="*/ 432749 w 814724"/>
              <a:gd name="connsiteY428" fmla="*/ 46976 h 724316"/>
              <a:gd name="connsiteX429" fmla="*/ 443842 w 814724"/>
              <a:gd name="connsiteY429" fmla="*/ 61425 h 724316"/>
              <a:gd name="connsiteX430" fmla="*/ 467785 w 814724"/>
              <a:gd name="connsiteY430" fmla="*/ 57585 h 724316"/>
              <a:gd name="connsiteX431" fmla="*/ 380029 w 814724"/>
              <a:gd name="connsiteY431" fmla="*/ 31012 h 724316"/>
              <a:gd name="connsiteX432" fmla="*/ 370568 w 814724"/>
              <a:gd name="connsiteY432" fmla="*/ 53088 h 724316"/>
              <a:gd name="connsiteX433" fmla="*/ 400527 w 814724"/>
              <a:gd name="connsiteY433" fmla="*/ 68372 h 724316"/>
              <a:gd name="connsiteX434" fmla="*/ 430422 w 814724"/>
              <a:gd name="connsiteY434" fmla="*/ 63578 h 724316"/>
              <a:gd name="connsiteX435" fmla="*/ 413189 w 814724"/>
              <a:gd name="connsiteY435" fmla="*/ 41053 h 724316"/>
              <a:gd name="connsiteX436" fmla="*/ 364786 w 814724"/>
              <a:gd name="connsiteY436" fmla="*/ 0 h 724316"/>
              <a:gd name="connsiteX437" fmla="*/ 810518 w 814724"/>
              <a:gd name="connsiteY437" fmla="*/ 134561 h 724316"/>
              <a:gd name="connsiteX438" fmla="*/ 810518 w 814724"/>
              <a:gd name="connsiteY438" fmla="*/ 150330 h 724316"/>
              <a:gd name="connsiteX439" fmla="*/ 810519 w 814724"/>
              <a:gd name="connsiteY439" fmla="*/ 150329 h 724316"/>
              <a:gd name="connsiteX440" fmla="*/ 814724 w 814724"/>
              <a:gd name="connsiteY440" fmla="*/ 160842 h 724316"/>
              <a:gd name="connsiteX441" fmla="*/ 745394 w 814724"/>
              <a:gd name="connsiteY441" fmla="*/ 191878 h 724316"/>
              <a:gd name="connsiteX442" fmla="*/ 774776 w 814724"/>
              <a:gd name="connsiteY442" fmla="*/ 255456 h 724316"/>
              <a:gd name="connsiteX443" fmla="*/ 770465 w 814724"/>
              <a:gd name="connsiteY443" fmla="*/ 257099 h 724316"/>
              <a:gd name="connsiteX444" fmla="*/ 810518 w 814724"/>
              <a:gd name="connsiteY444" fmla="*/ 277532 h 724316"/>
              <a:gd name="connsiteX445" fmla="*/ 810518 w 814724"/>
              <a:gd name="connsiteY445" fmla="*/ 305916 h 724316"/>
              <a:gd name="connsiteX446" fmla="*/ 384760 w 814724"/>
              <a:gd name="connsiteY446" fmla="*/ 89725 h 724316"/>
              <a:gd name="connsiteX447" fmla="*/ 384760 w 814724"/>
              <a:gd name="connsiteY447" fmla="*/ 151855 h 724316"/>
              <a:gd name="connsiteX448" fmla="*/ 388439 w 814724"/>
              <a:gd name="connsiteY448" fmla="*/ 152958 h 724316"/>
              <a:gd name="connsiteX449" fmla="*/ 392644 w 814724"/>
              <a:gd name="connsiteY449" fmla="*/ 155586 h 724316"/>
              <a:gd name="connsiteX450" fmla="*/ 396849 w 814724"/>
              <a:gd name="connsiteY450" fmla="*/ 158740 h 724316"/>
              <a:gd name="connsiteX451" fmla="*/ 400003 w 814724"/>
              <a:gd name="connsiteY451" fmla="*/ 162945 h 724316"/>
              <a:gd name="connsiteX452" fmla="*/ 402631 w 814724"/>
              <a:gd name="connsiteY452" fmla="*/ 167150 h 724316"/>
              <a:gd name="connsiteX453" fmla="*/ 404208 w 814724"/>
              <a:gd name="connsiteY453" fmla="*/ 172406 h 724316"/>
              <a:gd name="connsiteX454" fmla="*/ 405259 w 814724"/>
              <a:gd name="connsiteY454" fmla="*/ 178188 h 724316"/>
              <a:gd name="connsiteX455" fmla="*/ 404208 w 814724"/>
              <a:gd name="connsiteY455" fmla="*/ 184496 h 724316"/>
              <a:gd name="connsiteX456" fmla="*/ 402631 w 814724"/>
              <a:gd name="connsiteY456" fmla="*/ 189226 h 724316"/>
              <a:gd name="connsiteX457" fmla="*/ 400003 w 814724"/>
              <a:gd name="connsiteY457" fmla="*/ 193431 h 724316"/>
              <a:gd name="connsiteX458" fmla="*/ 396849 w 814724"/>
              <a:gd name="connsiteY458" fmla="*/ 197636 h 724316"/>
              <a:gd name="connsiteX459" fmla="*/ 392644 w 814724"/>
              <a:gd name="connsiteY459" fmla="*/ 201316 h 724316"/>
              <a:gd name="connsiteX460" fmla="*/ 388439 w 814724"/>
              <a:gd name="connsiteY460" fmla="*/ 203944 h 724316"/>
              <a:gd name="connsiteX461" fmla="*/ 387213 w 814724"/>
              <a:gd name="connsiteY461" fmla="*/ 204312 h 724316"/>
              <a:gd name="connsiteX462" fmla="*/ 386863 w 814724"/>
              <a:gd name="connsiteY462" fmla="*/ 215508 h 724316"/>
              <a:gd name="connsiteX463" fmla="*/ 381607 w 814724"/>
              <a:gd name="connsiteY463" fmla="*/ 227598 h 724316"/>
              <a:gd name="connsiteX464" fmla="*/ 376351 w 814724"/>
              <a:gd name="connsiteY464" fmla="*/ 234956 h 724316"/>
              <a:gd name="connsiteX465" fmla="*/ 373197 w 814724"/>
              <a:gd name="connsiteY465" fmla="*/ 237585 h 724316"/>
              <a:gd name="connsiteX466" fmla="*/ 368992 w 814724"/>
              <a:gd name="connsiteY466" fmla="*/ 241264 h 724316"/>
              <a:gd name="connsiteX467" fmla="*/ 366364 w 814724"/>
              <a:gd name="connsiteY467" fmla="*/ 244418 h 724316"/>
              <a:gd name="connsiteX468" fmla="*/ 364787 w 814724"/>
              <a:gd name="connsiteY468" fmla="*/ 248623 h 724316"/>
              <a:gd name="connsiteX469" fmla="*/ 363735 w 814724"/>
              <a:gd name="connsiteY469" fmla="*/ 252828 h 724316"/>
              <a:gd name="connsiteX470" fmla="*/ 363735 w 814724"/>
              <a:gd name="connsiteY470" fmla="*/ 255982 h 724316"/>
              <a:gd name="connsiteX471" fmla="*/ 365312 w 814724"/>
              <a:gd name="connsiteY471" fmla="*/ 259661 h 724316"/>
              <a:gd name="connsiteX472" fmla="*/ 366364 w 814724"/>
              <a:gd name="connsiteY472" fmla="*/ 262815 h 724316"/>
              <a:gd name="connsiteX473" fmla="*/ 368992 w 814724"/>
              <a:gd name="connsiteY473" fmla="*/ 265443 h 724316"/>
              <a:gd name="connsiteX474" fmla="*/ 371620 w 814724"/>
              <a:gd name="connsiteY474" fmla="*/ 268071 h 724316"/>
              <a:gd name="connsiteX475" fmla="*/ 374774 w 814724"/>
              <a:gd name="connsiteY475" fmla="*/ 269122 h 724316"/>
              <a:gd name="connsiteX476" fmla="*/ 377927 w 814724"/>
              <a:gd name="connsiteY476" fmla="*/ 270699 h 724316"/>
              <a:gd name="connsiteX477" fmla="*/ 381607 w 814724"/>
              <a:gd name="connsiteY477" fmla="*/ 270699 h 724316"/>
              <a:gd name="connsiteX478" fmla="*/ 382658 w 814724"/>
              <a:gd name="connsiteY478" fmla="*/ 270699 h 724316"/>
              <a:gd name="connsiteX479" fmla="*/ 385812 w 814724"/>
              <a:gd name="connsiteY479" fmla="*/ 269648 h 724316"/>
              <a:gd name="connsiteX480" fmla="*/ 388966 w 814724"/>
              <a:gd name="connsiteY480" fmla="*/ 268071 h 724316"/>
              <a:gd name="connsiteX481" fmla="*/ 392645 w 814724"/>
              <a:gd name="connsiteY481" fmla="*/ 265443 h 724316"/>
              <a:gd name="connsiteX482" fmla="*/ 395273 w 814724"/>
              <a:gd name="connsiteY482" fmla="*/ 262289 h 724316"/>
              <a:gd name="connsiteX483" fmla="*/ 395799 w 814724"/>
              <a:gd name="connsiteY483" fmla="*/ 258084 h 724316"/>
              <a:gd name="connsiteX484" fmla="*/ 396850 w 814724"/>
              <a:gd name="connsiteY484" fmla="*/ 252828 h 724316"/>
              <a:gd name="connsiteX485" fmla="*/ 396850 w 814724"/>
              <a:gd name="connsiteY485" fmla="*/ 247572 h 724316"/>
              <a:gd name="connsiteX486" fmla="*/ 397376 w 814724"/>
              <a:gd name="connsiteY486" fmla="*/ 244418 h 724316"/>
              <a:gd name="connsiteX487" fmla="*/ 399478 w 814724"/>
              <a:gd name="connsiteY487" fmla="*/ 241790 h 724316"/>
              <a:gd name="connsiteX488" fmla="*/ 401055 w 814724"/>
              <a:gd name="connsiteY488" fmla="*/ 240213 h 724316"/>
              <a:gd name="connsiteX489" fmla="*/ 404209 w 814724"/>
              <a:gd name="connsiteY489" fmla="*/ 239162 h 724316"/>
              <a:gd name="connsiteX490" fmla="*/ 407888 w 814724"/>
              <a:gd name="connsiteY490" fmla="*/ 239162 h 724316"/>
              <a:gd name="connsiteX491" fmla="*/ 411042 w 814724"/>
              <a:gd name="connsiteY491" fmla="*/ 241264 h 724316"/>
              <a:gd name="connsiteX492" fmla="*/ 412619 w 814724"/>
              <a:gd name="connsiteY492" fmla="*/ 243367 h 724316"/>
              <a:gd name="connsiteX493" fmla="*/ 413670 w 814724"/>
              <a:gd name="connsiteY493" fmla="*/ 247046 h 724316"/>
              <a:gd name="connsiteX494" fmla="*/ 413670 w 814724"/>
              <a:gd name="connsiteY494" fmla="*/ 255456 h 724316"/>
              <a:gd name="connsiteX495" fmla="*/ 412093 w 814724"/>
              <a:gd name="connsiteY495" fmla="*/ 262815 h 724316"/>
              <a:gd name="connsiteX496" fmla="*/ 409465 w 814724"/>
              <a:gd name="connsiteY496" fmla="*/ 270699 h 724316"/>
              <a:gd name="connsiteX497" fmla="*/ 406711 w 814724"/>
              <a:gd name="connsiteY497" fmla="*/ 274486 h 724316"/>
              <a:gd name="connsiteX498" fmla="*/ 464754 w 814724"/>
              <a:gd name="connsiteY498" fmla="*/ 322210 h 724316"/>
              <a:gd name="connsiteX499" fmla="*/ 520897 w 814724"/>
              <a:gd name="connsiteY499" fmla="*/ 322210 h 724316"/>
              <a:gd name="connsiteX500" fmla="*/ 520897 w 814724"/>
              <a:gd name="connsiteY500" fmla="*/ 424708 h 724316"/>
              <a:gd name="connsiteX501" fmla="*/ 238635 w 814724"/>
              <a:gd name="connsiteY501" fmla="*/ 424708 h 724316"/>
              <a:gd name="connsiteX502" fmla="*/ 238635 w 814724"/>
              <a:gd name="connsiteY502" fmla="*/ 322210 h 724316"/>
              <a:gd name="connsiteX503" fmla="*/ 299973 w 814724"/>
              <a:gd name="connsiteY503" fmla="*/ 322210 h 724316"/>
              <a:gd name="connsiteX504" fmla="*/ 355709 w 814724"/>
              <a:gd name="connsiteY504" fmla="*/ 276041 h 724316"/>
              <a:gd name="connsiteX505" fmla="*/ 352697 w 814724"/>
              <a:gd name="connsiteY505" fmla="*/ 272276 h 724316"/>
              <a:gd name="connsiteX506" fmla="*/ 349543 w 814724"/>
              <a:gd name="connsiteY506" fmla="*/ 266494 h 724316"/>
              <a:gd name="connsiteX507" fmla="*/ 347966 w 814724"/>
              <a:gd name="connsiteY507" fmla="*/ 259661 h 724316"/>
              <a:gd name="connsiteX508" fmla="*/ 346915 w 814724"/>
              <a:gd name="connsiteY508" fmla="*/ 252828 h 724316"/>
              <a:gd name="connsiteX509" fmla="*/ 347966 w 814724"/>
              <a:gd name="connsiteY509" fmla="*/ 244418 h 724316"/>
              <a:gd name="connsiteX510" fmla="*/ 352172 w 814724"/>
              <a:gd name="connsiteY510" fmla="*/ 236008 h 724316"/>
              <a:gd name="connsiteX511" fmla="*/ 356902 w 814724"/>
              <a:gd name="connsiteY511" fmla="*/ 228123 h 724316"/>
              <a:gd name="connsiteX512" fmla="*/ 363735 w 814724"/>
              <a:gd name="connsiteY512" fmla="*/ 223393 h 724316"/>
              <a:gd name="connsiteX513" fmla="*/ 365312 w 814724"/>
              <a:gd name="connsiteY513" fmla="*/ 221290 h 724316"/>
              <a:gd name="connsiteX514" fmla="*/ 368992 w 814724"/>
              <a:gd name="connsiteY514" fmla="*/ 218136 h 724316"/>
              <a:gd name="connsiteX515" fmla="*/ 370569 w 814724"/>
              <a:gd name="connsiteY515" fmla="*/ 211303 h 724316"/>
              <a:gd name="connsiteX516" fmla="*/ 370569 w 814724"/>
              <a:gd name="connsiteY516" fmla="*/ 205206 h 724316"/>
              <a:gd name="connsiteX517" fmla="*/ 366363 w 814724"/>
              <a:gd name="connsiteY517" fmla="*/ 203944 h 724316"/>
              <a:gd name="connsiteX518" fmla="*/ 362158 w 814724"/>
              <a:gd name="connsiteY518" fmla="*/ 201316 h 724316"/>
              <a:gd name="connsiteX519" fmla="*/ 357953 w 814724"/>
              <a:gd name="connsiteY519" fmla="*/ 197636 h 724316"/>
              <a:gd name="connsiteX520" fmla="*/ 354273 w 814724"/>
              <a:gd name="connsiteY520" fmla="*/ 193431 h 724316"/>
              <a:gd name="connsiteX521" fmla="*/ 352171 w 814724"/>
              <a:gd name="connsiteY521" fmla="*/ 189226 h 724316"/>
              <a:gd name="connsiteX522" fmla="*/ 351120 w 814724"/>
              <a:gd name="connsiteY522" fmla="*/ 184496 h 724316"/>
              <a:gd name="connsiteX523" fmla="*/ 350068 w 814724"/>
              <a:gd name="connsiteY523" fmla="*/ 178188 h 724316"/>
              <a:gd name="connsiteX524" fmla="*/ 351120 w 814724"/>
              <a:gd name="connsiteY524" fmla="*/ 172406 h 724316"/>
              <a:gd name="connsiteX525" fmla="*/ 352171 w 814724"/>
              <a:gd name="connsiteY525" fmla="*/ 167150 h 724316"/>
              <a:gd name="connsiteX526" fmla="*/ 354273 w 814724"/>
              <a:gd name="connsiteY526" fmla="*/ 162945 h 724316"/>
              <a:gd name="connsiteX527" fmla="*/ 357953 w 814724"/>
              <a:gd name="connsiteY527" fmla="*/ 158740 h 724316"/>
              <a:gd name="connsiteX528" fmla="*/ 362158 w 814724"/>
              <a:gd name="connsiteY528" fmla="*/ 155586 h 724316"/>
              <a:gd name="connsiteX529" fmla="*/ 366363 w 814724"/>
              <a:gd name="connsiteY529" fmla="*/ 152958 h 724316"/>
              <a:gd name="connsiteX530" fmla="*/ 367894 w 814724"/>
              <a:gd name="connsiteY530" fmla="*/ 152499 h 724316"/>
              <a:gd name="connsiteX531" fmla="*/ 367450 w 814724"/>
              <a:gd name="connsiteY531" fmla="*/ 80935 h 724316"/>
              <a:gd name="connsiteX532" fmla="*/ 337453 w 814724"/>
              <a:gd name="connsiteY532" fmla="*/ 65703 h 724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</a:cxnLst>
            <a:rect l="l" t="t" r="r" b="b"/>
            <a:pathLst>
              <a:path w="814724" h="724316">
                <a:moveTo>
                  <a:pt x="500924" y="631805"/>
                </a:moveTo>
                <a:lnTo>
                  <a:pt x="520372" y="631805"/>
                </a:lnTo>
                <a:lnTo>
                  <a:pt x="540346" y="634433"/>
                </a:lnTo>
                <a:lnTo>
                  <a:pt x="562423" y="639690"/>
                </a:lnTo>
                <a:lnTo>
                  <a:pt x="584499" y="647048"/>
                </a:lnTo>
                <a:lnTo>
                  <a:pt x="607627" y="658087"/>
                </a:lnTo>
                <a:lnTo>
                  <a:pt x="631280" y="672279"/>
                </a:lnTo>
                <a:lnTo>
                  <a:pt x="632857" y="673330"/>
                </a:lnTo>
                <a:lnTo>
                  <a:pt x="635485" y="674907"/>
                </a:lnTo>
                <a:lnTo>
                  <a:pt x="639690" y="677535"/>
                </a:lnTo>
                <a:lnTo>
                  <a:pt x="645472" y="680689"/>
                </a:lnTo>
                <a:lnTo>
                  <a:pt x="652831" y="684368"/>
                </a:lnTo>
                <a:lnTo>
                  <a:pt x="661766" y="686996"/>
                </a:lnTo>
                <a:lnTo>
                  <a:pt x="670702" y="690150"/>
                </a:lnTo>
                <a:lnTo>
                  <a:pt x="681215" y="692778"/>
                </a:lnTo>
                <a:lnTo>
                  <a:pt x="692779" y="694355"/>
                </a:lnTo>
                <a:lnTo>
                  <a:pt x="705394" y="695406"/>
                </a:lnTo>
                <a:lnTo>
                  <a:pt x="718009" y="694355"/>
                </a:lnTo>
                <a:lnTo>
                  <a:pt x="732726" y="691727"/>
                </a:lnTo>
                <a:lnTo>
                  <a:pt x="746918" y="688573"/>
                </a:lnTo>
                <a:lnTo>
                  <a:pt x="762162" y="682791"/>
                </a:lnTo>
                <a:lnTo>
                  <a:pt x="778456" y="674381"/>
                </a:lnTo>
                <a:lnTo>
                  <a:pt x="794225" y="663869"/>
                </a:lnTo>
                <a:lnTo>
                  <a:pt x="807891" y="682791"/>
                </a:lnTo>
                <a:lnTo>
                  <a:pt x="789494" y="695406"/>
                </a:lnTo>
                <a:lnTo>
                  <a:pt x="770572" y="704868"/>
                </a:lnTo>
                <a:lnTo>
                  <a:pt x="752700" y="711175"/>
                </a:lnTo>
                <a:lnTo>
                  <a:pt x="735880" y="715380"/>
                </a:lnTo>
                <a:lnTo>
                  <a:pt x="720111" y="718009"/>
                </a:lnTo>
                <a:lnTo>
                  <a:pt x="704868" y="719060"/>
                </a:lnTo>
                <a:lnTo>
                  <a:pt x="689625" y="718009"/>
                </a:lnTo>
                <a:lnTo>
                  <a:pt x="675958" y="715380"/>
                </a:lnTo>
                <a:lnTo>
                  <a:pt x="663869" y="713278"/>
                </a:lnTo>
                <a:lnTo>
                  <a:pt x="652831" y="709073"/>
                </a:lnTo>
                <a:lnTo>
                  <a:pt x="642844" y="705393"/>
                </a:lnTo>
                <a:lnTo>
                  <a:pt x="634434" y="701188"/>
                </a:lnTo>
                <a:lnTo>
                  <a:pt x="627601" y="698035"/>
                </a:lnTo>
                <a:lnTo>
                  <a:pt x="622870" y="694355"/>
                </a:lnTo>
                <a:lnTo>
                  <a:pt x="619191" y="691727"/>
                </a:lnTo>
                <a:lnTo>
                  <a:pt x="617614" y="691201"/>
                </a:lnTo>
                <a:lnTo>
                  <a:pt x="597114" y="678586"/>
                </a:lnTo>
                <a:lnTo>
                  <a:pt x="577140" y="668074"/>
                </a:lnTo>
                <a:lnTo>
                  <a:pt x="557692" y="661240"/>
                </a:lnTo>
                <a:lnTo>
                  <a:pt x="538769" y="657035"/>
                </a:lnTo>
                <a:lnTo>
                  <a:pt x="520898" y="654933"/>
                </a:lnTo>
                <a:lnTo>
                  <a:pt x="504078" y="654933"/>
                </a:lnTo>
                <a:lnTo>
                  <a:pt x="488309" y="656510"/>
                </a:lnTo>
                <a:lnTo>
                  <a:pt x="473592" y="659138"/>
                </a:lnTo>
                <a:lnTo>
                  <a:pt x="460451" y="662292"/>
                </a:lnTo>
                <a:lnTo>
                  <a:pt x="448361" y="666497"/>
                </a:lnTo>
                <a:lnTo>
                  <a:pt x="437323" y="671753"/>
                </a:lnTo>
                <a:lnTo>
                  <a:pt x="428913" y="675958"/>
                </a:lnTo>
                <a:lnTo>
                  <a:pt x="421554" y="680163"/>
                </a:lnTo>
                <a:lnTo>
                  <a:pt x="416298" y="683317"/>
                </a:lnTo>
                <a:lnTo>
                  <a:pt x="412093" y="685945"/>
                </a:lnTo>
                <a:lnTo>
                  <a:pt x="410516" y="687522"/>
                </a:lnTo>
                <a:lnTo>
                  <a:pt x="391593" y="700663"/>
                </a:lnTo>
                <a:lnTo>
                  <a:pt x="373196" y="709598"/>
                </a:lnTo>
                <a:lnTo>
                  <a:pt x="355325" y="716432"/>
                </a:lnTo>
                <a:lnTo>
                  <a:pt x="338505" y="720637"/>
                </a:lnTo>
                <a:lnTo>
                  <a:pt x="322210" y="723265"/>
                </a:lnTo>
                <a:lnTo>
                  <a:pt x="306967" y="724316"/>
                </a:lnTo>
                <a:lnTo>
                  <a:pt x="291724" y="723265"/>
                </a:lnTo>
                <a:lnTo>
                  <a:pt x="278583" y="720637"/>
                </a:lnTo>
                <a:lnTo>
                  <a:pt x="266493" y="718009"/>
                </a:lnTo>
                <a:lnTo>
                  <a:pt x="255455" y="713804"/>
                </a:lnTo>
                <a:lnTo>
                  <a:pt x="245468" y="710650"/>
                </a:lnTo>
                <a:lnTo>
                  <a:pt x="237058" y="706445"/>
                </a:lnTo>
                <a:lnTo>
                  <a:pt x="230225" y="702765"/>
                </a:lnTo>
                <a:lnTo>
                  <a:pt x="224969" y="699611"/>
                </a:lnTo>
                <a:lnTo>
                  <a:pt x="221815" y="696983"/>
                </a:lnTo>
                <a:lnTo>
                  <a:pt x="220238" y="695932"/>
                </a:lnTo>
                <a:lnTo>
                  <a:pt x="199739" y="683317"/>
                </a:lnTo>
                <a:lnTo>
                  <a:pt x="179239" y="673330"/>
                </a:lnTo>
                <a:lnTo>
                  <a:pt x="159791" y="666497"/>
                </a:lnTo>
                <a:lnTo>
                  <a:pt x="141394" y="662292"/>
                </a:lnTo>
                <a:lnTo>
                  <a:pt x="124574" y="659664"/>
                </a:lnTo>
                <a:lnTo>
                  <a:pt x="107754" y="659664"/>
                </a:lnTo>
                <a:lnTo>
                  <a:pt x="91459" y="660715"/>
                </a:lnTo>
                <a:lnTo>
                  <a:pt x="77267" y="663343"/>
                </a:lnTo>
                <a:lnTo>
                  <a:pt x="64652" y="667548"/>
                </a:lnTo>
                <a:lnTo>
                  <a:pt x="52563" y="671753"/>
                </a:lnTo>
                <a:lnTo>
                  <a:pt x="41524" y="675958"/>
                </a:lnTo>
                <a:lnTo>
                  <a:pt x="33114" y="680163"/>
                </a:lnTo>
                <a:lnTo>
                  <a:pt x="25230" y="684368"/>
                </a:lnTo>
                <a:lnTo>
                  <a:pt x="20499" y="687522"/>
                </a:lnTo>
                <a:lnTo>
                  <a:pt x="16294" y="690150"/>
                </a:lnTo>
                <a:lnTo>
                  <a:pt x="14717" y="691727"/>
                </a:lnTo>
                <a:lnTo>
                  <a:pt x="0" y="673330"/>
                </a:lnTo>
                <a:lnTo>
                  <a:pt x="1577" y="672279"/>
                </a:lnTo>
                <a:lnTo>
                  <a:pt x="5256" y="670176"/>
                </a:lnTo>
                <a:lnTo>
                  <a:pt x="11038" y="665971"/>
                </a:lnTo>
                <a:lnTo>
                  <a:pt x="18922" y="661240"/>
                </a:lnTo>
                <a:lnTo>
                  <a:pt x="28909" y="656510"/>
                </a:lnTo>
                <a:lnTo>
                  <a:pt x="40473" y="650728"/>
                </a:lnTo>
                <a:lnTo>
                  <a:pt x="54139" y="645997"/>
                </a:lnTo>
                <a:lnTo>
                  <a:pt x="69383" y="641792"/>
                </a:lnTo>
                <a:lnTo>
                  <a:pt x="86203" y="638638"/>
                </a:lnTo>
                <a:lnTo>
                  <a:pt x="104074" y="637061"/>
                </a:lnTo>
                <a:lnTo>
                  <a:pt x="123522" y="637061"/>
                </a:lnTo>
                <a:lnTo>
                  <a:pt x="144022" y="638638"/>
                </a:lnTo>
                <a:lnTo>
                  <a:pt x="165047" y="643895"/>
                </a:lnTo>
                <a:lnTo>
                  <a:pt x="187124" y="651253"/>
                </a:lnTo>
                <a:lnTo>
                  <a:pt x="209726" y="662292"/>
                </a:lnTo>
                <a:lnTo>
                  <a:pt x="233379" y="676484"/>
                </a:lnTo>
                <a:lnTo>
                  <a:pt x="235481" y="677535"/>
                </a:lnTo>
                <a:lnTo>
                  <a:pt x="237584" y="680163"/>
                </a:lnTo>
                <a:lnTo>
                  <a:pt x="241789" y="682791"/>
                </a:lnTo>
                <a:lnTo>
                  <a:pt x="248096" y="685419"/>
                </a:lnTo>
                <a:lnTo>
                  <a:pt x="255455" y="688573"/>
                </a:lnTo>
                <a:lnTo>
                  <a:pt x="263865" y="691727"/>
                </a:lnTo>
                <a:lnTo>
                  <a:pt x="273327" y="695406"/>
                </a:lnTo>
                <a:lnTo>
                  <a:pt x="283314" y="698035"/>
                </a:lnTo>
                <a:lnTo>
                  <a:pt x="295403" y="699611"/>
                </a:lnTo>
                <a:lnTo>
                  <a:pt x="306967" y="700663"/>
                </a:lnTo>
                <a:lnTo>
                  <a:pt x="320633" y="699611"/>
                </a:lnTo>
                <a:lnTo>
                  <a:pt x="334825" y="696983"/>
                </a:lnTo>
                <a:lnTo>
                  <a:pt x="349543" y="693830"/>
                </a:lnTo>
                <a:lnTo>
                  <a:pt x="364786" y="687522"/>
                </a:lnTo>
                <a:lnTo>
                  <a:pt x="380030" y="679112"/>
                </a:lnTo>
                <a:lnTo>
                  <a:pt x="395798" y="669125"/>
                </a:lnTo>
                <a:lnTo>
                  <a:pt x="397375" y="668074"/>
                </a:lnTo>
                <a:lnTo>
                  <a:pt x="401055" y="665971"/>
                </a:lnTo>
                <a:lnTo>
                  <a:pt x="406837" y="661240"/>
                </a:lnTo>
                <a:lnTo>
                  <a:pt x="415247" y="656510"/>
                </a:lnTo>
                <a:lnTo>
                  <a:pt x="425759" y="651253"/>
                </a:lnTo>
                <a:lnTo>
                  <a:pt x="437323" y="645997"/>
                </a:lnTo>
                <a:lnTo>
                  <a:pt x="450989" y="641266"/>
                </a:lnTo>
                <a:lnTo>
                  <a:pt x="466233" y="637061"/>
                </a:lnTo>
                <a:lnTo>
                  <a:pt x="483053" y="633382"/>
                </a:lnTo>
                <a:close/>
                <a:moveTo>
                  <a:pt x="500924" y="577666"/>
                </a:moveTo>
                <a:lnTo>
                  <a:pt x="520372" y="577666"/>
                </a:lnTo>
                <a:lnTo>
                  <a:pt x="540346" y="579243"/>
                </a:lnTo>
                <a:lnTo>
                  <a:pt x="562423" y="584499"/>
                </a:lnTo>
                <a:lnTo>
                  <a:pt x="584499" y="591858"/>
                </a:lnTo>
                <a:lnTo>
                  <a:pt x="607627" y="602896"/>
                </a:lnTo>
                <a:lnTo>
                  <a:pt x="631280" y="617614"/>
                </a:lnTo>
                <a:lnTo>
                  <a:pt x="632857" y="618139"/>
                </a:lnTo>
                <a:lnTo>
                  <a:pt x="635485" y="620242"/>
                </a:lnTo>
                <a:lnTo>
                  <a:pt x="639690" y="622344"/>
                </a:lnTo>
                <a:lnTo>
                  <a:pt x="645472" y="626024"/>
                </a:lnTo>
                <a:lnTo>
                  <a:pt x="652831" y="629178"/>
                </a:lnTo>
                <a:lnTo>
                  <a:pt x="661766" y="632857"/>
                </a:lnTo>
                <a:lnTo>
                  <a:pt x="670702" y="635485"/>
                </a:lnTo>
                <a:lnTo>
                  <a:pt x="681215" y="637588"/>
                </a:lnTo>
                <a:lnTo>
                  <a:pt x="692779" y="639690"/>
                </a:lnTo>
                <a:lnTo>
                  <a:pt x="705394" y="640216"/>
                </a:lnTo>
                <a:lnTo>
                  <a:pt x="718009" y="639690"/>
                </a:lnTo>
                <a:lnTo>
                  <a:pt x="732726" y="637588"/>
                </a:lnTo>
                <a:lnTo>
                  <a:pt x="746918" y="633383"/>
                </a:lnTo>
                <a:lnTo>
                  <a:pt x="762162" y="627601"/>
                </a:lnTo>
                <a:lnTo>
                  <a:pt x="778456" y="620242"/>
                </a:lnTo>
                <a:lnTo>
                  <a:pt x="794225" y="609204"/>
                </a:lnTo>
                <a:lnTo>
                  <a:pt x="807891" y="627601"/>
                </a:lnTo>
                <a:lnTo>
                  <a:pt x="789494" y="640216"/>
                </a:lnTo>
                <a:lnTo>
                  <a:pt x="770572" y="649677"/>
                </a:lnTo>
                <a:lnTo>
                  <a:pt x="752700" y="656510"/>
                </a:lnTo>
                <a:lnTo>
                  <a:pt x="735880" y="660715"/>
                </a:lnTo>
                <a:lnTo>
                  <a:pt x="720111" y="663343"/>
                </a:lnTo>
                <a:lnTo>
                  <a:pt x="704868" y="663869"/>
                </a:lnTo>
                <a:lnTo>
                  <a:pt x="689625" y="663343"/>
                </a:lnTo>
                <a:lnTo>
                  <a:pt x="675958" y="660715"/>
                </a:lnTo>
                <a:lnTo>
                  <a:pt x="663869" y="658087"/>
                </a:lnTo>
                <a:lnTo>
                  <a:pt x="652831" y="653882"/>
                </a:lnTo>
                <a:lnTo>
                  <a:pt x="642844" y="650728"/>
                </a:lnTo>
                <a:lnTo>
                  <a:pt x="634434" y="645998"/>
                </a:lnTo>
                <a:lnTo>
                  <a:pt x="627601" y="642844"/>
                </a:lnTo>
                <a:lnTo>
                  <a:pt x="622870" y="639690"/>
                </a:lnTo>
                <a:lnTo>
                  <a:pt x="619191" y="637062"/>
                </a:lnTo>
                <a:lnTo>
                  <a:pt x="617614" y="636011"/>
                </a:lnTo>
                <a:lnTo>
                  <a:pt x="597114" y="623396"/>
                </a:lnTo>
                <a:lnTo>
                  <a:pt x="577140" y="613934"/>
                </a:lnTo>
                <a:lnTo>
                  <a:pt x="557692" y="607101"/>
                </a:lnTo>
                <a:lnTo>
                  <a:pt x="538769" y="602896"/>
                </a:lnTo>
                <a:lnTo>
                  <a:pt x="520898" y="600794"/>
                </a:lnTo>
                <a:lnTo>
                  <a:pt x="504078" y="600794"/>
                </a:lnTo>
                <a:lnTo>
                  <a:pt x="488309" y="602371"/>
                </a:lnTo>
                <a:lnTo>
                  <a:pt x="473592" y="604999"/>
                </a:lnTo>
                <a:lnTo>
                  <a:pt x="460451" y="608152"/>
                </a:lnTo>
                <a:lnTo>
                  <a:pt x="448361" y="612357"/>
                </a:lnTo>
                <a:lnTo>
                  <a:pt x="437323" y="616562"/>
                </a:lnTo>
                <a:lnTo>
                  <a:pt x="428913" y="620767"/>
                </a:lnTo>
                <a:lnTo>
                  <a:pt x="421554" y="624973"/>
                </a:lnTo>
                <a:lnTo>
                  <a:pt x="416298" y="628652"/>
                </a:lnTo>
                <a:lnTo>
                  <a:pt x="412093" y="631280"/>
                </a:lnTo>
                <a:lnTo>
                  <a:pt x="410516" y="632857"/>
                </a:lnTo>
                <a:lnTo>
                  <a:pt x="391593" y="645472"/>
                </a:lnTo>
                <a:lnTo>
                  <a:pt x="373196" y="654933"/>
                </a:lnTo>
                <a:lnTo>
                  <a:pt x="355325" y="661241"/>
                </a:lnTo>
                <a:lnTo>
                  <a:pt x="338505" y="665971"/>
                </a:lnTo>
                <a:lnTo>
                  <a:pt x="322210" y="668074"/>
                </a:lnTo>
                <a:lnTo>
                  <a:pt x="306967" y="669125"/>
                </a:lnTo>
                <a:lnTo>
                  <a:pt x="291724" y="668074"/>
                </a:lnTo>
                <a:lnTo>
                  <a:pt x="278583" y="665971"/>
                </a:lnTo>
                <a:lnTo>
                  <a:pt x="266493" y="663343"/>
                </a:lnTo>
                <a:lnTo>
                  <a:pt x="255455" y="659138"/>
                </a:lnTo>
                <a:lnTo>
                  <a:pt x="245468" y="655459"/>
                </a:lnTo>
                <a:lnTo>
                  <a:pt x="237058" y="651254"/>
                </a:lnTo>
                <a:lnTo>
                  <a:pt x="230225" y="648100"/>
                </a:lnTo>
                <a:lnTo>
                  <a:pt x="224969" y="644421"/>
                </a:lnTo>
                <a:lnTo>
                  <a:pt x="221815" y="641793"/>
                </a:lnTo>
                <a:lnTo>
                  <a:pt x="220238" y="641267"/>
                </a:lnTo>
                <a:lnTo>
                  <a:pt x="199739" y="628652"/>
                </a:lnTo>
                <a:lnTo>
                  <a:pt x="179239" y="618139"/>
                </a:lnTo>
                <a:lnTo>
                  <a:pt x="159791" y="611306"/>
                </a:lnTo>
                <a:lnTo>
                  <a:pt x="141394" y="607101"/>
                </a:lnTo>
                <a:lnTo>
                  <a:pt x="124574" y="604999"/>
                </a:lnTo>
                <a:lnTo>
                  <a:pt x="107754" y="604999"/>
                </a:lnTo>
                <a:lnTo>
                  <a:pt x="91459" y="605524"/>
                </a:lnTo>
                <a:lnTo>
                  <a:pt x="77267" y="608152"/>
                </a:lnTo>
                <a:lnTo>
                  <a:pt x="64652" y="612357"/>
                </a:lnTo>
                <a:lnTo>
                  <a:pt x="52563" y="616562"/>
                </a:lnTo>
                <a:lnTo>
                  <a:pt x="41524" y="620767"/>
                </a:lnTo>
                <a:lnTo>
                  <a:pt x="33114" y="624973"/>
                </a:lnTo>
                <a:lnTo>
                  <a:pt x="25230" y="629178"/>
                </a:lnTo>
                <a:lnTo>
                  <a:pt x="20499" y="632857"/>
                </a:lnTo>
                <a:lnTo>
                  <a:pt x="16294" y="635485"/>
                </a:lnTo>
                <a:lnTo>
                  <a:pt x="14717" y="637062"/>
                </a:lnTo>
                <a:lnTo>
                  <a:pt x="0" y="618139"/>
                </a:lnTo>
                <a:lnTo>
                  <a:pt x="1577" y="617614"/>
                </a:lnTo>
                <a:lnTo>
                  <a:pt x="5256" y="614986"/>
                </a:lnTo>
                <a:lnTo>
                  <a:pt x="11038" y="610781"/>
                </a:lnTo>
                <a:lnTo>
                  <a:pt x="18922" y="606576"/>
                </a:lnTo>
                <a:lnTo>
                  <a:pt x="28909" y="601319"/>
                </a:lnTo>
                <a:lnTo>
                  <a:pt x="40473" y="596589"/>
                </a:lnTo>
                <a:lnTo>
                  <a:pt x="54139" y="591332"/>
                </a:lnTo>
                <a:lnTo>
                  <a:pt x="69383" y="587127"/>
                </a:lnTo>
                <a:lnTo>
                  <a:pt x="86203" y="583448"/>
                </a:lnTo>
                <a:lnTo>
                  <a:pt x="104074" y="581871"/>
                </a:lnTo>
                <a:lnTo>
                  <a:pt x="123522" y="582922"/>
                </a:lnTo>
                <a:lnTo>
                  <a:pt x="144022" y="584499"/>
                </a:lnTo>
                <a:lnTo>
                  <a:pt x="165047" y="589756"/>
                </a:lnTo>
                <a:lnTo>
                  <a:pt x="187124" y="597114"/>
                </a:lnTo>
                <a:lnTo>
                  <a:pt x="209726" y="608152"/>
                </a:lnTo>
                <a:lnTo>
                  <a:pt x="233379" y="622344"/>
                </a:lnTo>
                <a:lnTo>
                  <a:pt x="235481" y="623396"/>
                </a:lnTo>
                <a:lnTo>
                  <a:pt x="237584" y="624973"/>
                </a:lnTo>
                <a:lnTo>
                  <a:pt x="241789" y="627601"/>
                </a:lnTo>
                <a:lnTo>
                  <a:pt x="248096" y="631280"/>
                </a:lnTo>
                <a:lnTo>
                  <a:pt x="255455" y="634434"/>
                </a:lnTo>
                <a:lnTo>
                  <a:pt x="263865" y="637062"/>
                </a:lnTo>
                <a:lnTo>
                  <a:pt x="273327" y="640216"/>
                </a:lnTo>
                <a:lnTo>
                  <a:pt x="283314" y="642844"/>
                </a:lnTo>
                <a:lnTo>
                  <a:pt x="295403" y="644421"/>
                </a:lnTo>
                <a:lnTo>
                  <a:pt x="306967" y="645472"/>
                </a:lnTo>
                <a:lnTo>
                  <a:pt x="320633" y="644421"/>
                </a:lnTo>
                <a:lnTo>
                  <a:pt x="334825" y="641793"/>
                </a:lnTo>
                <a:lnTo>
                  <a:pt x="349543" y="638639"/>
                </a:lnTo>
                <a:lnTo>
                  <a:pt x="364786" y="632857"/>
                </a:lnTo>
                <a:lnTo>
                  <a:pt x="380030" y="624447"/>
                </a:lnTo>
                <a:lnTo>
                  <a:pt x="395798" y="613934"/>
                </a:lnTo>
                <a:lnTo>
                  <a:pt x="397375" y="613409"/>
                </a:lnTo>
                <a:lnTo>
                  <a:pt x="401055" y="610781"/>
                </a:lnTo>
                <a:lnTo>
                  <a:pt x="406837" y="606576"/>
                </a:lnTo>
                <a:lnTo>
                  <a:pt x="415247" y="602371"/>
                </a:lnTo>
                <a:lnTo>
                  <a:pt x="425759" y="597114"/>
                </a:lnTo>
                <a:lnTo>
                  <a:pt x="437323" y="591332"/>
                </a:lnTo>
                <a:lnTo>
                  <a:pt x="450989" y="587127"/>
                </a:lnTo>
                <a:lnTo>
                  <a:pt x="466233" y="582922"/>
                </a:lnTo>
                <a:lnTo>
                  <a:pt x="483053" y="579243"/>
                </a:lnTo>
                <a:close/>
                <a:moveTo>
                  <a:pt x="641267" y="474643"/>
                </a:moveTo>
                <a:lnTo>
                  <a:pt x="633382" y="476220"/>
                </a:lnTo>
                <a:lnTo>
                  <a:pt x="627600" y="480425"/>
                </a:lnTo>
                <a:lnTo>
                  <a:pt x="623395" y="486207"/>
                </a:lnTo>
                <a:lnTo>
                  <a:pt x="621818" y="494091"/>
                </a:lnTo>
                <a:lnTo>
                  <a:pt x="623395" y="501450"/>
                </a:lnTo>
                <a:lnTo>
                  <a:pt x="627600" y="507758"/>
                </a:lnTo>
                <a:lnTo>
                  <a:pt x="633382" y="511963"/>
                </a:lnTo>
                <a:lnTo>
                  <a:pt x="641267" y="513539"/>
                </a:lnTo>
                <a:lnTo>
                  <a:pt x="648625" y="511963"/>
                </a:lnTo>
                <a:lnTo>
                  <a:pt x="654933" y="507758"/>
                </a:lnTo>
                <a:lnTo>
                  <a:pt x="659138" y="501450"/>
                </a:lnTo>
                <a:lnTo>
                  <a:pt x="660715" y="494091"/>
                </a:lnTo>
                <a:lnTo>
                  <a:pt x="659138" y="486207"/>
                </a:lnTo>
                <a:lnTo>
                  <a:pt x="654933" y="480425"/>
                </a:lnTo>
                <a:lnTo>
                  <a:pt x="648625" y="476220"/>
                </a:lnTo>
                <a:close/>
                <a:moveTo>
                  <a:pt x="76216" y="393170"/>
                </a:moveTo>
                <a:lnTo>
                  <a:pt x="107754" y="393170"/>
                </a:lnTo>
                <a:lnTo>
                  <a:pt x="107754" y="424708"/>
                </a:lnTo>
                <a:lnTo>
                  <a:pt x="76216" y="424708"/>
                </a:lnTo>
                <a:close/>
                <a:moveTo>
                  <a:pt x="35743" y="305390"/>
                </a:moveTo>
                <a:lnTo>
                  <a:pt x="138766" y="305390"/>
                </a:lnTo>
                <a:lnTo>
                  <a:pt x="150855" y="305390"/>
                </a:lnTo>
                <a:lnTo>
                  <a:pt x="152958" y="316954"/>
                </a:lnTo>
                <a:lnTo>
                  <a:pt x="185552" y="480425"/>
                </a:lnTo>
                <a:lnTo>
                  <a:pt x="550859" y="480425"/>
                </a:lnTo>
                <a:lnTo>
                  <a:pt x="576089" y="420503"/>
                </a:lnTo>
                <a:lnTo>
                  <a:pt x="749546" y="420503"/>
                </a:lnTo>
                <a:lnTo>
                  <a:pt x="695229" y="582075"/>
                </a:lnTo>
                <a:lnTo>
                  <a:pt x="705394" y="582922"/>
                </a:lnTo>
                <a:lnTo>
                  <a:pt x="718009" y="581871"/>
                </a:lnTo>
                <a:lnTo>
                  <a:pt x="732726" y="579242"/>
                </a:lnTo>
                <a:lnTo>
                  <a:pt x="746918" y="576089"/>
                </a:lnTo>
                <a:lnTo>
                  <a:pt x="762162" y="570307"/>
                </a:lnTo>
                <a:lnTo>
                  <a:pt x="778456" y="561897"/>
                </a:lnTo>
                <a:lnTo>
                  <a:pt x="794225" y="551384"/>
                </a:lnTo>
                <a:lnTo>
                  <a:pt x="807891" y="569256"/>
                </a:lnTo>
                <a:lnTo>
                  <a:pt x="789494" y="581871"/>
                </a:lnTo>
                <a:lnTo>
                  <a:pt x="770572" y="591332"/>
                </a:lnTo>
                <a:lnTo>
                  <a:pt x="752700" y="598165"/>
                </a:lnTo>
                <a:lnTo>
                  <a:pt x="735880" y="602370"/>
                </a:lnTo>
                <a:lnTo>
                  <a:pt x="720111" y="604998"/>
                </a:lnTo>
                <a:lnTo>
                  <a:pt x="704868" y="605524"/>
                </a:lnTo>
                <a:lnTo>
                  <a:pt x="689625" y="604998"/>
                </a:lnTo>
                <a:lnTo>
                  <a:pt x="687626" y="604691"/>
                </a:lnTo>
                <a:lnTo>
                  <a:pt x="687522" y="604999"/>
                </a:lnTo>
                <a:lnTo>
                  <a:pt x="675958" y="602896"/>
                </a:lnTo>
                <a:lnTo>
                  <a:pt x="675938" y="602890"/>
                </a:lnTo>
                <a:lnTo>
                  <a:pt x="663869" y="599742"/>
                </a:lnTo>
                <a:lnTo>
                  <a:pt x="652831" y="596588"/>
                </a:lnTo>
                <a:lnTo>
                  <a:pt x="642844" y="592909"/>
                </a:lnTo>
                <a:lnTo>
                  <a:pt x="634434" y="588704"/>
                </a:lnTo>
                <a:lnTo>
                  <a:pt x="627601" y="585550"/>
                </a:lnTo>
                <a:lnTo>
                  <a:pt x="622870" y="581871"/>
                </a:lnTo>
                <a:lnTo>
                  <a:pt x="619191" y="579242"/>
                </a:lnTo>
                <a:lnTo>
                  <a:pt x="617614" y="578717"/>
                </a:lnTo>
                <a:lnTo>
                  <a:pt x="597114" y="566102"/>
                </a:lnTo>
                <a:lnTo>
                  <a:pt x="577140" y="556640"/>
                </a:lnTo>
                <a:lnTo>
                  <a:pt x="564993" y="551716"/>
                </a:lnTo>
                <a:lnTo>
                  <a:pt x="562423" y="550859"/>
                </a:lnTo>
                <a:lnTo>
                  <a:pt x="540346" y="545603"/>
                </a:lnTo>
                <a:lnTo>
                  <a:pt x="520372" y="544026"/>
                </a:lnTo>
                <a:lnTo>
                  <a:pt x="500924" y="544026"/>
                </a:lnTo>
                <a:lnTo>
                  <a:pt x="483052" y="545603"/>
                </a:lnTo>
                <a:lnTo>
                  <a:pt x="468134" y="548400"/>
                </a:lnTo>
                <a:lnTo>
                  <a:pt x="460451" y="550859"/>
                </a:lnTo>
                <a:lnTo>
                  <a:pt x="448361" y="555064"/>
                </a:lnTo>
                <a:lnTo>
                  <a:pt x="437323" y="559269"/>
                </a:lnTo>
                <a:lnTo>
                  <a:pt x="428913" y="563474"/>
                </a:lnTo>
                <a:lnTo>
                  <a:pt x="421554" y="567679"/>
                </a:lnTo>
                <a:lnTo>
                  <a:pt x="416298" y="570832"/>
                </a:lnTo>
                <a:lnTo>
                  <a:pt x="412093" y="573461"/>
                </a:lnTo>
                <a:lnTo>
                  <a:pt x="410516" y="575037"/>
                </a:lnTo>
                <a:lnTo>
                  <a:pt x="391593" y="587127"/>
                </a:lnTo>
                <a:lnTo>
                  <a:pt x="373196" y="596588"/>
                </a:lnTo>
                <a:lnTo>
                  <a:pt x="355325" y="602896"/>
                </a:lnTo>
                <a:lnTo>
                  <a:pt x="352465" y="603789"/>
                </a:lnTo>
                <a:lnTo>
                  <a:pt x="349542" y="604999"/>
                </a:lnTo>
                <a:lnTo>
                  <a:pt x="346529" y="605644"/>
                </a:lnTo>
                <a:lnTo>
                  <a:pt x="338505" y="608152"/>
                </a:lnTo>
                <a:lnTo>
                  <a:pt x="330802" y="608897"/>
                </a:lnTo>
                <a:lnTo>
                  <a:pt x="320633" y="610781"/>
                </a:lnTo>
                <a:lnTo>
                  <a:pt x="306967" y="611306"/>
                </a:lnTo>
                <a:lnTo>
                  <a:pt x="295403" y="610781"/>
                </a:lnTo>
                <a:lnTo>
                  <a:pt x="283313" y="609204"/>
                </a:lnTo>
                <a:lnTo>
                  <a:pt x="273326" y="606576"/>
                </a:lnTo>
                <a:lnTo>
                  <a:pt x="271516" y="605872"/>
                </a:lnTo>
                <a:lnTo>
                  <a:pt x="266493" y="604998"/>
                </a:lnTo>
                <a:lnTo>
                  <a:pt x="255459" y="600795"/>
                </a:lnTo>
                <a:lnTo>
                  <a:pt x="255455" y="600794"/>
                </a:lnTo>
                <a:lnTo>
                  <a:pt x="255451" y="600792"/>
                </a:lnTo>
                <a:lnTo>
                  <a:pt x="245468" y="597114"/>
                </a:lnTo>
                <a:lnTo>
                  <a:pt x="237058" y="592909"/>
                </a:lnTo>
                <a:lnTo>
                  <a:pt x="230225" y="589755"/>
                </a:lnTo>
                <a:lnTo>
                  <a:pt x="224969" y="586076"/>
                </a:lnTo>
                <a:lnTo>
                  <a:pt x="221815" y="583447"/>
                </a:lnTo>
                <a:lnTo>
                  <a:pt x="220238" y="582922"/>
                </a:lnTo>
                <a:lnTo>
                  <a:pt x="199739" y="570307"/>
                </a:lnTo>
                <a:lnTo>
                  <a:pt x="179239" y="560845"/>
                </a:lnTo>
                <a:lnTo>
                  <a:pt x="164348" y="555613"/>
                </a:lnTo>
                <a:lnTo>
                  <a:pt x="152432" y="552436"/>
                </a:lnTo>
                <a:lnTo>
                  <a:pt x="138240" y="549808"/>
                </a:lnTo>
                <a:lnTo>
                  <a:pt x="123522" y="548231"/>
                </a:lnTo>
                <a:lnTo>
                  <a:pt x="109330" y="548231"/>
                </a:lnTo>
                <a:lnTo>
                  <a:pt x="95664" y="548757"/>
                </a:lnTo>
                <a:lnTo>
                  <a:pt x="83049" y="550859"/>
                </a:lnTo>
                <a:lnTo>
                  <a:pt x="73187" y="552574"/>
                </a:lnTo>
                <a:lnTo>
                  <a:pt x="64652" y="555064"/>
                </a:lnTo>
                <a:lnTo>
                  <a:pt x="52563" y="559269"/>
                </a:lnTo>
                <a:lnTo>
                  <a:pt x="41524" y="563474"/>
                </a:lnTo>
                <a:lnTo>
                  <a:pt x="33114" y="567679"/>
                </a:lnTo>
                <a:lnTo>
                  <a:pt x="25230" y="571884"/>
                </a:lnTo>
                <a:lnTo>
                  <a:pt x="20499" y="575037"/>
                </a:lnTo>
                <a:lnTo>
                  <a:pt x="16294" y="577666"/>
                </a:lnTo>
                <a:lnTo>
                  <a:pt x="14717" y="578717"/>
                </a:lnTo>
                <a:lnTo>
                  <a:pt x="0" y="560845"/>
                </a:lnTo>
                <a:lnTo>
                  <a:pt x="1577" y="559794"/>
                </a:lnTo>
                <a:lnTo>
                  <a:pt x="5256" y="557166"/>
                </a:lnTo>
                <a:lnTo>
                  <a:pt x="11038" y="552961"/>
                </a:lnTo>
                <a:lnTo>
                  <a:pt x="18922" y="548756"/>
                </a:lnTo>
                <a:lnTo>
                  <a:pt x="23653" y="546515"/>
                </a:lnTo>
                <a:lnTo>
                  <a:pt x="23653" y="480425"/>
                </a:lnTo>
                <a:lnTo>
                  <a:pt x="155463" y="480425"/>
                </a:lnTo>
                <a:lnTo>
                  <a:pt x="126151" y="334825"/>
                </a:lnTo>
                <a:lnTo>
                  <a:pt x="35743" y="334825"/>
                </a:lnTo>
                <a:close/>
                <a:moveTo>
                  <a:pt x="392180" y="285294"/>
                </a:moveTo>
                <a:lnTo>
                  <a:pt x="391068" y="285942"/>
                </a:lnTo>
                <a:lnTo>
                  <a:pt x="384761" y="287519"/>
                </a:lnTo>
                <a:lnTo>
                  <a:pt x="381607" y="287519"/>
                </a:lnTo>
                <a:lnTo>
                  <a:pt x="374774" y="286468"/>
                </a:lnTo>
                <a:lnTo>
                  <a:pt x="371956" y="285818"/>
                </a:lnTo>
                <a:lnTo>
                  <a:pt x="327694" y="322210"/>
                </a:lnTo>
                <a:lnTo>
                  <a:pt x="436413" y="322210"/>
                </a:lnTo>
                <a:close/>
                <a:moveTo>
                  <a:pt x="734566" y="196725"/>
                </a:moveTo>
                <a:lnTo>
                  <a:pt x="690654" y="216383"/>
                </a:lnTo>
                <a:lnTo>
                  <a:pt x="760099" y="251811"/>
                </a:lnTo>
                <a:close/>
                <a:moveTo>
                  <a:pt x="625147" y="151317"/>
                </a:moveTo>
                <a:lnTo>
                  <a:pt x="578800" y="159320"/>
                </a:lnTo>
                <a:lnTo>
                  <a:pt x="651775" y="196548"/>
                </a:lnTo>
                <a:close/>
                <a:moveTo>
                  <a:pt x="706970" y="137189"/>
                </a:moveTo>
                <a:lnTo>
                  <a:pt x="637617" y="149164"/>
                </a:lnTo>
                <a:lnTo>
                  <a:pt x="672069" y="206902"/>
                </a:lnTo>
                <a:lnTo>
                  <a:pt x="677207" y="209522"/>
                </a:lnTo>
                <a:lnTo>
                  <a:pt x="729695" y="186217"/>
                </a:lnTo>
                <a:close/>
                <a:moveTo>
                  <a:pt x="718402" y="133474"/>
                </a:moveTo>
                <a:lnTo>
                  <a:pt x="740550" y="181397"/>
                </a:lnTo>
                <a:lnTo>
                  <a:pt x="795738" y="156893"/>
                </a:lnTo>
                <a:close/>
                <a:moveTo>
                  <a:pt x="527424" y="108542"/>
                </a:moveTo>
                <a:lnTo>
                  <a:pt x="492743" y="115417"/>
                </a:lnTo>
                <a:lnTo>
                  <a:pt x="549719" y="144484"/>
                </a:lnTo>
                <a:close/>
                <a:moveTo>
                  <a:pt x="608374" y="100157"/>
                </a:moveTo>
                <a:lnTo>
                  <a:pt x="630807" y="137751"/>
                </a:lnTo>
                <a:lnTo>
                  <a:pt x="695756" y="126617"/>
                </a:lnTo>
                <a:close/>
                <a:moveTo>
                  <a:pt x="592384" y="95664"/>
                </a:moveTo>
                <a:lnTo>
                  <a:pt x="539867" y="106075"/>
                </a:lnTo>
                <a:lnTo>
                  <a:pt x="566627" y="148753"/>
                </a:lnTo>
                <a:lnTo>
                  <a:pt x="618412" y="139876"/>
                </a:lnTo>
                <a:close/>
                <a:moveTo>
                  <a:pt x="438507" y="74146"/>
                </a:moveTo>
                <a:lnTo>
                  <a:pt x="418308" y="77444"/>
                </a:lnTo>
                <a:lnTo>
                  <a:pt x="455576" y="96456"/>
                </a:lnTo>
                <a:close/>
                <a:moveTo>
                  <a:pt x="519230" y="73163"/>
                </a:moveTo>
                <a:lnTo>
                  <a:pt x="533091" y="95268"/>
                </a:lnTo>
                <a:lnTo>
                  <a:pt x="569594" y="88414"/>
                </a:lnTo>
                <a:close/>
                <a:moveTo>
                  <a:pt x="493061" y="65239"/>
                </a:moveTo>
                <a:lnTo>
                  <a:pt x="451927" y="71955"/>
                </a:lnTo>
                <a:lnTo>
                  <a:pt x="477797" y="105651"/>
                </a:lnTo>
                <a:lnTo>
                  <a:pt x="520641" y="97606"/>
                </a:lnTo>
                <a:lnTo>
                  <a:pt x="502298" y="68036"/>
                </a:lnTo>
                <a:close/>
                <a:moveTo>
                  <a:pt x="432749" y="46976"/>
                </a:moveTo>
                <a:lnTo>
                  <a:pt x="443842" y="61425"/>
                </a:lnTo>
                <a:lnTo>
                  <a:pt x="467785" y="57585"/>
                </a:lnTo>
                <a:close/>
                <a:moveTo>
                  <a:pt x="380029" y="31012"/>
                </a:moveTo>
                <a:lnTo>
                  <a:pt x="370568" y="53088"/>
                </a:lnTo>
                <a:lnTo>
                  <a:pt x="400527" y="68372"/>
                </a:lnTo>
                <a:lnTo>
                  <a:pt x="430422" y="63578"/>
                </a:lnTo>
                <a:lnTo>
                  <a:pt x="413189" y="41053"/>
                </a:lnTo>
                <a:close/>
                <a:moveTo>
                  <a:pt x="364786" y="0"/>
                </a:moveTo>
                <a:lnTo>
                  <a:pt x="810518" y="134561"/>
                </a:lnTo>
                <a:lnTo>
                  <a:pt x="810518" y="150330"/>
                </a:lnTo>
                <a:lnTo>
                  <a:pt x="810519" y="150329"/>
                </a:lnTo>
                <a:lnTo>
                  <a:pt x="814724" y="160842"/>
                </a:lnTo>
                <a:lnTo>
                  <a:pt x="745394" y="191878"/>
                </a:lnTo>
                <a:lnTo>
                  <a:pt x="774776" y="255456"/>
                </a:lnTo>
                <a:lnTo>
                  <a:pt x="770465" y="257099"/>
                </a:lnTo>
                <a:lnTo>
                  <a:pt x="810518" y="277532"/>
                </a:lnTo>
                <a:lnTo>
                  <a:pt x="810518" y="305916"/>
                </a:lnTo>
                <a:lnTo>
                  <a:pt x="384760" y="89725"/>
                </a:lnTo>
                <a:lnTo>
                  <a:pt x="384760" y="151855"/>
                </a:lnTo>
                <a:lnTo>
                  <a:pt x="388439" y="152958"/>
                </a:lnTo>
                <a:lnTo>
                  <a:pt x="392644" y="155586"/>
                </a:lnTo>
                <a:lnTo>
                  <a:pt x="396849" y="158740"/>
                </a:lnTo>
                <a:lnTo>
                  <a:pt x="400003" y="162945"/>
                </a:lnTo>
                <a:lnTo>
                  <a:pt x="402631" y="167150"/>
                </a:lnTo>
                <a:lnTo>
                  <a:pt x="404208" y="172406"/>
                </a:lnTo>
                <a:lnTo>
                  <a:pt x="405259" y="178188"/>
                </a:lnTo>
                <a:lnTo>
                  <a:pt x="404208" y="184496"/>
                </a:lnTo>
                <a:lnTo>
                  <a:pt x="402631" y="189226"/>
                </a:lnTo>
                <a:lnTo>
                  <a:pt x="400003" y="193431"/>
                </a:lnTo>
                <a:lnTo>
                  <a:pt x="396849" y="197636"/>
                </a:lnTo>
                <a:lnTo>
                  <a:pt x="392644" y="201316"/>
                </a:lnTo>
                <a:lnTo>
                  <a:pt x="388439" y="203944"/>
                </a:lnTo>
                <a:lnTo>
                  <a:pt x="387213" y="204312"/>
                </a:lnTo>
                <a:lnTo>
                  <a:pt x="386863" y="215508"/>
                </a:lnTo>
                <a:lnTo>
                  <a:pt x="381607" y="227598"/>
                </a:lnTo>
                <a:lnTo>
                  <a:pt x="376351" y="234956"/>
                </a:lnTo>
                <a:lnTo>
                  <a:pt x="373197" y="237585"/>
                </a:lnTo>
                <a:lnTo>
                  <a:pt x="368992" y="241264"/>
                </a:lnTo>
                <a:lnTo>
                  <a:pt x="366364" y="244418"/>
                </a:lnTo>
                <a:lnTo>
                  <a:pt x="364787" y="248623"/>
                </a:lnTo>
                <a:lnTo>
                  <a:pt x="363735" y="252828"/>
                </a:lnTo>
                <a:lnTo>
                  <a:pt x="363735" y="255982"/>
                </a:lnTo>
                <a:lnTo>
                  <a:pt x="365312" y="259661"/>
                </a:lnTo>
                <a:lnTo>
                  <a:pt x="366364" y="262815"/>
                </a:lnTo>
                <a:lnTo>
                  <a:pt x="368992" y="265443"/>
                </a:lnTo>
                <a:lnTo>
                  <a:pt x="371620" y="268071"/>
                </a:lnTo>
                <a:lnTo>
                  <a:pt x="374774" y="269122"/>
                </a:lnTo>
                <a:lnTo>
                  <a:pt x="377927" y="270699"/>
                </a:lnTo>
                <a:lnTo>
                  <a:pt x="381607" y="270699"/>
                </a:lnTo>
                <a:lnTo>
                  <a:pt x="382658" y="270699"/>
                </a:lnTo>
                <a:lnTo>
                  <a:pt x="385812" y="269648"/>
                </a:lnTo>
                <a:lnTo>
                  <a:pt x="388966" y="268071"/>
                </a:lnTo>
                <a:lnTo>
                  <a:pt x="392645" y="265443"/>
                </a:lnTo>
                <a:lnTo>
                  <a:pt x="395273" y="262289"/>
                </a:lnTo>
                <a:lnTo>
                  <a:pt x="395799" y="258084"/>
                </a:lnTo>
                <a:lnTo>
                  <a:pt x="396850" y="252828"/>
                </a:lnTo>
                <a:lnTo>
                  <a:pt x="396850" y="247572"/>
                </a:lnTo>
                <a:lnTo>
                  <a:pt x="397376" y="244418"/>
                </a:lnTo>
                <a:lnTo>
                  <a:pt x="399478" y="241790"/>
                </a:lnTo>
                <a:lnTo>
                  <a:pt x="401055" y="240213"/>
                </a:lnTo>
                <a:lnTo>
                  <a:pt x="404209" y="239162"/>
                </a:lnTo>
                <a:lnTo>
                  <a:pt x="407888" y="239162"/>
                </a:lnTo>
                <a:lnTo>
                  <a:pt x="411042" y="241264"/>
                </a:lnTo>
                <a:lnTo>
                  <a:pt x="412619" y="243367"/>
                </a:lnTo>
                <a:lnTo>
                  <a:pt x="413670" y="247046"/>
                </a:lnTo>
                <a:lnTo>
                  <a:pt x="413670" y="255456"/>
                </a:lnTo>
                <a:lnTo>
                  <a:pt x="412093" y="262815"/>
                </a:lnTo>
                <a:lnTo>
                  <a:pt x="409465" y="270699"/>
                </a:lnTo>
                <a:lnTo>
                  <a:pt x="406711" y="274486"/>
                </a:lnTo>
                <a:lnTo>
                  <a:pt x="464754" y="322210"/>
                </a:lnTo>
                <a:lnTo>
                  <a:pt x="520897" y="322210"/>
                </a:lnTo>
                <a:lnTo>
                  <a:pt x="520897" y="424708"/>
                </a:lnTo>
                <a:lnTo>
                  <a:pt x="238635" y="424708"/>
                </a:lnTo>
                <a:lnTo>
                  <a:pt x="238635" y="322210"/>
                </a:lnTo>
                <a:lnTo>
                  <a:pt x="299973" y="322210"/>
                </a:lnTo>
                <a:lnTo>
                  <a:pt x="355709" y="276041"/>
                </a:lnTo>
                <a:lnTo>
                  <a:pt x="352697" y="272276"/>
                </a:lnTo>
                <a:lnTo>
                  <a:pt x="349543" y="266494"/>
                </a:lnTo>
                <a:lnTo>
                  <a:pt x="347966" y="259661"/>
                </a:lnTo>
                <a:lnTo>
                  <a:pt x="346915" y="252828"/>
                </a:lnTo>
                <a:lnTo>
                  <a:pt x="347966" y="244418"/>
                </a:lnTo>
                <a:lnTo>
                  <a:pt x="352172" y="236008"/>
                </a:lnTo>
                <a:lnTo>
                  <a:pt x="356902" y="228123"/>
                </a:lnTo>
                <a:lnTo>
                  <a:pt x="363735" y="223393"/>
                </a:lnTo>
                <a:lnTo>
                  <a:pt x="365312" y="221290"/>
                </a:lnTo>
                <a:lnTo>
                  <a:pt x="368992" y="218136"/>
                </a:lnTo>
                <a:lnTo>
                  <a:pt x="370569" y="211303"/>
                </a:lnTo>
                <a:lnTo>
                  <a:pt x="370569" y="205206"/>
                </a:lnTo>
                <a:lnTo>
                  <a:pt x="366363" y="203944"/>
                </a:lnTo>
                <a:lnTo>
                  <a:pt x="362158" y="201316"/>
                </a:lnTo>
                <a:lnTo>
                  <a:pt x="357953" y="197636"/>
                </a:lnTo>
                <a:lnTo>
                  <a:pt x="354273" y="193431"/>
                </a:lnTo>
                <a:lnTo>
                  <a:pt x="352171" y="189226"/>
                </a:lnTo>
                <a:lnTo>
                  <a:pt x="351120" y="184496"/>
                </a:lnTo>
                <a:lnTo>
                  <a:pt x="350068" y="178188"/>
                </a:lnTo>
                <a:lnTo>
                  <a:pt x="351120" y="172406"/>
                </a:lnTo>
                <a:lnTo>
                  <a:pt x="352171" y="167150"/>
                </a:lnTo>
                <a:lnTo>
                  <a:pt x="354273" y="162945"/>
                </a:lnTo>
                <a:lnTo>
                  <a:pt x="357953" y="158740"/>
                </a:lnTo>
                <a:lnTo>
                  <a:pt x="362158" y="155586"/>
                </a:lnTo>
                <a:lnTo>
                  <a:pt x="366363" y="152958"/>
                </a:lnTo>
                <a:lnTo>
                  <a:pt x="367894" y="152499"/>
                </a:lnTo>
                <a:lnTo>
                  <a:pt x="367450" y="80935"/>
                </a:lnTo>
                <a:lnTo>
                  <a:pt x="337453" y="657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765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r>
              <a:rPr lang="en-US" dirty="0"/>
              <a:t>Why is CCC </a:t>
            </a:r>
            <a:r>
              <a:rPr lang="en-US" dirty="0" smtClean="0"/>
              <a:t>important</a:t>
            </a:r>
            <a:r>
              <a:rPr lang="en-US" dirty="0"/>
              <a:t>? – </a:t>
            </a:r>
            <a:r>
              <a:rPr lang="en-US" dirty="0" smtClean="0"/>
              <a:t>CCC Catalog</a:t>
            </a:r>
            <a:endParaRPr lang="en-US" dirty="0">
              <a:solidFill>
                <a:srgbClr val="244296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86776" y="7246740"/>
            <a:ext cx="106203" cy="184666"/>
          </a:xfrm>
        </p:spPr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313496"/>
              </p:ext>
            </p:extLst>
          </p:nvPr>
        </p:nvGraphicFramePr>
        <p:xfrm>
          <a:off x="209994" y="1328374"/>
          <a:ext cx="8753032" cy="4729527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91314"/>
                <a:gridCol w="1514336"/>
                <a:gridCol w="347041"/>
                <a:gridCol w="1955684"/>
                <a:gridCol w="358460"/>
                <a:gridCol w="2058443"/>
                <a:gridCol w="346255"/>
                <a:gridCol w="1881499"/>
              </a:tblGrid>
              <a:tr h="9632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Electrical wires and cables</a:t>
                      </a:r>
                    </a:p>
                    <a:p>
                      <a:pPr marL="0" algn="l" defTabSz="914400" rtl="0" eaLnBrk="1" latinLnBrk="0" hangingPunct="1"/>
                      <a:endParaRPr lang="en-US" sz="14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6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Welding machines (incl. wire feeder and power supply)</a:t>
                      </a:r>
                      <a:endParaRPr lang="en-US" sz="14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Motor vehicles and Safety pa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Fire Fighting Equipment</a:t>
                      </a:r>
                    </a:p>
                  </a:txBody>
                  <a:tcPr/>
                </a:tc>
              </a:tr>
              <a:tr h="146665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2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Switches for circuits, Installation protective and connection devices</a:t>
                      </a:r>
                      <a:endParaRPr lang="en-US" sz="14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Household and similar electrical applian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Motor vehicle </a:t>
                      </a:r>
                      <a:r>
                        <a:rPr lang="en-US" sz="1400" b="0" kern="1200" dirty="0" err="1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tyres</a:t>
                      </a:r>
                      <a:endParaRPr lang="en-US" sz="1400" b="0" kern="1200" dirty="0" smtClean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Detectors for Intruder Alarm Systems</a:t>
                      </a:r>
                    </a:p>
                  </a:txBody>
                  <a:tcPr/>
                </a:tc>
              </a:tr>
              <a:tr h="96329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3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Low-voltage Electrical Appar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Audio and video appar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Safety G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Wireless Local Area Network (WLAN) systems</a:t>
                      </a:r>
                    </a:p>
                  </a:txBody>
                  <a:tcPr/>
                </a:tc>
              </a:tr>
              <a:tr h="78221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4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Small Power mot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Information technology equip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Agricultural Machine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Architectural decorative and fitting materials</a:t>
                      </a:r>
                    </a:p>
                  </a:txBody>
                  <a:tcPr/>
                </a:tc>
              </a:tr>
              <a:tr h="5540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5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Electric t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Lighting appar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15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Telecommunication terminal equipment</a:t>
                      </a:r>
                      <a:endParaRPr lang="en-US" sz="14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20</a:t>
                      </a:r>
                      <a:endParaRPr lang="en-US" sz="11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0" kern="1200" dirty="0" smtClean="0">
                          <a:solidFill>
                            <a:schemeClr val="tx2"/>
                          </a:solidFill>
                          <a:latin typeface="+mj-lt"/>
                          <a:ea typeface="+mj-ea"/>
                          <a:cs typeface="+mj-cs"/>
                        </a:rPr>
                        <a:t>Toys</a:t>
                      </a:r>
                      <a:endParaRPr lang="en-US" sz="1400" b="0" kern="1200" dirty="0">
                        <a:solidFill>
                          <a:schemeClr val="tx2"/>
                        </a:solidFill>
                        <a:latin typeface="+mj-lt"/>
                        <a:ea typeface="+mj-ea"/>
                        <a:cs typeface="+mj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1692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r>
              <a:rPr lang="en-US" dirty="0"/>
              <a:t>Why is CCC </a:t>
            </a:r>
            <a:r>
              <a:rPr lang="en-US" dirty="0" smtClean="0"/>
              <a:t>important? – CCC Sample </a:t>
            </a:r>
            <a:endParaRPr lang="en-US" dirty="0">
              <a:solidFill>
                <a:srgbClr val="244296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986776" y="7246740"/>
            <a:ext cx="106203" cy="184666"/>
          </a:xfrm>
        </p:spPr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7587" y="981075"/>
            <a:ext cx="3552825" cy="51054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48693" y="985837"/>
            <a:ext cx="3733800" cy="509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9675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 flipH="1">
            <a:off x="5326107" y="3375026"/>
            <a:ext cx="3549367" cy="2054822"/>
            <a:chOff x="4466598" y="3375026"/>
            <a:chExt cx="3549367" cy="2054822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66598" y="5324976"/>
              <a:ext cx="3549367" cy="104872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66598" y="3375026"/>
              <a:ext cx="3549367" cy="104872"/>
            </a:xfrm>
            <a:prstGeom prst="rect">
              <a:avLst/>
            </a:prstGeom>
          </p:spPr>
        </p:pic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4144" y="5324976"/>
            <a:ext cx="3549367" cy="10487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84144" y="3375026"/>
            <a:ext cx="3549367" cy="104872"/>
          </a:xfrm>
          <a:prstGeom prst="rect">
            <a:avLst/>
          </a:prstGeom>
        </p:spPr>
      </p:pic>
      <p:sp>
        <p:nvSpPr>
          <p:cNvPr id="77" name="Rectangle 76"/>
          <p:cNvSpPr/>
          <p:nvPr/>
        </p:nvSpPr>
        <p:spPr bwMode="auto">
          <a:xfrm>
            <a:off x="4628740" y="1528756"/>
            <a:ext cx="4157142" cy="18526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965960" tIns="13716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oods used for exhibition</a:t>
            </a: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emporary </a:t>
            </a:r>
            <a:r>
              <a:rPr lang="en-I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mport(repair, final destination </a:t>
            </a:r>
            <a:r>
              <a:rPr lang="en-IN" sz="1400" dirty="0" err="1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ha</a:t>
            </a:r>
            <a:r>
              <a:rPr lang="en-I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) </a:t>
            </a: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turned cargo exported from China</a:t>
            </a: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ample for CCC test</a:t>
            </a: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360360" y="3482119"/>
            <a:ext cx="4157142" cy="18526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60" tIns="9144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US" altLang="zh-C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Upon </a:t>
            </a:r>
            <a:r>
              <a:rPr lang="en-US" altLang="zh-C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IQ examination </a:t>
            </a: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US" altLang="zh-C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  and identification </a:t>
            </a: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US" altLang="zh-C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zh-C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  of specifications</a:t>
            </a:r>
            <a:endParaRPr lang="en-US" altLang="zh-C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 smtClean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628740" y="3482119"/>
            <a:ext cx="4157142" cy="18526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965960" tIns="13716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ducts for research </a:t>
            </a:r>
            <a:r>
              <a:rPr lang="en-I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urposes</a:t>
            </a: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Repairing</a:t>
            </a:r>
            <a:r>
              <a:rPr lang="en-I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products for </a:t>
            </a: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nd users</a:t>
            </a: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cessing</a:t>
            </a:r>
            <a:r>
              <a:rPr lang="en-I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trade</a:t>
            </a: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5" name="Rectangle 74"/>
          <p:cNvSpPr/>
          <p:nvPr/>
        </p:nvSpPr>
        <p:spPr bwMode="auto">
          <a:xfrm>
            <a:off x="360360" y="1528756"/>
            <a:ext cx="4157142" cy="18526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37160" tIns="9144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onation among governments</a:t>
            </a: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IN" sz="1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ersonal </a:t>
            </a:r>
            <a:r>
              <a:rPr lang="en-IN" sz="14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belongings</a:t>
            </a: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 smtClean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 smtClean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r>
              <a:rPr lang="en-US" dirty="0" smtClean="0"/>
              <a:t>Managing CCC exemption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grpSp>
        <p:nvGrpSpPr>
          <p:cNvPr id="76" name="Group 75"/>
          <p:cNvGrpSpPr/>
          <p:nvPr/>
        </p:nvGrpSpPr>
        <p:grpSpPr>
          <a:xfrm>
            <a:off x="2637322" y="1524725"/>
            <a:ext cx="3803652" cy="3810014"/>
            <a:chOff x="2670174" y="1523993"/>
            <a:chExt cx="3803652" cy="3810014"/>
          </a:xfrm>
          <a:effectLst/>
        </p:grpSpPr>
        <p:sp>
          <p:nvSpPr>
            <p:cNvPr id="8" name="Pie 7"/>
            <p:cNvSpPr/>
            <p:nvPr/>
          </p:nvSpPr>
          <p:spPr bwMode="auto">
            <a:xfrm>
              <a:off x="2670174" y="1523993"/>
              <a:ext cx="3718811" cy="3718810"/>
            </a:xfrm>
            <a:prstGeom prst="pie">
              <a:avLst>
                <a:gd name="adj1" fmla="val 10797577"/>
                <a:gd name="adj2" fmla="val 1620000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40" name="Pie 39"/>
            <p:cNvSpPr/>
            <p:nvPr/>
          </p:nvSpPr>
          <p:spPr bwMode="auto">
            <a:xfrm rot="5400000">
              <a:off x="2755014" y="1523993"/>
              <a:ext cx="3718810" cy="3718811"/>
            </a:xfrm>
            <a:prstGeom prst="pie">
              <a:avLst>
                <a:gd name="adj1" fmla="val 10802485"/>
                <a:gd name="adj2" fmla="val 16209875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43" name="Pie 42"/>
            <p:cNvSpPr>
              <a:spLocks noChangeAspect="1"/>
            </p:cNvSpPr>
            <p:nvPr/>
          </p:nvSpPr>
          <p:spPr bwMode="auto">
            <a:xfrm>
              <a:off x="2764912" y="1622266"/>
              <a:ext cx="3614175" cy="3614174"/>
            </a:xfrm>
            <a:prstGeom prst="pie">
              <a:avLst>
                <a:gd name="adj1" fmla="val 10793129"/>
                <a:gd name="adj2" fmla="val 1620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47" name="Pie 46"/>
            <p:cNvSpPr>
              <a:spLocks noChangeAspect="1"/>
            </p:cNvSpPr>
            <p:nvPr/>
          </p:nvSpPr>
          <p:spPr bwMode="auto">
            <a:xfrm flipH="1">
              <a:off x="2774810" y="1614550"/>
              <a:ext cx="3614175" cy="3614174"/>
            </a:xfrm>
            <a:prstGeom prst="pie">
              <a:avLst>
                <a:gd name="adj1" fmla="val 10782881"/>
                <a:gd name="adj2" fmla="val 16200000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39" name="Pie 38"/>
            <p:cNvSpPr/>
            <p:nvPr/>
          </p:nvSpPr>
          <p:spPr bwMode="auto">
            <a:xfrm rot="10800000">
              <a:off x="2755015" y="1615196"/>
              <a:ext cx="3718811" cy="3718810"/>
            </a:xfrm>
            <a:prstGeom prst="pie">
              <a:avLst>
                <a:gd name="adj1" fmla="val 10792659"/>
                <a:gd name="adj2" fmla="val 1620000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41" name="Pie 40"/>
            <p:cNvSpPr/>
            <p:nvPr/>
          </p:nvSpPr>
          <p:spPr bwMode="auto">
            <a:xfrm rot="16200000">
              <a:off x="2670176" y="1615196"/>
              <a:ext cx="3718810" cy="3718811"/>
            </a:xfrm>
            <a:prstGeom prst="pie">
              <a:avLst>
                <a:gd name="adj1" fmla="val 10782881"/>
                <a:gd name="adj2" fmla="val 16200000"/>
              </a:avLst>
            </a:prstGeom>
            <a:solidFill>
              <a:schemeClr val="tx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60" name="Pie 59"/>
            <p:cNvSpPr>
              <a:spLocks noChangeAspect="1"/>
            </p:cNvSpPr>
            <p:nvPr/>
          </p:nvSpPr>
          <p:spPr bwMode="auto">
            <a:xfrm flipV="1">
              <a:off x="2764912" y="1622266"/>
              <a:ext cx="3614175" cy="3614174"/>
            </a:xfrm>
            <a:prstGeom prst="pie">
              <a:avLst>
                <a:gd name="adj1" fmla="val 10792964"/>
                <a:gd name="adj2" fmla="val 16215146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62" name="Pie 61"/>
            <p:cNvSpPr>
              <a:spLocks noChangeAspect="1"/>
            </p:cNvSpPr>
            <p:nvPr/>
          </p:nvSpPr>
          <p:spPr bwMode="auto">
            <a:xfrm flipH="1" flipV="1">
              <a:off x="2774810" y="1621590"/>
              <a:ext cx="3614175" cy="3614174"/>
            </a:xfrm>
            <a:prstGeom prst="pie">
              <a:avLst>
                <a:gd name="adj1" fmla="val 10792852"/>
                <a:gd name="adj2" fmla="val 16205043"/>
              </a:avLst>
            </a:prstGeom>
            <a:solidFill>
              <a:schemeClr val="tx2">
                <a:lumMod val="20000"/>
                <a:lumOff val="80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2764912" y="1622266"/>
              <a:ext cx="3614175" cy="3614174"/>
              <a:chOff x="6005194" y="1500981"/>
              <a:chExt cx="3246120" cy="3246120"/>
            </a:xfrm>
          </p:grpSpPr>
          <p:cxnSp>
            <p:nvCxnSpPr>
              <p:cNvPr id="64" name="Straight Connector 63"/>
              <p:cNvCxnSpPr/>
              <p:nvPr/>
            </p:nvCxnSpPr>
            <p:spPr bwMode="auto">
              <a:xfrm>
                <a:off x="7628254" y="1500981"/>
                <a:ext cx="0" cy="3246120"/>
              </a:xfrm>
              <a:prstGeom prst="line">
                <a:avLst/>
              </a:prstGeom>
              <a:solidFill>
                <a:schemeClr val="accent1"/>
              </a:solidFill>
              <a:ln w="76200" cap="rnd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sm"/>
              </a:ln>
              <a:effectLst/>
            </p:spPr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6005194" y="3124041"/>
                <a:ext cx="3246120" cy="0"/>
              </a:xfrm>
              <a:prstGeom prst="line">
                <a:avLst/>
              </a:prstGeom>
              <a:solidFill>
                <a:schemeClr val="accent1"/>
              </a:solidFill>
              <a:ln w="76200" cap="rnd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sm"/>
              </a:ln>
              <a:effectLst/>
            </p:spPr>
          </p:cxnSp>
        </p:grpSp>
        <p:sp>
          <p:nvSpPr>
            <p:cNvPr id="7" name="Oval 6"/>
            <p:cNvSpPr/>
            <p:nvPr/>
          </p:nvSpPr>
          <p:spPr bwMode="auto">
            <a:xfrm>
              <a:off x="3914491" y="2771845"/>
              <a:ext cx="1315017" cy="1315017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5613">
                <a:spcBef>
                  <a:spcPts val="0"/>
                </a:spcBef>
                <a:spcAft>
                  <a:spcPts val="0"/>
                </a:spcAft>
                <a:tabLst>
                  <a:tab pos="190500" algn="l"/>
                  <a:tab pos="623888" algn="l"/>
                  <a:tab pos="5207000" algn="r"/>
                  <a:tab pos="5778500" algn="r"/>
                  <a:tab pos="6172200" algn="r"/>
                  <a:tab pos="6865938" algn="l"/>
                  <a:tab pos="7024688" algn="l"/>
                  <a:tab pos="7489825" algn="r"/>
                  <a:tab pos="7546975" algn="r"/>
                  <a:tab pos="8178800" algn="r"/>
                  <a:tab pos="8288338" algn="r"/>
                </a:tabLst>
              </a:pPr>
              <a:endParaRPr lang="en-IN" dirty="0">
                <a:latin typeface="+mn-lt"/>
              </a:endParaRPr>
            </a:p>
          </p:txBody>
        </p:sp>
        <p:sp>
          <p:nvSpPr>
            <p:cNvPr id="10" name="Arc 9"/>
            <p:cNvSpPr/>
            <p:nvPr/>
          </p:nvSpPr>
          <p:spPr bwMode="auto">
            <a:xfrm>
              <a:off x="4093892" y="2951245"/>
              <a:ext cx="956216" cy="956216"/>
            </a:xfrm>
            <a:prstGeom prst="arc">
              <a:avLst>
                <a:gd name="adj1" fmla="val 16428843"/>
                <a:gd name="adj2" fmla="val 15709569"/>
              </a:avLst>
            </a:prstGeom>
            <a:noFill/>
            <a:ln w="60325" cap="sq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triangle" w="med" len="sm"/>
            </a:ln>
            <a:effectLst/>
          </p:spPr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235404" y="2248540"/>
              <a:ext cx="1040172" cy="44919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lvl="1" algn="ctr">
                <a:spcBef>
                  <a:spcPts val="400"/>
                </a:spcBef>
                <a:buClr>
                  <a:schemeClr val="tx2"/>
                </a:buClr>
                <a:defRPr/>
              </a:pPr>
              <a:r>
                <a:rPr lang="en-IN" sz="12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Others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4688574" y="2248540"/>
              <a:ext cx="1243192" cy="44919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lvl="1" algn="ctr">
                <a:spcBef>
                  <a:spcPts val="400"/>
                </a:spcBef>
                <a:buClr>
                  <a:schemeClr val="tx2"/>
                </a:buClr>
                <a:defRPr/>
              </a:pPr>
              <a:r>
                <a:rPr lang="en-IN" sz="12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Products in the </a:t>
              </a:r>
              <a:r>
                <a:rPr lang="en-IN" sz="1200" dirty="0" err="1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catalog</a:t>
              </a:r>
              <a:r>
                <a:rPr lang="en-IN" sz="12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, but no certificate needed </a:t>
              </a: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3133362" y="4310770"/>
              <a:ext cx="1383019" cy="43890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lvl="1" algn="ctr">
                <a:spcBef>
                  <a:spcPts val="400"/>
                </a:spcBef>
                <a:buClr>
                  <a:schemeClr val="tx2"/>
                </a:buClr>
                <a:defRPr/>
              </a:pPr>
              <a:r>
                <a:rPr lang="en-IN" sz="12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HS code in the </a:t>
              </a:r>
              <a:r>
                <a:rPr lang="en-IN" sz="1200" dirty="0" err="1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catalog</a:t>
              </a:r>
              <a:r>
                <a:rPr lang="en-IN" sz="12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, but CCC standard doesn’t apply to product specifications </a:t>
              </a:r>
            </a:p>
            <a:p>
              <a:pPr marL="0" lvl="1" algn="ctr">
                <a:spcBef>
                  <a:spcPts val="400"/>
                </a:spcBef>
                <a:buClr>
                  <a:schemeClr val="tx2"/>
                </a:buClr>
                <a:defRPr/>
              </a:pPr>
              <a:r>
                <a:rPr lang="en-IN" sz="1200" b="1" dirty="0" smtClean="0">
                  <a:solidFill>
                    <a:schemeClr val="tx1"/>
                  </a:solidFill>
                  <a:cs typeface="Calibri" panose="020F0502020204030204" pitchFamily="34" charset="0"/>
                </a:rPr>
                <a:t> </a:t>
              </a:r>
              <a:endParaRPr lang="en-IN" sz="1200" b="1" dirty="0">
                <a:solidFill>
                  <a:schemeClr val="tx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597643" y="4115775"/>
              <a:ext cx="1425054" cy="449195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lvl="1" algn="ctr">
                <a:spcBef>
                  <a:spcPts val="400"/>
                </a:spcBef>
                <a:buClr>
                  <a:schemeClr val="tx2"/>
                </a:buClr>
                <a:defRPr/>
              </a:pPr>
              <a:r>
                <a:rPr lang="en-IN" sz="1200" dirty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Exemption from CCC upon application, with approval by local CIQ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65858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ing CCC </a:t>
            </a:r>
            <a:r>
              <a:rPr lang="en-US" dirty="0" smtClean="0"/>
              <a:t>exemptions -  Case stud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65126" y="1019331"/>
            <a:ext cx="4986364" cy="2831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 </a:t>
            </a:r>
            <a:r>
              <a:rPr lang="en-US" dirty="0"/>
              <a:t>but with max rated power 2.2 KW </a:t>
            </a:r>
          </a:p>
          <a:p>
            <a:pPr marL="171450" lvl="1" indent="-171450" defTabSz="455613"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zh-CN" altLang="en-US" sz="1400" dirty="0" smtClean="0">
                <a:solidFill>
                  <a:schemeClr val="tx2"/>
                </a:solidFill>
              </a:rPr>
              <a:t>8501520000</a:t>
            </a:r>
            <a:r>
              <a:rPr lang="en-US" altLang="zh-CN" sz="1400" dirty="0">
                <a:solidFill>
                  <a:schemeClr val="tx2"/>
                </a:solidFill>
              </a:rPr>
              <a:t>(motor)</a:t>
            </a:r>
            <a:endParaRPr lang="en-IN" sz="1400" dirty="0">
              <a:solidFill>
                <a:schemeClr val="tx2"/>
              </a:solidFill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US" altLang="zh-CN" sz="1400" dirty="0" smtClean="0">
              <a:solidFill>
                <a:schemeClr val="tx2"/>
              </a:solidFill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US" altLang="zh-CN" sz="1400" dirty="0" smtClean="0">
                <a:solidFill>
                  <a:schemeClr val="tx2"/>
                </a:solidFill>
              </a:rPr>
              <a:t>CCC standard: rated voltage above 36V, direct current within 1500V and alternating current within 1000V</a:t>
            </a:r>
            <a:r>
              <a:rPr lang="zh-CN" altLang="en-US" sz="1400" dirty="0" smtClean="0">
                <a:solidFill>
                  <a:schemeClr val="tx2"/>
                </a:solidFill>
              </a:rPr>
              <a:t>：</a:t>
            </a:r>
            <a:endParaRPr lang="zh-CN" altLang="en-US" sz="1400" dirty="0">
              <a:solidFill>
                <a:schemeClr val="tx2"/>
              </a:solidFill>
            </a:endParaRPr>
          </a:p>
          <a:p>
            <a:pPr marL="342900" lvl="1" indent="-342900" defTabSz="455613">
              <a:spcBef>
                <a:spcPts val="400"/>
              </a:spcBef>
              <a:buClr>
                <a:schemeClr val="tx2"/>
              </a:buClr>
              <a:buAutoNum type="arabicPeriod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US" altLang="zh-CN" sz="1400" dirty="0" smtClean="0">
                <a:solidFill>
                  <a:schemeClr val="tx2"/>
                </a:solidFill>
              </a:rPr>
              <a:t>When the revolution comes to1500 r/min, max continuous power is within 1.1 kW</a:t>
            </a:r>
            <a:r>
              <a:rPr lang="zh-CN" altLang="en-US" sz="1400" dirty="0" smtClean="0">
                <a:solidFill>
                  <a:schemeClr val="tx2"/>
                </a:solidFill>
              </a:rPr>
              <a:t>；</a:t>
            </a:r>
            <a:endParaRPr lang="en-US" altLang="zh-CN" sz="1400" dirty="0" smtClean="0">
              <a:solidFill>
                <a:schemeClr val="tx2"/>
              </a:solidFill>
            </a:endParaRPr>
          </a:p>
          <a:p>
            <a:pPr marL="342900" lvl="1" indent="-342900" defTabSz="455613">
              <a:spcBef>
                <a:spcPts val="400"/>
              </a:spcBef>
              <a:buClr>
                <a:schemeClr val="tx2"/>
              </a:buClr>
              <a:buAutoNum type="arabicPeriod"/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r>
              <a:rPr lang="en-US" altLang="zh-CN" sz="1400" dirty="0" smtClean="0">
                <a:solidFill>
                  <a:schemeClr val="tx2"/>
                </a:solidFill>
              </a:rPr>
              <a:t>Max continuous rated power is within 1.1 kW</a:t>
            </a:r>
            <a:endParaRPr lang="zh-CN" altLang="en-US" sz="1400" dirty="0">
              <a:solidFill>
                <a:schemeClr val="tx2"/>
              </a:solidFill>
            </a:endParaRPr>
          </a:p>
          <a:p>
            <a:pPr marL="0" lvl="1" defTabSz="455613">
              <a:spcBef>
                <a:spcPts val="400"/>
              </a:spcBef>
              <a:buClr>
                <a:schemeClr val="tx2"/>
              </a:buClr>
              <a:tabLst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  <a:defRPr/>
            </a:pPr>
            <a:endParaRPr lang="en-IN" sz="1400" dirty="0" smtClean="0">
              <a:solidFill>
                <a:schemeClr val="tx2"/>
              </a:solidFill>
            </a:endParaRPr>
          </a:p>
          <a:p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036" y="1504361"/>
            <a:ext cx="2374900" cy="195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28" b="10091"/>
          <a:stretch>
            <a:fillRect/>
          </a:stretch>
        </p:blipFill>
        <p:spPr bwMode="auto">
          <a:xfrm>
            <a:off x="569594" y="4198201"/>
            <a:ext cx="3808413" cy="201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5" t="23410" r="4073" b="26483"/>
          <a:stretch>
            <a:fillRect/>
          </a:stretch>
        </p:blipFill>
        <p:spPr bwMode="auto">
          <a:xfrm>
            <a:off x="5033644" y="4198201"/>
            <a:ext cx="3840163" cy="2041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7473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289366"/>
            <a:ext cx="8410575" cy="480131"/>
          </a:xfrm>
        </p:spPr>
        <p:txBody>
          <a:bodyPr/>
          <a:lstStyle/>
          <a:p>
            <a:pPr lvl="1">
              <a:lnSpc>
                <a:spcPct val="90000"/>
              </a:lnSpc>
              <a:buClr>
                <a:srgbClr val="000000"/>
              </a:buClr>
            </a:pPr>
            <a:r>
              <a:rPr lang="en-IN" sz="3200" b="0" dirty="0">
                <a:latin typeface="+mj-lt"/>
                <a:ea typeface="+mj-ea"/>
                <a:cs typeface="+mj-cs"/>
              </a:rPr>
              <a:t>Common issues and best practice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5125" y="4581370"/>
            <a:ext cx="8421688" cy="83123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357188" y="1219701"/>
            <a:ext cx="8418512" cy="41929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37160" tIns="91440" rIns="137160" bIns="91440">
            <a:noAutofit/>
          </a:bodyPr>
          <a:lstStyle/>
          <a:p>
            <a:pPr marL="0" lvl="1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u="sng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ssues</a:t>
            </a:r>
          </a:p>
          <a:p>
            <a:pPr marL="0" lvl="1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endParaRPr lang="en-IN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ustomers </a:t>
            </a:r>
            <a:r>
              <a:rPr lang="en-IN" sz="2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an not or are not willing to share </a:t>
            </a: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duct </a:t>
            </a:r>
            <a:r>
              <a:rPr lang="en-IN" sz="2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pecifications</a:t>
            </a: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rong </a:t>
            </a:r>
            <a:r>
              <a:rPr lang="en-IN" sz="2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pecifications provided</a:t>
            </a:r>
          </a:p>
          <a:p>
            <a:pPr marL="285750" lvl="1" indent="-285750" defTabSz="455613">
              <a:spcBef>
                <a:spcPts val="600"/>
              </a:spcBef>
              <a:spcAft>
                <a:spcPts val="400"/>
              </a:spcAft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42900" algn="l"/>
                <a:tab pos="623888" algn="l"/>
                <a:tab pos="5207000" algn="r"/>
                <a:tab pos="5778500" algn="r"/>
                <a:tab pos="6172200" algn="r"/>
                <a:tab pos="6865938" algn="l"/>
                <a:tab pos="7024688" algn="l"/>
                <a:tab pos="7489825" algn="r"/>
                <a:tab pos="7546975" algn="r"/>
                <a:tab pos="8178800" algn="r"/>
                <a:tab pos="8288338" algn="r"/>
              </a:tabLst>
            </a:pPr>
            <a:r>
              <a:rPr lang="en-I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argo </a:t>
            </a:r>
            <a:r>
              <a:rPr lang="en-IN" sz="2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&amp; certificate mismatch when inspected by CIQ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6FCB3FC1-932B-41BB-A663-4AC4B8C55183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700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PL Template (Blue 1)">
  <a:themeElements>
    <a:clrScheme name="Custom 3">
      <a:dk1>
        <a:srgbClr val="000000"/>
      </a:dk1>
      <a:lt1>
        <a:srgbClr val="FFFFFF"/>
      </a:lt1>
      <a:dk2>
        <a:srgbClr val="1A468C"/>
      </a:dk2>
      <a:lt2>
        <a:srgbClr val="808080"/>
      </a:lt2>
      <a:accent1>
        <a:srgbClr val="2E3192"/>
      </a:accent1>
      <a:accent2>
        <a:srgbClr val="4263AE"/>
      </a:accent2>
      <a:accent3>
        <a:srgbClr val="FFFFFF"/>
      </a:accent3>
      <a:accent4>
        <a:srgbClr val="000000"/>
      </a:accent4>
      <a:accent5>
        <a:srgbClr val="ADADC7"/>
      </a:accent5>
      <a:accent6>
        <a:srgbClr val="3B599D"/>
      </a:accent6>
      <a:hlink>
        <a:srgbClr val="2E3192"/>
      </a:hlink>
      <a:folHlink>
        <a:srgbClr val="6E95CE"/>
      </a:folHlink>
    </a:clrScheme>
    <a:fontScheme name="Custom 4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455613" rtl="0" eaLnBrk="0" fontAlgn="base" latinLnBrk="0" hangingPunct="0">
          <a:lnSpc>
            <a:spcPct val="100000"/>
          </a:lnSpc>
          <a:spcBef>
            <a:spcPct val="10000"/>
          </a:spcBef>
          <a:spcAft>
            <a:spcPct val="10000"/>
          </a:spcAft>
          <a:buClrTx/>
          <a:buSzTx/>
          <a:buFontTx/>
          <a:buNone/>
          <a:tabLst>
            <a:tab pos="190500" algn="l"/>
            <a:tab pos="623888" algn="l"/>
            <a:tab pos="5207000" algn="r"/>
            <a:tab pos="5778500" algn="r"/>
            <a:tab pos="6172200" algn="r"/>
            <a:tab pos="6865938" algn="l"/>
            <a:tab pos="7024688" algn="l"/>
            <a:tab pos="7489825" algn="r"/>
            <a:tab pos="7546975" algn="r"/>
            <a:tab pos="8178800" algn="r"/>
            <a:tab pos="8288338" algn="r"/>
          </a:tabLst>
          <a:defRPr kumimoji="0" sz="16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bg1">
              <a:lumMod val="50000"/>
            </a:schemeClr>
          </a:solidFill>
          <a:prstDash val="solid"/>
          <a:round/>
          <a:headEnd type="none" w="med" len="med"/>
          <a:tailEnd type="none" w="med" len="sm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z="1200" dirty="0">
            <a:latin typeface="+mn-lt"/>
          </a:defRPr>
        </a:defPPr>
      </a:lstStyle>
    </a:txDef>
  </a:objectDefaults>
  <a:extraClrSchemeLst>
    <a:extraClrScheme>
      <a:clrScheme name="Tri brand 1">
        <a:dk1>
          <a:srgbClr val="000000"/>
        </a:dk1>
        <a:lt1>
          <a:srgbClr val="FFFFFF"/>
        </a:lt1>
        <a:dk2>
          <a:srgbClr val="1A468C"/>
        </a:dk2>
        <a:lt2>
          <a:srgbClr val="808080"/>
        </a:lt2>
        <a:accent1>
          <a:srgbClr val="2E3192"/>
        </a:accent1>
        <a:accent2>
          <a:srgbClr val="4263AE"/>
        </a:accent2>
        <a:accent3>
          <a:srgbClr val="FFFFFF"/>
        </a:accent3>
        <a:accent4>
          <a:srgbClr val="000000"/>
        </a:accent4>
        <a:accent5>
          <a:srgbClr val="ADADC7"/>
        </a:accent5>
        <a:accent6>
          <a:srgbClr val="3B599D"/>
        </a:accent6>
        <a:hlink>
          <a:srgbClr val="D8E2E6"/>
        </a:hlink>
        <a:folHlink>
          <a:srgbClr val="6E95C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PL Template_CB.pptx" id="{5D49A033-3480-4E6E-8B3E-65DEA428B197}" vid="{F1EBB128-DD66-444B-9121-4804350AB0F2}"/>
    </a:ext>
  </a:extLst>
</a:theme>
</file>

<file path=ppt/theme/theme2.xml><?xml version="1.0" encoding="utf-8"?>
<a:theme xmlns:a="http://schemas.openxmlformats.org/drawingml/2006/main" name="1_blank">
  <a:themeElements>
    <a:clrScheme name="Custom 2">
      <a:dk1>
        <a:srgbClr val="000000"/>
      </a:dk1>
      <a:lt1>
        <a:srgbClr val="FFFFFF"/>
      </a:lt1>
      <a:dk2>
        <a:srgbClr val="244296"/>
      </a:dk2>
      <a:lt2>
        <a:srgbClr val="FFFFFF"/>
      </a:lt2>
      <a:accent1>
        <a:srgbClr val="244296"/>
      </a:accent1>
      <a:accent2>
        <a:srgbClr val="0066CC"/>
      </a:accent2>
      <a:accent3>
        <a:srgbClr val="91B0FF"/>
      </a:accent3>
      <a:accent4>
        <a:srgbClr val="B9BAE9"/>
      </a:accent4>
      <a:accent5>
        <a:srgbClr val="58575C"/>
      </a:accent5>
      <a:accent6>
        <a:srgbClr val="F01D24"/>
      </a:accent6>
      <a:hlink>
        <a:srgbClr val="58575C"/>
      </a:hlink>
      <a:folHlink>
        <a:srgbClr val="002960"/>
      </a:folHlink>
    </a:clrScheme>
    <a:fontScheme name="SIN-XST043-20080813 Template V1.0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rgbClr val="839FE7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119063" indent="-119063">
          <a:spcBef>
            <a:spcPts val="200"/>
          </a:spcBef>
          <a:spcAft>
            <a:spcPts val="200"/>
          </a:spcAft>
          <a:buFont typeface="Arial" pitchFamily="34" charset="0"/>
          <a:buChar char="•"/>
          <a:defRPr sz="1600" b="0" dirty="0" smtClean="0">
            <a:sym typeface="Wingding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1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75000"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华文楷体" pitchFamily="2" charset="-122"/>
          </a:defRPr>
        </a:defPPr>
      </a:lstStyle>
    </a:lnDef>
  </a:objectDefaults>
  <a:extraClrSchemeLst>
    <a:extraClrScheme>
      <a:clrScheme name="SIN-XST043-20080813 Template V1.0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N-XST043-20080813 Template V1.0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N-XST043-20080813 Template V1.0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N-XST043-20080813 Template V1.0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N-XST043-20080813 Template V1.0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N-XST043-20080813 Template V1.0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N-XST043-20080813 Template V1.0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N-XST043-20080813 Template V1.0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N-XST043-20080813 Template V1.0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N-XST043-20080813 Template V1.0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IN-XST043-20080813 Template V1.0 11">
        <a:dk1>
          <a:srgbClr val="000000"/>
        </a:dk1>
        <a:lt1>
          <a:srgbClr val="FFFFFF"/>
        </a:lt1>
        <a:dk2>
          <a:srgbClr val="244296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01CE99926772C48A0B37D391D4A1A3A" ma:contentTypeVersion="15" ma:contentTypeDescription="Create a new document." ma:contentTypeScope="" ma:versionID="4ed0ecabadd4d936bf82ca41950ad9b5">
  <xsd:schema xmlns:xsd="http://www.w3.org/2001/XMLSchema" xmlns:p="http://schemas.microsoft.com/office/2006/metadata/properties" xmlns:ns2="b7a38389-5f3a-4a9e-8af4-dfdf5a6f4d78" targetNamespace="http://schemas.microsoft.com/office/2006/metadata/properties" ma:root="true" ma:fieldsID="b64cd77ef88b71d72bb7bb73774986f5" ns2:_="">
    <xsd:import namespace="b7a38389-5f3a-4a9e-8af4-dfdf5a6f4d78"/>
    <xsd:element name="properties">
      <xsd:complexType>
        <xsd:sequence>
          <xsd:element name="documentManagement">
            <xsd:complexType>
              <xsd:all>
                <xsd:element ref="ns2:Language" minOccurs="0"/>
                <xsd:element ref="ns2:Direction" minOccurs="0"/>
                <xsd:element ref="ns2:Service" minOccurs="0"/>
                <xsd:element ref="ns2:Sub_x0020_Category" minOccurs="0"/>
                <xsd:element ref="ns2:Region" minOccurs="0"/>
                <xsd:element ref="ns2:Major_x0020_Category" minOccurs="0"/>
                <xsd:element ref="ns2:Minor_x0020_Category" minOccurs="0"/>
                <xsd:element ref="ns2:Category" minOccurs="0"/>
                <xsd:element ref="ns2:Sub_x0020_Group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b7a38389-5f3a-4a9e-8af4-dfdf5a6f4d78" elementFormDefault="qualified">
    <xsd:import namespace="http://schemas.microsoft.com/office/2006/documentManagement/types"/>
    <xsd:element name="Language" ma:index="8" nillable="true" ma:displayName="Language" ma:list="{c986d264-972f-4fda-ba1d-7c452916e26e}" ma:internalName="Language" ma:showField="Title">
      <xsd:simpleType>
        <xsd:restriction base="dms:Lookup"/>
      </xsd:simpleType>
    </xsd:element>
    <xsd:element name="Direction" ma:index="9" nillable="true" ma:displayName="Direction" ma:list="{140663fe-4093-40b3-b05c-5081323f3454}" ma:internalName="Direction" ma:showField="Title">
      <xsd:simpleType>
        <xsd:restriction base="dms:Lookup"/>
      </xsd:simpleType>
    </xsd:element>
    <xsd:element name="Service" ma:index="10" nillable="true" ma:displayName="Service" ma:internalName="Service">
      <xsd:simpleType>
        <xsd:restriction base="dms:Text">
          <xsd:maxLength value="255"/>
        </xsd:restriction>
      </xsd:simpleType>
    </xsd:element>
    <xsd:element name="Sub_x0020_Category" ma:index="11" nillable="true" ma:displayName="Sub Category" ma:list="{51ae5c4b-e0eb-4578-8100-ef41d24d90f7}" ma:internalName="Sub_x0020_Category" ma:showField="Title">
      <xsd:simpleType>
        <xsd:restriction base="dms:Lookup"/>
      </xsd:simpleType>
    </xsd:element>
    <xsd:element name="Region" ma:index="12" nillable="true" ma:displayName="Region" ma:list="{672313bd-008d-403e-875b-e9418227ff9f}" ma:internalName="Region" ma:showField="Title">
      <xsd:simpleType>
        <xsd:restriction base="dms:Lookup"/>
      </xsd:simpleType>
    </xsd:element>
    <xsd:element name="Major_x0020_Category" ma:index="13" nillable="true" ma:displayName="Major Category" ma:default="Logistics" ma:format="RadioButtons" ma:internalName="Major_x0020_Category">
      <xsd:simpleType>
        <xsd:restriction base="dms:Choice">
          <xsd:enumeration value="Logistics"/>
          <xsd:enumeration value="Liner"/>
          <xsd:enumeration value="Group/Co-Brand"/>
        </xsd:restriction>
      </xsd:simpleType>
    </xsd:element>
    <xsd:element name="Minor_x0020_Category" ma:index="14" nillable="true" ma:displayName="Minor Category" ma:default="Overall" ma:format="RadioButtons" ma:internalName="Minor_x0020_Category">
      <xsd:simpleType>
        <xsd:restriction base="dms:Choice">
          <xsd:enumeration value="Overall"/>
          <xsd:enumeration value="Contract Logistics Services (CLS)"/>
          <xsd:enumeration value="International Logistics Services (ILS)"/>
          <xsd:enumeration value="Land Transport Services (LTS)"/>
          <xsd:enumeration value="Technology"/>
          <xsd:enumeration value="Financials"/>
          <xsd:enumeration value="IndiaLinx"/>
        </xsd:restriction>
      </xsd:simpleType>
    </xsd:element>
    <xsd:element name="Category" ma:index="15" nillable="true" ma:displayName="Category" ma:default="TPC" ma:internalName="Category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TPC"/>
                    <xsd:enumeration value="TAL"/>
                    <xsd:enumeration value="LTA"/>
                    <xsd:enumeration value="INE"/>
                    <xsd:enumeration value="INA"/>
                    <xsd:enumeration value="AEU"/>
                    <xsd:enumeration value="ECM"/>
                    <xsd:enumeration value="GLR"/>
                    <xsd:enumeration value="GVT"/>
                    <xsd:enumeration value="EQP"/>
                    <xsd:enumeration value="REG"/>
                    <xsd:enumeration value="TER"/>
                    <xsd:enumeration value="AFR"/>
                    <xsd:enumeration value="ASE"/>
                    <xsd:enumeration value="AGC"/>
                    <xsd:enumeration value="OSD"/>
                    <xsd:enumeration value="OGR"/>
                    <xsd:enumeration value="COS"/>
                    <xsd:enumeration value="CHB"/>
                    <xsd:enumeration value="CLS"/>
                    <xsd:enumeration value="DDS"/>
                    <xsd:enumeration value="GAL"/>
                    <xsd:enumeration value="IDX"/>
                    <xsd:enumeration value="ITS"/>
                    <xsd:enumeration value="LTS"/>
                    <xsd:enumeration value="VAS"/>
                    <xsd:enumeration value="CTP"/>
                    <xsd:enumeration value="OTH"/>
                  </xsd:restriction>
                </xsd:simpleType>
              </xsd:element>
            </xsd:sequence>
          </xsd:extension>
        </xsd:complexContent>
      </xsd:complexType>
    </xsd:element>
    <xsd:element name="Sub_x0020_Group" ma:index="16" nillable="true" ma:displayName="Sub Group" ma:list="{a63256ae-bc45-4207-ba39-7b776383a62f}" ma:internalName="Sub_x0020_Group" ma:showField="Titl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ub_x0020_Category xmlns="b7a38389-5f3a-4a9e-8af4-dfdf5a6f4d78">2</Sub_x0020_Category>
    <Major_x0020_Category xmlns="b7a38389-5f3a-4a9e-8af4-dfdf5a6f4d78">Logistics</Major_x0020_Category>
    <Region xmlns="b7a38389-5f3a-4a9e-8af4-dfdf5a6f4d78" xsi:nil="true"/>
    <Service xmlns="b7a38389-5f3a-4a9e-8af4-dfdf5a6f4d78">APL Logistics Overview</Service>
    <Minor_x0020_Category xmlns="b7a38389-5f3a-4a9e-8af4-dfdf5a6f4d78">Overall</Minor_x0020_Category>
    <Sub_x0020_Group xmlns="b7a38389-5f3a-4a9e-8af4-dfdf5a6f4d78" xsi:nil="true"/>
    <Language xmlns="b7a38389-5f3a-4a9e-8af4-dfdf5a6f4d78">1</Language>
    <Direction xmlns="b7a38389-5f3a-4a9e-8af4-dfdf5a6f4d78">6</Direction>
    <Category xmlns="b7a38389-5f3a-4a9e-8af4-dfdf5a6f4d78"/>
  </documentManagement>
</p:properties>
</file>

<file path=customXml/itemProps1.xml><?xml version="1.0" encoding="utf-8"?>
<ds:datastoreItem xmlns:ds="http://schemas.openxmlformats.org/officeDocument/2006/customXml" ds:itemID="{6805ED32-DB87-42E9-B926-2AAC4D8166EF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34B1A523-92F8-4845-9D8B-0FA3AC499C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a38389-5f3a-4a9e-8af4-dfdf5a6f4d78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61AF092A-B25E-4CF6-9CFF-FDCE5E90EE3C}">
  <ds:schemaRefs>
    <ds:schemaRef ds:uri="http://purl.org/dc/terms/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b7a38389-5f3a-4a9e-8af4-dfdf5a6f4d7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PL Template_CB</Template>
  <TotalTime>18814</TotalTime>
  <Words>686</Words>
  <Application>Microsoft Office PowerPoint</Application>
  <PresentationFormat>On-screen Show (4:3)</PresentationFormat>
  <Paragraphs>170</Paragraphs>
  <Slides>1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8" baseType="lpstr">
      <vt:lpstr>Gill Sans</vt:lpstr>
      <vt:lpstr>MS PGothic</vt:lpstr>
      <vt:lpstr>新細明體</vt:lpstr>
      <vt:lpstr>Arial</vt:lpstr>
      <vt:lpstr>Calibri</vt:lpstr>
      <vt:lpstr>Gill Sans MT</vt:lpstr>
      <vt:lpstr>Segoe UI</vt:lpstr>
      <vt:lpstr>Symbol</vt:lpstr>
      <vt:lpstr>Times New Roman</vt:lpstr>
      <vt:lpstr>Verdana</vt:lpstr>
      <vt:lpstr>Wingdings</vt:lpstr>
      <vt:lpstr>APL Template (Blue 1)</vt:lpstr>
      <vt:lpstr>1_blank</vt:lpstr>
      <vt:lpstr>think-cell Slide</vt:lpstr>
      <vt:lpstr>China Compulsory Certification (CCC) – Rising importance in trade compliance management and how enterprises should handle it</vt:lpstr>
      <vt:lpstr>Agenda</vt:lpstr>
      <vt:lpstr>CCC Overview</vt:lpstr>
      <vt:lpstr>Why is CCC important? – Coverage and application</vt:lpstr>
      <vt:lpstr>Why is CCC important? – CCC Catalog</vt:lpstr>
      <vt:lpstr>Why is CCC important? – CCC Sample </vt:lpstr>
      <vt:lpstr>Managing CCC exemptions</vt:lpstr>
      <vt:lpstr>Managing CCC exemptions -  Case study</vt:lpstr>
      <vt:lpstr>Common issues and best practices</vt:lpstr>
      <vt:lpstr>Common issues and best practices</vt:lpstr>
      <vt:lpstr>Common issues and best practices</vt:lpstr>
      <vt:lpstr>APLL at a glance</vt:lpstr>
      <vt:lpstr>APLL at a glance – Tool box of services</vt:lpstr>
      <vt:lpstr>Thank you  Raphael_Madarang@apllogistics.com 852-23027436 Lily_Du@apllogistics.com 86-21-26105788</vt:lpstr>
    </vt:vector>
  </TitlesOfParts>
  <Company>Prudential Corporation Asi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L Logistics Overview</dc:title>
  <dc:creator>JunHan_Wu@apllogistics.com</dc:creator>
  <cp:lastModifiedBy>Du, Lily</cp:lastModifiedBy>
  <cp:revision>1136</cp:revision>
  <cp:lastPrinted>2015-11-11T08:41:51Z</cp:lastPrinted>
  <dcterms:created xsi:type="dcterms:W3CDTF">2014-09-03T09:51:18Z</dcterms:created>
  <dcterms:modified xsi:type="dcterms:W3CDTF">2015-11-13T02:4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ervice">
    <vt:lpwstr>APL Logistics Overview</vt:lpwstr>
  </property>
  <property fmtid="{D5CDD505-2E9C-101B-9397-08002B2CF9AE}" pid="3" name="Direction">
    <vt:lpwstr>6</vt:lpwstr>
  </property>
  <property fmtid="{D5CDD505-2E9C-101B-9397-08002B2CF9AE}" pid="4" name="Language">
    <vt:lpwstr>1</vt:lpwstr>
  </property>
  <property fmtid="{D5CDD505-2E9C-101B-9397-08002B2CF9AE}" pid="5" name="Stock Number">
    <vt:lpwstr/>
  </property>
  <property fmtid="{D5CDD505-2E9C-101B-9397-08002B2CF9AE}" pid="6" name="Sub Category">
    <vt:lpwstr>2</vt:lpwstr>
  </property>
  <property fmtid="{D5CDD505-2E9C-101B-9397-08002B2CF9AE}" pid="7" name="Tradeline">
    <vt:lpwstr>Others: Corporate</vt:lpwstr>
  </property>
  <property fmtid="{D5CDD505-2E9C-101B-9397-08002B2CF9AE}" pid="8" name="ContentTypeId">
    <vt:lpwstr>0x010100601CE99926772C48A0B37D391D4A1A3A</vt:lpwstr>
  </property>
  <property fmtid="{D5CDD505-2E9C-101B-9397-08002B2CF9AE}" pid="9" name="Major Category">
    <vt:lpwstr>Logistics</vt:lpwstr>
  </property>
  <property fmtid="{D5CDD505-2E9C-101B-9397-08002B2CF9AE}" pid="10" name="Minor Category">
    <vt:lpwstr>Overall</vt:lpwstr>
  </property>
  <property fmtid="{D5CDD505-2E9C-101B-9397-08002B2CF9AE}" pid="11" name="Category">
    <vt:lpwstr/>
  </property>
  <property fmtid="{D5CDD505-2E9C-101B-9397-08002B2CF9AE}" pid="12" name="ContentType">
    <vt:lpwstr>Document</vt:lpwstr>
  </property>
  <property fmtid="{D5CDD505-2E9C-101B-9397-08002B2CF9AE}" pid="13" name="Region">
    <vt:lpwstr/>
  </property>
  <property fmtid="{D5CDD505-2E9C-101B-9397-08002B2CF9AE}" pid="14" name="Sub Group">
    <vt:lpwstr/>
  </property>
</Properties>
</file>